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notesSlides/notesSlide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2.xml" ContentType="application/vnd.openxmlformats-officedocument.presentationml.notesSlide+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5.xml" ContentType="application/vnd.openxmlformats-officedocument.presentationml.notesSlide+xml"/>
  <Override PartName="/ppt/tags/tag62.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7.xml" ContentType="application/vnd.openxmlformats-officedocument.presentationml.notesSlide+xml"/>
  <Override PartName="/ppt/tags/tag65.xml" ContentType="application/vnd.openxmlformats-officedocument.presentationml.tags+xml"/>
  <Override PartName="/ppt/notesSlides/notesSlide1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2.xml" ContentType="application/vnd.openxmlformats-officedocument.presentationml.notesSlide+xml"/>
  <Override PartName="/ppt/tags/tag71.xml" ContentType="application/vnd.openxmlformats-officedocument.presentationml.tags+xml"/>
  <Override PartName="/ppt/notesSlides/notesSlide23.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24.xml" ContentType="application/vnd.openxmlformats-officedocument.presentationml.notesSlide+xml"/>
  <Override PartName="/ppt/tags/tag208.xml" ContentType="application/vnd.openxmlformats-officedocument.presentationml.tags+xml"/>
  <Override PartName="/ppt/notesSlides/notesSlide25.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notesSlides/notesSlide26.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27.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1"/>
    <p:sldMasterId id="2147484372" r:id="rId2"/>
  </p:sldMasterIdLst>
  <p:notesMasterIdLst>
    <p:notesMasterId r:id="rId112"/>
  </p:notesMasterIdLst>
  <p:handoutMasterIdLst>
    <p:handoutMasterId r:id="rId113"/>
  </p:handoutMasterIdLst>
  <p:sldIdLst>
    <p:sldId id="264" r:id="rId3"/>
    <p:sldId id="266" r:id="rId4"/>
    <p:sldId id="267" r:id="rId5"/>
    <p:sldId id="353" r:id="rId6"/>
    <p:sldId id="268" r:id="rId7"/>
    <p:sldId id="360" r:id="rId8"/>
    <p:sldId id="269" r:id="rId9"/>
    <p:sldId id="35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5" r:id="rId26"/>
    <p:sldId id="286" r:id="rId27"/>
    <p:sldId id="287" r:id="rId28"/>
    <p:sldId id="288" r:id="rId29"/>
    <p:sldId id="289" r:id="rId30"/>
    <p:sldId id="290" r:id="rId31"/>
    <p:sldId id="291" r:id="rId32"/>
    <p:sldId id="292" r:id="rId33"/>
    <p:sldId id="293" r:id="rId34"/>
    <p:sldId id="294" r:id="rId35"/>
    <p:sldId id="295" r:id="rId36"/>
    <p:sldId id="296" r:id="rId37"/>
    <p:sldId id="425" r:id="rId38"/>
    <p:sldId id="297" r:id="rId39"/>
    <p:sldId id="419"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429" r:id="rId56"/>
    <p:sldId id="314" r:id="rId57"/>
    <p:sldId id="315" r:id="rId58"/>
    <p:sldId id="376" r:id="rId59"/>
    <p:sldId id="316" r:id="rId60"/>
    <p:sldId id="317" r:id="rId61"/>
    <p:sldId id="354" r:id="rId62"/>
    <p:sldId id="318" r:id="rId63"/>
    <p:sldId id="433" r:id="rId64"/>
    <p:sldId id="436" r:id="rId65"/>
    <p:sldId id="437" r:id="rId66"/>
    <p:sldId id="438" r:id="rId67"/>
    <p:sldId id="434" r:id="rId68"/>
    <p:sldId id="435" r:id="rId69"/>
    <p:sldId id="355" r:id="rId70"/>
    <p:sldId id="262" r:id="rId71"/>
    <p:sldId id="356" r:id="rId72"/>
    <p:sldId id="357" r:id="rId73"/>
    <p:sldId id="319" r:id="rId74"/>
    <p:sldId id="320" r:id="rId75"/>
    <p:sldId id="321" r:id="rId76"/>
    <p:sldId id="322" r:id="rId77"/>
    <p:sldId id="323" r:id="rId78"/>
    <p:sldId id="426" r:id="rId79"/>
    <p:sldId id="324" r:id="rId80"/>
    <p:sldId id="325" r:id="rId81"/>
    <p:sldId id="326" r:id="rId82"/>
    <p:sldId id="327" r:id="rId83"/>
    <p:sldId id="328" r:id="rId84"/>
    <p:sldId id="329" r:id="rId85"/>
    <p:sldId id="330" r:id="rId86"/>
    <p:sldId id="332" r:id="rId87"/>
    <p:sldId id="431" r:id="rId88"/>
    <p:sldId id="430" r:id="rId89"/>
    <p:sldId id="432" r:id="rId90"/>
    <p:sldId id="333" r:id="rId91"/>
    <p:sldId id="334" r:id="rId92"/>
    <p:sldId id="335" r:id="rId93"/>
    <p:sldId id="358" r:id="rId94"/>
    <p:sldId id="336" r:id="rId95"/>
    <p:sldId id="337" r:id="rId96"/>
    <p:sldId id="338" r:id="rId97"/>
    <p:sldId id="339" r:id="rId98"/>
    <p:sldId id="340" r:id="rId99"/>
    <p:sldId id="341" r:id="rId100"/>
    <p:sldId id="342" r:id="rId101"/>
    <p:sldId id="343" r:id="rId102"/>
    <p:sldId id="344" r:id="rId103"/>
    <p:sldId id="345" r:id="rId104"/>
    <p:sldId id="346" r:id="rId105"/>
    <p:sldId id="347" r:id="rId106"/>
    <p:sldId id="348" r:id="rId107"/>
    <p:sldId id="349" r:id="rId108"/>
    <p:sldId id="350" r:id="rId109"/>
    <p:sldId id="351" r:id="rId110"/>
    <p:sldId id="352" r:id="rId111"/>
  </p:sldIdLst>
  <p:sldSz cx="13716000" cy="10287000"/>
  <p:notesSz cx="6858000" cy="9144000"/>
  <p:defaultTextStyle>
    <a:defPPr>
      <a:defRPr lang="pt-BR"/>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85619"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71239"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56856"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742473"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3428091" algn="l" defTabSz="1371239"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4113710" algn="l" defTabSz="1371239"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4799328" algn="l" defTabSz="1371239"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5484947" algn="l" defTabSz="1371239"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240" userDrawn="1">
          <p15:clr>
            <a:srgbClr val="A4A3A4"/>
          </p15:clr>
        </p15:guide>
        <p15:guide id="2" orient="horz" pos="3989" userDrawn="1">
          <p15:clr>
            <a:srgbClr val="A4A3A4"/>
          </p15:clr>
        </p15:guide>
        <p15:guide id="3" orient="horz" pos="1403" userDrawn="1">
          <p15:clr>
            <a:srgbClr val="A4A3A4"/>
          </p15:clr>
        </p15:guide>
        <p15:guide id="4" orient="horz" pos="5418" userDrawn="1">
          <p15:clr>
            <a:srgbClr val="A4A3A4"/>
          </p15:clr>
        </p15:guide>
        <p15:guide id="5" orient="horz" pos="1605" userDrawn="1">
          <p15:clr>
            <a:srgbClr val="A4A3A4"/>
          </p15:clr>
        </p15:guide>
        <p15:guide id="6" pos="5273" userDrawn="1">
          <p15:clr>
            <a:srgbClr val="A4A3A4"/>
          </p15:clr>
        </p15:guide>
        <p15:guide id="7" pos="4592" userDrawn="1">
          <p15:clr>
            <a:srgbClr val="A4A3A4"/>
          </p15:clr>
        </p15:guide>
        <p15:guide id="8" pos="8221" userDrawn="1">
          <p15:clr>
            <a:srgbClr val="A4A3A4"/>
          </p15:clr>
        </p15:guide>
        <p15:guide id="9" pos="8302" userDrawn="1">
          <p15:clr>
            <a:srgbClr val="A4A3A4"/>
          </p15:clr>
        </p15:guide>
        <p15:guide id="10" pos="62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165"/>
    <a:srgbClr val="00296F"/>
    <a:srgbClr val="0000CC"/>
    <a:srgbClr val="0033CC"/>
    <a:srgbClr val="8FC157"/>
    <a:srgbClr val="69ADE7"/>
    <a:srgbClr val="105B95"/>
    <a:srgbClr val="666666"/>
    <a:srgbClr val="4F81BD"/>
    <a:srgbClr val="F68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795" autoAdjust="0"/>
  </p:normalViewPr>
  <p:slideViewPr>
    <p:cSldViewPr>
      <p:cViewPr varScale="1">
        <p:scale>
          <a:sx n="54" d="100"/>
          <a:sy n="54" d="100"/>
        </p:scale>
        <p:origin x="1086" y="90"/>
      </p:cViewPr>
      <p:guideLst>
        <p:guide orient="horz" pos="3240"/>
        <p:guide orient="horz" pos="3989"/>
        <p:guide orient="horz" pos="1403"/>
        <p:guide orient="horz" pos="5418"/>
        <p:guide orient="horz" pos="1605"/>
        <p:guide pos="5273"/>
        <p:guide pos="4592"/>
        <p:guide pos="8221"/>
        <p:guide pos="8302"/>
        <p:guide pos="625"/>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8" d="100"/>
          <a:sy n="88" d="100"/>
        </p:scale>
        <p:origin x="3822"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tableStyles" Target="tableStyles.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notesMaster" Target="notesMasters/notesMaster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slide" Target="slides/slide100.xml"/><Relationship Id="rId110" Type="http://schemas.openxmlformats.org/officeDocument/2006/relationships/slide" Target="slides/slide108.xml"/><Relationship Id="rId115"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s>
</file>

<file path=ppt/_rels/viewProps.xml.rels><?xml version="1.0" encoding="UTF-8" standalone="yes"?>
<Relationships xmlns="http://schemas.openxmlformats.org/package/2006/relationships"><Relationship Id="rId1"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85038C-61DC-2B4E-9094-FCD217AD9A06}" type="doc">
      <dgm:prSet loTypeId="urn:microsoft.com/office/officeart/2005/8/layout/orgChart1" loCatId="" qsTypeId="urn:microsoft.com/office/officeart/2005/8/quickstyle/simple1" qsCatId="simple" csTypeId="urn:microsoft.com/office/officeart/2005/8/colors/accent3_2" csCatId="accent3" phldr="1"/>
      <dgm:spPr/>
      <dgm:t>
        <a:bodyPr/>
        <a:lstStyle/>
        <a:p>
          <a:endParaRPr lang="pt-BR"/>
        </a:p>
      </dgm:t>
    </dgm:pt>
    <dgm:pt modelId="{1942B8BA-B0EC-CC4F-B6BB-BA0927FB8ECA}">
      <dgm:prSet phldrT="[Texto]" custT="1">
        <dgm:style>
          <a:lnRef idx="2">
            <a:schemeClr val="accent6"/>
          </a:lnRef>
          <a:fillRef idx="1">
            <a:schemeClr val="lt1"/>
          </a:fillRef>
          <a:effectRef idx="0">
            <a:schemeClr val="accent6"/>
          </a:effectRef>
          <a:fontRef idx="minor">
            <a:schemeClr val="dk1"/>
          </a:fontRef>
        </dgm:style>
      </dgm:prSet>
      <dgm:spPr>
        <a:ln w="38100">
          <a:solidFill>
            <a:srgbClr val="20D6EC"/>
          </a:solidFill>
        </a:ln>
      </dgm:spPr>
      <dgm:t>
        <a:bodyPr/>
        <a:lstStyle/>
        <a:p>
          <a:r>
            <a:rPr lang="pt-BR" sz="2000" b="1" dirty="0">
              <a:latin typeface="+mj-lt"/>
            </a:rPr>
            <a:t>1. Projeto PMO - EGP</a:t>
          </a:r>
        </a:p>
      </dgm:t>
    </dgm:pt>
    <dgm:pt modelId="{C379CFA3-6C9A-0044-9FC3-EE86E18B10EA}" type="parTrans" cxnId="{63667DAB-5B78-6046-890D-54D502030F97}">
      <dgm:prSet/>
      <dgm:spPr/>
      <dgm:t>
        <a:bodyPr/>
        <a:lstStyle/>
        <a:p>
          <a:endParaRPr lang="pt-BR" sz="1800">
            <a:latin typeface="+mj-lt"/>
          </a:endParaRPr>
        </a:p>
      </dgm:t>
    </dgm:pt>
    <dgm:pt modelId="{4F994F6D-A10F-9748-BFAA-1FF50CAB56DB}" type="sibTrans" cxnId="{63667DAB-5B78-6046-890D-54D502030F97}">
      <dgm:prSet/>
      <dgm:spPr/>
      <dgm:t>
        <a:bodyPr/>
        <a:lstStyle/>
        <a:p>
          <a:endParaRPr lang="pt-BR" sz="1800">
            <a:latin typeface="+mj-lt"/>
          </a:endParaRPr>
        </a:p>
      </dgm:t>
    </dgm:pt>
    <dgm:pt modelId="{5FAD9378-6B4B-C64F-8CAB-38E7E90C46DC}">
      <dgm:prSet phldrT="[Texto]" custT="1"/>
      <dgm:spPr>
        <a:noFill/>
        <a:ln w="38100">
          <a:solidFill>
            <a:srgbClr val="FF9701"/>
          </a:solidFill>
        </a:ln>
      </dgm:spPr>
      <dgm:t>
        <a:bodyPr/>
        <a:lstStyle/>
        <a:p>
          <a:r>
            <a:rPr lang="pt-BR" sz="1800" dirty="0">
              <a:solidFill>
                <a:schemeClr val="tx1"/>
              </a:solidFill>
              <a:latin typeface="+mj-lt"/>
            </a:rPr>
            <a:t>1.1 gerenciamento  do projeto</a:t>
          </a:r>
        </a:p>
      </dgm:t>
    </dgm:pt>
    <dgm:pt modelId="{8F6DDDCF-3290-7647-B518-EBE6D7650DFF}" type="parTrans" cxnId="{1C3B0787-4363-CF4C-996A-25E1A13801C3}">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066FF81D-8981-1C42-BBAE-8B3DBF1CA739}" type="sibTrans" cxnId="{1C3B0787-4363-CF4C-996A-25E1A13801C3}">
      <dgm:prSet/>
      <dgm:spPr/>
      <dgm:t>
        <a:bodyPr/>
        <a:lstStyle/>
        <a:p>
          <a:endParaRPr lang="pt-BR" sz="1800">
            <a:latin typeface="+mj-lt"/>
          </a:endParaRPr>
        </a:p>
      </dgm:t>
    </dgm:pt>
    <dgm:pt modelId="{C4D77AD8-A130-0545-B085-3B7EE3C95014}">
      <dgm:prSet phldrT="[Texto]" custT="1"/>
      <dgm:spPr>
        <a:noFill/>
        <a:ln w="38100">
          <a:solidFill>
            <a:srgbClr val="FF9701"/>
          </a:solidFill>
        </a:ln>
      </dgm:spPr>
      <dgm:t>
        <a:bodyPr/>
        <a:lstStyle/>
        <a:p>
          <a:r>
            <a:rPr lang="pt-BR" sz="1800" dirty="0">
              <a:solidFill>
                <a:schemeClr val="tx1"/>
              </a:solidFill>
              <a:latin typeface="+mj-lt"/>
            </a:rPr>
            <a:t>1.2 </a:t>
          </a:r>
          <a:r>
            <a:rPr lang="pt-BR" sz="1800" dirty="0" err="1">
              <a:solidFill>
                <a:schemeClr val="tx1"/>
              </a:solidFill>
              <a:latin typeface="+mj-lt"/>
            </a:rPr>
            <a:t>diagn</a:t>
          </a:r>
          <a:r>
            <a:rPr lang="en-US" sz="1800" dirty="0" err="1">
              <a:solidFill>
                <a:schemeClr val="tx1"/>
              </a:solidFill>
              <a:latin typeface="+mj-lt"/>
            </a:rPr>
            <a:t>óstico</a:t>
          </a:r>
          <a:endParaRPr lang="pt-BR" sz="1800" dirty="0">
            <a:solidFill>
              <a:schemeClr val="tx1"/>
            </a:solidFill>
            <a:latin typeface="+mj-lt"/>
          </a:endParaRPr>
        </a:p>
      </dgm:t>
    </dgm:pt>
    <dgm:pt modelId="{5E2D9A7A-588E-F245-9AF4-52458AC4E732}" type="parTrans" cxnId="{89B53669-FFF6-B847-8A75-35F96FA66895}">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76531107-CE89-F94E-A3EE-14D61B6F4298}" type="sibTrans" cxnId="{89B53669-FFF6-B847-8A75-35F96FA66895}">
      <dgm:prSet/>
      <dgm:spPr/>
      <dgm:t>
        <a:bodyPr/>
        <a:lstStyle/>
        <a:p>
          <a:endParaRPr lang="pt-BR" sz="1800">
            <a:latin typeface="+mj-lt"/>
          </a:endParaRPr>
        </a:p>
      </dgm:t>
    </dgm:pt>
    <dgm:pt modelId="{333CA5DC-4A4E-6847-826A-77DB89BE9282}">
      <dgm:prSet phldrT="[Texto]" custT="1"/>
      <dgm:spPr>
        <a:noFill/>
        <a:ln w="38100">
          <a:solidFill>
            <a:srgbClr val="FF9701"/>
          </a:solidFill>
        </a:ln>
      </dgm:spPr>
      <dgm:t>
        <a:bodyPr/>
        <a:lstStyle/>
        <a:p>
          <a:r>
            <a:rPr lang="pt-BR" sz="1800" dirty="0">
              <a:solidFill>
                <a:schemeClr val="tx1"/>
              </a:solidFill>
              <a:latin typeface="+mj-lt"/>
            </a:rPr>
            <a:t>1.3 estrutura do PMO</a:t>
          </a:r>
        </a:p>
      </dgm:t>
    </dgm:pt>
    <dgm:pt modelId="{AF94E61D-AB70-5A4A-9B35-235454D0E620}" type="parTrans" cxnId="{54953636-8B3F-EE4A-8088-28DE94B1B1DF}">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974F1863-E1C6-FE45-9CEB-C9E660C93F18}" type="sibTrans" cxnId="{54953636-8B3F-EE4A-8088-28DE94B1B1DF}">
      <dgm:prSet/>
      <dgm:spPr/>
      <dgm:t>
        <a:bodyPr/>
        <a:lstStyle/>
        <a:p>
          <a:endParaRPr lang="pt-BR" sz="1800">
            <a:latin typeface="+mj-lt"/>
          </a:endParaRPr>
        </a:p>
      </dgm:t>
    </dgm:pt>
    <dgm:pt modelId="{85B47813-B4E0-8143-922C-770423B5B8F1}">
      <dgm:prSet custT="1"/>
      <dgm:spPr>
        <a:noFill/>
        <a:ln w="38100">
          <a:solidFill>
            <a:srgbClr val="FF9701"/>
          </a:solidFill>
        </a:ln>
      </dgm:spPr>
      <dgm:t>
        <a:bodyPr/>
        <a:lstStyle/>
        <a:p>
          <a:r>
            <a:rPr lang="pt-BR" sz="1800" dirty="0">
              <a:solidFill>
                <a:schemeClr val="tx1"/>
              </a:solidFill>
              <a:latin typeface="+mj-lt"/>
            </a:rPr>
            <a:t>1.5 </a:t>
          </a:r>
        </a:p>
        <a:p>
          <a:r>
            <a:rPr lang="pt-BR" sz="1800" dirty="0">
              <a:solidFill>
                <a:schemeClr val="tx1"/>
              </a:solidFill>
              <a:latin typeface="+mj-lt"/>
            </a:rPr>
            <a:t>projeto piloto</a:t>
          </a:r>
        </a:p>
      </dgm:t>
    </dgm:pt>
    <dgm:pt modelId="{AB3DF81D-350E-8949-A091-FB373C97B32D}" type="parTrans" cxnId="{A25869FC-3384-5C4B-BEF5-D349FB140810}">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B5883C05-575F-084C-B3D8-C5103086340A}" type="sibTrans" cxnId="{A25869FC-3384-5C4B-BEF5-D349FB140810}">
      <dgm:prSet/>
      <dgm:spPr/>
      <dgm:t>
        <a:bodyPr/>
        <a:lstStyle/>
        <a:p>
          <a:endParaRPr lang="pt-BR" sz="1800">
            <a:latin typeface="+mj-lt"/>
          </a:endParaRPr>
        </a:p>
      </dgm:t>
    </dgm:pt>
    <dgm:pt modelId="{48D5592E-7AC8-C942-A59B-AAF8EFFDBF87}">
      <dgm:prSet custT="1"/>
      <dgm:spPr>
        <a:noFill/>
        <a:ln w="38100">
          <a:solidFill>
            <a:srgbClr val="FF9701"/>
          </a:solidFill>
        </a:ln>
      </dgm:spPr>
      <dgm:t>
        <a:bodyPr/>
        <a:lstStyle/>
        <a:p>
          <a:r>
            <a:rPr lang="pt-BR" sz="1800" dirty="0">
              <a:solidFill>
                <a:schemeClr val="tx1"/>
              </a:solidFill>
              <a:latin typeface="+mj-lt"/>
            </a:rPr>
            <a:t>1.5.1 defini</a:t>
          </a:r>
          <a:r>
            <a:rPr lang="en-US" sz="1800" dirty="0">
              <a:solidFill>
                <a:schemeClr val="tx1"/>
              </a:solidFill>
              <a:latin typeface="+mj-lt"/>
            </a:rPr>
            <a:t>ção</a:t>
          </a:r>
          <a:endParaRPr lang="pt-BR" sz="1800" dirty="0">
            <a:solidFill>
              <a:schemeClr val="tx1"/>
            </a:solidFill>
            <a:latin typeface="+mj-lt"/>
          </a:endParaRPr>
        </a:p>
      </dgm:t>
    </dgm:pt>
    <dgm:pt modelId="{13413550-5038-1A43-A067-413C2AD857C7}" type="parTrans" cxnId="{C5503A53-1BAB-F843-B8EE-4D1B43698A4B}">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2C2EF57A-794F-9447-A051-A12766BA5D68}" type="sibTrans" cxnId="{C5503A53-1BAB-F843-B8EE-4D1B43698A4B}">
      <dgm:prSet/>
      <dgm:spPr/>
      <dgm:t>
        <a:bodyPr/>
        <a:lstStyle/>
        <a:p>
          <a:endParaRPr lang="pt-BR" sz="1800">
            <a:latin typeface="+mj-lt"/>
          </a:endParaRPr>
        </a:p>
      </dgm:t>
    </dgm:pt>
    <dgm:pt modelId="{EEB9D7FD-28C8-154A-951E-E622E85E2697}">
      <dgm:prSet custT="1"/>
      <dgm:spPr>
        <a:noFill/>
        <a:ln w="38100">
          <a:solidFill>
            <a:srgbClr val="FF9701"/>
          </a:solidFill>
        </a:ln>
      </dgm:spPr>
      <dgm:t>
        <a:bodyPr/>
        <a:lstStyle/>
        <a:p>
          <a:r>
            <a:rPr lang="pt-BR" sz="1800" dirty="0">
              <a:solidFill>
                <a:schemeClr val="tx1"/>
              </a:solidFill>
              <a:latin typeface="+mj-lt"/>
            </a:rPr>
            <a:t>1.2.1 avalia</a:t>
          </a:r>
          <a:r>
            <a:rPr lang="en-US" sz="1800" dirty="0" err="1">
              <a:solidFill>
                <a:schemeClr val="tx1"/>
              </a:solidFill>
              <a:latin typeface="+mj-lt"/>
            </a:rPr>
            <a:t>ção</a:t>
          </a:r>
          <a:br>
            <a:rPr lang="en-US" sz="1800" dirty="0">
              <a:solidFill>
                <a:schemeClr val="tx1"/>
              </a:solidFill>
              <a:latin typeface="+mj-lt"/>
            </a:rPr>
          </a:br>
          <a:r>
            <a:rPr lang="en-US" sz="1800" dirty="0">
              <a:solidFill>
                <a:schemeClr val="tx1"/>
              </a:solidFill>
              <a:latin typeface="+mj-lt"/>
            </a:rPr>
            <a:t>da maturidade </a:t>
          </a:r>
          <a:r>
            <a:rPr lang="en-US" sz="1800" dirty="0" err="1">
              <a:solidFill>
                <a:schemeClr val="tx1"/>
              </a:solidFill>
              <a:latin typeface="+mj-lt"/>
            </a:rPr>
            <a:t>em</a:t>
          </a:r>
          <a:r>
            <a:rPr lang="en-US" sz="1800" dirty="0">
              <a:solidFill>
                <a:schemeClr val="tx1"/>
              </a:solidFill>
              <a:latin typeface="+mj-lt"/>
            </a:rPr>
            <a:t> GP dos </a:t>
          </a:r>
          <a:r>
            <a:rPr lang="en-US" sz="1800" dirty="0" err="1">
              <a:solidFill>
                <a:schemeClr val="tx1"/>
              </a:solidFill>
              <a:latin typeface="+mj-lt"/>
            </a:rPr>
            <a:t>recursos</a:t>
          </a:r>
          <a:endParaRPr lang="pt-BR" sz="1800" dirty="0">
            <a:solidFill>
              <a:schemeClr val="tx1"/>
            </a:solidFill>
            <a:latin typeface="+mj-lt"/>
          </a:endParaRPr>
        </a:p>
      </dgm:t>
    </dgm:pt>
    <dgm:pt modelId="{8ED199E6-E8B2-874A-B984-C88B168696EA}" type="parTrans" cxnId="{F889E3AA-9098-1249-BF02-B433A33E0C1B}">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B14E3D97-9D68-D34B-848F-3741B6AF0C98}" type="sibTrans" cxnId="{F889E3AA-9098-1249-BF02-B433A33E0C1B}">
      <dgm:prSet/>
      <dgm:spPr/>
      <dgm:t>
        <a:bodyPr/>
        <a:lstStyle/>
        <a:p>
          <a:endParaRPr lang="pt-BR" sz="1800">
            <a:latin typeface="+mj-lt"/>
          </a:endParaRPr>
        </a:p>
      </dgm:t>
    </dgm:pt>
    <dgm:pt modelId="{99DAA9E3-2D52-584A-A8DB-4BD7B4F8FECF}">
      <dgm:prSet custT="1"/>
      <dgm:spPr>
        <a:noFill/>
        <a:ln w="38100">
          <a:solidFill>
            <a:srgbClr val="FF9701"/>
          </a:solidFill>
        </a:ln>
      </dgm:spPr>
      <dgm:t>
        <a:bodyPr/>
        <a:lstStyle/>
        <a:p>
          <a:r>
            <a:rPr lang="pt-BR" sz="1800" dirty="0">
              <a:solidFill>
                <a:schemeClr val="tx1"/>
              </a:solidFill>
              <a:latin typeface="+mj-lt"/>
            </a:rPr>
            <a:t>1.2.2 avalia</a:t>
          </a:r>
          <a:r>
            <a:rPr lang="en-US" sz="1800" dirty="0" err="1">
              <a:solidFill>
                <a:schemeClr val="tx1"/>
              </a:solidFill>
              <a:latin typeface="+mj-lt"/>
            </a:rPr>
            <a:t>ção</a:t>
          </a:r>
          <a:br>
            <a:rPr lang="en-US" sz="1800" dirty="0">
              <a:solidFill>
                <a:schemeClr val="tx1"/>
              </a:solidFill>
              <a:latin typeface="+mj-lt"/>
            </a:rPr>
          </a:br>
          <a:r>
            <a:rPr lang="en-US" sz="1800" dirty="0">
              <a:solidFill>
                <a:schemeClr val="tx1"/>
              </a:solidFill>
              <a:latin typeface="+mj-lt"/>
            </a:rPr>
            <a:t>da </a:t>
          </a:r>
          <a:r>
            <a:rPr lang="en-US" sz="1800" dirty="0" err="1">
              <a:solidFill>
                <a:schemeClr val="tx1"/>
              </a:solidFill>
              <a:latin typeface="+mj-lt"/>
            </a:rPr>
            <a:t>maturidade</a:t>
          </a:r>
          <a:br>
            <a:rPr lang="en-US" sz="1800" dirty="0">
              <a:solidFill>
                <a:schemeClr val="tx1"/>
              </a:solidFill>
              <a:latin typeface="+mj-lt"/>
            </a:rPr>
          </a:br>
          <a:r>
            <a:rPr lang="en-US" sz="1800" dirty="0">
              <a:solidFill>
                <a:schemeClr val="tx1"/>
              </a:solidFill>
              <a:latin typeface="+mj-lt"/>
            </a:rPr>
            <a:t>do PMO</a:t>
          </a:r>
          <a:endParaRPr lang="pt-BR" sz="1800" dirty="0">
            <a:solidFill>
              <a:schemeClr val="tx1"/>
            </a:solidFill>
            <a:latin typeface="+mj-lt"/>
          </a:endParaRPr>
        </a:p>
      </dgm:t>
    </dgm:pt>
    <dgm:pt modelId="{735581FC-5E4A-0B4D-8073-51CE41E03013}" type="parTrans" cxnId="{D87AE845-A31B-924E-90E9-D72DD9A1DACD}">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5A43584F-B428-604E-9FB7-E540A8C038C2}" type="sibTrans" cxnId="{D87AE845-A31B-924E-90E9-D72DD9A1DACD}">
      <dgm:prSet/>
      <dgm:spPr/>
      <dgm:t>
        <a:bodyPr/>
        <a:lstStyle/>
        <a:p>
          <a:endParaRPr lang="pt-BR" sz="1800">
            <a:latin typeface="+mj-lt"/>
          </a:endParaRPr>
        </a:p>
      </dgm:t>
    </dgm:pt>
    <dgm:pt modelId="{B058476A-3475-8E4A-A533-8FF1041E0BAA}">
      <dgm:prSet custT="1"/>
      <dgm:spPr>
        <a:noFill/>
        <a:ln w="38100">
          <a:solidFill>
            <a:srgbClr val="FF9701"/>
          </a:solidFill>
        </a:ln>
      </dgm:spPr>
      <dgm:t>
        <a:bodyPr/>
        <a:lstStyle/>
        <a:p>
          <a:r>
            <a:rPr lang="pt-BR" sz="1800" dirty="0">
              <a:solidFill>
                <a:schemeClr val="tx1"/>
              </a:solidFill>
              <a:latin typeface="+mj-lt"/>
            </a:rPr>
            <a:t>1.2.3 relat</a:t>
          </a:r>
          <a:r>
            <a:rPr lang="en-US" sz="1800" dirty="0">
              <a:solidFill>
                <a:schemeClr val="tx1"/>
              </a:solidFill>
              <a:latin typeface="+mj-lt"/>
            </a:rPr>
            <a:t>ório da avaliação</a:t>
          </a:r>
          <a:endParaRPr lang="pt-BR" sz="1800" dirty="0">
            <a:solidFill>
              <a:schemeClr val="tx1"/>
            </a:solidFill>
            <a:latin typeface="+mj-lt"/>
          </a:endParaRPr>
        </a:p>
      </dgm:t>
    </dgm:pt>
    <dgm:pt modelId="{9E07A699-7C9B-F447-B0A9-DB84C4B5644F}" type="parTrans" cxnId="{D272AE63-F767-8F46-944F-55E679F83857}">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3B043BDD-1F33-1749-A01C-C6C0D9F2007F}" type="sibTrans" cxnId="{D272AE63-F767-8F46-944F-55E679F83857}">
      <dgm:prSet/>
      <dgm:spPr/>
      <dgm:t>
        <a:bodyPr/>
        <a:lstStyle/>
        <a:p>
          <a:endParaRPr lang="pt-BR" sz="1800">
            <a:latin typeface="+mj-lt"/>
          </a:endParaRPr>
        </a:p>
      </dgm:t>
    </dgm:pt>
    <dgm:pt modelId="{83672D85-1DDE-F346-8C4F-B504ED9AEA7E}">
      <dgm:prSet custT="1"/>
      <dgm:spPr>
        <a:noFill/>
        <a:ln w="38100">
          <a:solidFill>
            <a:srgbClr val="FF9701"/>
          </a:solidFill>
        </a:ln>
      </dgm:spPr>
      <dgm:t>
        <a:bodyPr/>
        <a:lstStyle/>
        <a:p>
          <a:r>
            <a:rPr lang="pt-BR" sz="1800" dirty="0">
              <a:solidFill>
                <a:schemeClr val="tx1"/>
              </a:solidFill>
              <a:latin typeface="+mj-lt"/>
            </a:rPr>
            <a:t>1.3.1 estrutura f</a:t>
          </a:r>
          <a:r>
            <a:rPr lang="en-US" sz="1800" dirty="0" err="1">
              <a:solidFill>
                <a:schemeClr val="tx1"/>
              </a:solidFill>
              <a:latin typeface="+mj-lt"/>
            </a:rPr>
            <a:t>ísica</a:t>
          </a:r>
          <a:endParaRPr lang="pt-BR" sz="1800" dirty="0">
            <a:solidFill>
              <a:schemeClr val="tx1"/>
            </a:solidFill>
            <a:latin typeface="+mj-lt"/>
          </a:endParaRPr>
        </a:p>
      </dgm:t>
    </dgm:pt>
    <dgm:pt modelId="{3164804C-C000-FD47-834A-920CA4090310}" type="parTrans" cxnId="{23D14513-BA38-1E42-A392-462790ABB015}">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C45E799D-4001-9147-B8B5-80669852C40A}" type="sibTrans" cxnId="{23D14513-BA38-1E42-A392-462790ABB015}">
      <dgm:prSet/>
      <dgm:spPr/>
      <dgm:t>
        <a:bodyPr/>
        <a:lstStyle/>
        <a:p>
          <a:endParaRPr lang="pt-BR" sz="1800">
            <a:latin typeface="+mj-lt"/>
          </a:endParaRPr>
        </a:p>
      </dgm:t>
    </dgm:pt>
    <dgm:pt modelId="{E66F885F-231A-C048-AC19-BDC3E15D42EB}">
      <dgm:prSet custT="1"/>
      <dgm:spPr>
        <a:noFill/>
        <a:ln w="38100">
          <a:solidFill>
            <a:srgbClr val="FF9701"/>
          </a:solidFill>
        </a:ln>
      </dgm:spPr>
      <dgm:t>
        <a:bodyPr/>
        <a:lstStyle/>
        <a:p>
          <a:r>
            <a:rPr lang="pt-BR" sz="1800" dirty="0">
              <a:solidFill>
                <a:schemeClr val="tx1"/>
              </a:solidFill>
              <a:latin typeface="+mj-lt"/>
            </a:rPr>
            <a:t>1.3.2 equipe</a:t>
          </a:r>
        </a:p>
      </dgm:t>
    </dgm:pt>
    <dgm:pt modelId="{05ECB248-0F71-FC4E-9009-2E4188539368}" type="parTrans" cxnId="{D0CE453A-E6FE-774B-BBA7-50ED02D7D300}">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05CA0516-849D-C948-B7BA-A4DFF5931782}" type="sibTrans" cxnId="{D0CE453A-E6FE-774B-BBA7-50ED02D7D300}">
      <dgm:prSet/>
      <dgm:spPr/>
      <dgm:t>
        <a:bodyPr/>
        <a:lstStyle/>
        <a:p>
          <a:endParaRPr lang="pt-BR" sz="1800">
            <a:latin typeface="+mj-lt"/>
          </a:endParaRPr>
        </a:p>
      </dgm:t>
    </dgm:pt>
    <dgm:pt modelId="{A98CB1A5-301A-AA4A-9415-23776D1063BF}">
      <dgm:prSet custT="1"/>
      <dgm:spPr>
        <a:noFill/>
        <a:ln w="38100">
          <a:solidFill>
            <a:srgbClr val="FF9701"/>
          </a:solidFill>
        </a:ln>
      </dgm:spPr>
      <dgm:t>
        <a:bodyPr/>
        <a:lstStyle/>
        <a:p>
          <a:r>
            <a:rPr lang="pt-BR" sz="1800" dirty="0">
              <a:solidFill>
                <a:schemeClr val="tx1"/>
              </a:solidFill>
              <a:latin typeface="+mj-lt"/>
            </a:rPr>
            <a:t>1.4.3 treinamentos</a:t>
          </a:r>
        </a:p>
      </dgm:t>
    </dgm:pt>
    <dgm:pt modelId="{472A43E0-AE7D-244D-A1A2-0CB4B03CB1D2}" type="parTrans" cxnId="{FEB04178-4A10-0B4C-BBD9-BEB58FDFD50C}">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12E14D73-154F-9E4A-9302-3BE33A2C2613}" type="sibTrans" cxnId="{FEB04178-4A10-0B4C-BBD9-BEB58FDFD50C}">
      <dgm:prSet/>
      <dgm:spPr/>
      <dgm:t>
        <a:bodyPr/>
        <a:lstStyle/>
        <a:p>
          <a:endParaRPr lang="pt-BR" sz="1800">
            <a:latin typeface="+mj-lt"/>
          </a:endParaRPr>
        </a:p>
      </dgm:t>
    </dgm:pt>
    <dgm:pt modelId="{B065B7B3-E0E9-484B-9E1B-91295F57E167}">
      <dgm:prSet custT="1"/>
      <dgm:spPr>
        <a:noFill/>
        <a:ln w="38100">
          <a:solidFill>
            <a:srgbClr val="FF9701"/>
          </a:solidFill>
        </a:ln>
      </dgm:spPr>
      <dgm:t>
        <a:bodyPr/>
        <a:lstStyle/>
        <a:p>
          <a:r>
            <a:rPr lang="pt-BR" sz="1800" dirty="0">
              <a:solidFill>
                <a:schemeClr val="tx1"/>
              </a:solidFill>
              <a:latin typeface="+mj-lt"/>
            </a:rPr>
            <a:t>1.5.2 desenvolvimento</a:t>
          </a:r>
        </a:p>
      </dgm:t>
    </dgm:pt>
    <dgm:pt modelId="{35EC3856-BDDB-FA46-A8DC-6FD67D1DBFCB}" type="parTrans" cxnId="{EBC2DCD8-7130-F741-95AC-B0C71E2DCF40}">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93B5BDB5-3B24-4D49-B16D-DE9A6A69A13E}" type="sibTrans" cxnId="{EBC2DCD8-7130-F741-95AC-B0C71E2DCF40}">
      <dgm:prSet/>
      <dgm:spPr/>
      <dgm:t>
        <a:bodyPr/>
        <a:lstStyle/>
        <a:p>
          <a:endParaRPr lang="pt-BR" sz="1800">
            <a:latin typeface="+mj-lt"/>
          </a:endParaRPr>
        </a:p>
      </dgm:t>
    </dgm:pt>
    <dgm:pt modelId="{4B343688-50A6-4D47-B34B-5E6F81428970}">
      <dgm:prSet custT="1"/>
      <dgm:spPr>
        <a:noFill/>
        <a:ln w="38100">
          <a:solidFill>
            <a:srgbClr val="FF9701"/>
          </a:solidFill>
        </a:ln>
      </dgm:spPr>
      <dgm:t>
        <a:bodyPr/>
        <a:lstStyle/>
        <a:p>
          <a:r>
            <a:rPr lang="pt-BR" sz="1800" dirty="0">
              <a:solidFill>
                <a:schemeClr val="tx1"/>
              </a:solidFill>
              <a:latin typeface="+mj-lt"/>
            </a:rPr>
            <a:t>1.5.4 ajustes e melhorias</a:t>
          </a:r>
        </a:p>
      </dgm:t>
    </dgm:pt>
    <dgm:pt modelId="{45807D62-965A-734B-B4EB-83AE9384DDC6}" type="parTrans" cxnId="{A819ADBC-FEE8-5A4A-BC27-68764D8E2596}">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66EAD0C4-3874-4E4E-AB78-4E920999D5E2}" type="sibTrans" cxnId="{A819ADBC-FEE8-5A4A-BC27-68764D8E2596}">
      <dgm:prSet/>
      <dgm:spPr/>
      <dgm:t>
        <a:bodyPr/>
        <a:lstStyle/>
        <a:p>
          <a:endParaRPr lang="pt-BR" sz="1800">
            <a:latin typeface="+mj-lt"/>
          </a:endParaRPr>
        </a:p>
      </dgm:t>
    </dgm:pt>
    <dgm:pt modelId="{9452BE98-23E3-974F-B5BD-5237E206068F}">
      <dgm:prSet custT="1"/>
      <dgm:spPr>
        <a:noFill/>
        <a:ln w="38100">
          <a:solidFill>
            <a:srgbClr val="FF9701"/>
          </a:solidFill>
        </a:ln>
      </dgm:spPr>
      <dgm:t>
        <a:bodyPr/>
        <a:lstStyle/>
        <a:p>
          <a:r>
            <a:rPr lang="pt-BR" sz="1800" dirty="0">
              <a:solidFill>
                <a:schemeClr val="tx1"/>
              </a:solidFill>
              <a:latin typeface="+mj-lt"/>
            </a:rPr>
            <a:t>1.6 </a:t>
          </a:r>
        </a:p>
        <a:p>
          <a:r>
            <a:rPr lang="pt-BR" sz="1800" dirty="0">
              <a:solidFill>
                <a:schemeClr val="tx1"/>
              </a:solidFill>
              <a:latin typeface="+mj-lt"/>
            </a:rPr>
            <a:t>encerramento do projeto</a:t>
          </a:r>
        </a:p>
      </dgm:t>
    </dgm:pt>
    <dgm:pt modelId="{86E2DC4C-D556-BB4C-B034-F25764C18C16}" type="parTrans" cxnId="{CCFC8CAD-6FD7-F341-AFEB-7820EEE98DA4}">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BB480589-A6D5-6C4C-8FC4-07DC90EF2A28}" type="sibTrans" cxnId="{CCFC8CAD-6FD7-F341-AFEB-7820EEE98DA4}">
      <dgm:prSet/>
      <dgm:spPr/>
      <dgm:t>
        <a:bodyPr/>
        <a:lstStyle/>
        <a:p>
          <a:endParaRPr lang="pt-BR" sz="1800">
            <a:latin typeface="+mj-lt"/>
          </a:endParaRPr>
        </a:p>
      </dgm:t>
    </dgm:pt>
    <dgm:pt modelId="{5B5FBF44-2F18-AD4F-B880-D6F92C3DF98F}">
      <dgm:prSet custT="1"/>
      <dgm:spPr>
        <a:noFill/>
        <a:ln w="38100">
          <a:solidFill>
            <a:srgbClr val="FF9701"/>
          </a:solidFill>
        </a:ln>
      </dgm:spPr>
      <dgm:t>
        <a:bodyPr/>
        <a:lstStyle/>
        <a:p>
          <a:r>
            <a:rPr lang="pt-BR" sz="1800" dirty="0">
              <a:solidFill>
                <a:schemeClr val="tx1"/>
              </a:solidFill>
              <a:latin typeface="+mj-lt"/>
            </a:rPr>
            <a:t>1.6.1 avalia</a:t>
          </a:r>
          <a:r>
            <a:rPr lang="en-US" sz="1800" dirty="0">
              <a:solidFill>
                <a:schemeClr val="tx1"/>
              </a:solidFill>
              <a:latin typeface="+mj-lt"/>
            </a:rPr>
            <a:t>ção final</a:t>
          </a:r>
          <a:endParaRPr lang="pt-BR" sz="1800" dirty="0">
            <a:solidFill>
              <a:schemeClr val="tx1"/>
            </a:solidFill>
            <a:latin typeface="+mj-lt"/>
          </a:endParaRPr>
        </a:p>
      </dgm:t>
    </dgm:pt>
    <dgm:pt modelId="{D4F5E5D9-B7B7-3145-98B1-65A85968DB5A}" type="parTrans" cxnId="{58D2BEDC-1FD8-584D-92F2-C7A2BA21B2FB}">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8FDA0C8A-4A1A-AE49-B6B7-E0A57C9987BA}" type="sibTrans" cxnId="{58D2BEDC-1FD8-584D-92F2-C7A2BA21B2FB}">
      <dgm:prSet/>
      <dgm:spPr/>
      <dgm:t>
        <a:bodyPr/>
        <a:lstStyle/>
        <a:p>
          <a:endParaRPr lang="pt-BR" sz="1800">
            <a:latin typeface="+mj-lt"/>
          </a:endParaRPr>
        </a:p>
      </dgm:t>
    </dgm:pt>
    <dgm:pt modelId="{D94ACFDC-F9E9-444A-B732-9EA2C514A3A0}">
      <dgm:prSet custT="1"/>
      <dgm:spPr>
        <a:noFill/>
        <a:ln w="38100">
          <a:solidFill>
            <a:srgbClr val="FF9701"/>
          </a:solidFill>
        </a:ln>
      </dgm:spPr>
      <dgm:t>
        <a:bodyPr/>
        <a:lstStyle/>
        <a:p>
          <a:r>
            <a:rPr lang="pt-BR" sz="1800" dirty="0">
              <a:solidFill>
                <a:schemeClr val="tx1"/>
              </a:solidFill>
              <a:latin typeface="+mj-lt"/>
            </a:rPr>
            <a:t>1.6.2 li</a:t>
          </a:r>
          <a:r>
            <a:rPr lang="en-US" sz="1800" dirty="0">
              <a:solidFill>
                <a:schemeClr val="tx1"/>
              </a:solidFill>
              <a:latin typeface="+mj-lt"/>
            </a:rPr>
            <a:t>ções aprendidas</a:t>
          </a:r>
          <a:endParaRPr lang="pt-BR" sz="1800" dirty="0">
            <a:solidFill>
              <a:schemeClr val="tx1"/>
            </a:solidFill>
            <a:latin typeface="+mj-lt"/>
          </a:endParaRPr>
        </a:p>
      </dgm:t>
    </dgm:pt>
    <dgm:pt modelId="{1946E28F-9324-7046-8B57-16DFD1DD8778}" type="parTrans" cxnId="{509C888E-DA60-394C-BA5E-9D10EDC21F40}">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2CEBD08C-7904-2B48-8F42-25AC56E1E52C}" type="sibTrans" cxnId="{509C888E-DA60-394C-BA5E-9D10EDC21F40}">
      <dgm:prSet/>
      <dgm:spPr/>
      <dgm:t>
        <a:bodyPr/>
        <a:lstStyle/>
        <a:p>
          <a:endParaRPr lang="pt-BR" sz="1800">
            <a:latin typeface="+mj-lt"/>
          </a:endParaRPr>
        </a:p>
      </dgm:t>
    </dgm:pt>
    <dgm:pt modelId="{BDDC3921-A746-E049-A8AC-B3A7B34F03D2}">
      <dgm:prSet custT="1"/>
      <dgm:spPr>
        <a:noFill/>
        <a:ln w="38100">
          <a:solidFill>
            <a:srgbClr val="FF9701"/>
          </a:solidFill>
        </a:ln>
      </dgm:spPr>
      <dgm:t>
        <a:bodyPr/>
        <a:lstStyle/>
        <a:p>
          <a:r>
            <a:rPr lang="pt-BR" sz="1800" dirty="0">
              <a:solidFill>
                <a:schemeClr val="tx1"/>
              </a:solidFill>
              <a:latin typeface="+mj-lt"/>
            </a:rPr>
            <a:t>1.6.4 desmobiliza</a:t>
          </a:r>
          <a:r>
            <a:rPr lang="en-US" sz="1800" dirty="0">
              <a:solidFill>
                <a:schemeClr val="tx1"/>
              </a:solidFill>
              <a:latin typeface="+mj-lt"/>
            </a:rPr>
            <a:t>ção da equipe</a:t>
          </a:r>
          <a:endParaRPr lang="pt-BR" sz="1800" dirty="0">
            <a:solidFill>
              <a:schemeClr val="tx1"/>
            </a:solidFill>
            <a:latin typeface="+mj-lt"/>
          </a:endParaRPr>
        </a:p>
      </dgm:t>
    </dgm:pt>
    <dgm:pt modelId="{C17180E8-CF63-644C-80B1-0D1B86DFCAAD}" type="parTrans" cxnId="{565AECD1-D4B0-F640-8352-D90D0F6DBCEE}">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E81BB085-020C-754B-8809-5C5BD4AFF3E3}" type="sibTrans" cxnId="{565AECD1-D4B0-F640-8352-D90D0F6DBCEE}">
      <dgm:prSet/>
      <dgm:spPr/>
      <dgm:t>
        <a:bodyPr/>
        <a:lstStyle/>
        <a:p>
          <a:endParaRPr lang="pt-BR" sz="1800">
            <a:latin typeface="+mj-lt"/>
          </a:endParaRPr>
        </a:p>
      </dgm:t>
    </dgm:pt>
    <dgm:pt modelId="{56A17DBC-63A1-024F-8BEA-902F59AFC3D3}">
      <dgm:prSet custT="1"/>
      <dgm:spPr>
        <a:noFill/>
        <a:ln w="38100">
          <a:solidFill>
            <a:srgbClr val="FF9701"/>
          </a:solidFill>
        </a:ln>
      </dgm:spPr>
      <dgm:t>
        <a:bodyPr/>
        <a:lstStyle/>
        <a:p>
          <a:r>
            <a:rPr lang="pt-BR" sz="1800" dirty="0">
              <a:solidFill>
                <a:schemeClr val="tx1"/>
              </a:solidFill>
              <a:latin typeface="+mj-lt"/>
            </a:rPr>
            <a:t>1.1.2 planejamento</a:t>
          </a:r>
        </a:p>
      </dgm:t>
    </dgm:pt>
    <dgm:pt modelId="{87FAB1FD-1063-ED4B-B237-F419D2F600AE}" type="parTrans" cxnId="{0E461026-2869-BA41-BACF-BDC2C318169F}">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9781C0A3-6943-2C47-A9D9-E72962D04BC9}" type="sibTrans" cxnId="{0E461026-2869-BA41-BACF-BDC2C318169F}">
      <dgm:prSet/>
      <dgm:spPr/>
      <dgm:t>
        <a:bodyPr/>
        <a:lstStyle/>
        <a:p>
          <a:endParaRPr lang="pt-BR" sz="1800">
            <a:latin typeface="+mj-lt"/>
          </a:endParaRPr>
        </a:p>
      </dgm:t>
    </dgm:pt>
    <dgm:pt modelId="{AF984065-DF1F-B949-A1D3-CDAD0AE0C31E}">
      <dgm:prSet custT="1"/>
      <dgm:spPr>
        <a:noFill/>
        <a:ln w="38100">
          <a:solidFill>
            <a:srgbClr val="FF9701"/>
          </a:solidFill>
        </a:ln>
      </dgm:spPr>
      <dgm:t>
        <a:bodyPr/>
        <a:lstStyle/>
        <a:p>
          <a:r>
            <a:rPr lang="pt-BR" sz="1800" dirty="0">
              <a:solidFill>
                <a:schemeClr val="tx1"/>
              </a:solidFill>
              <a:latin typeface="+mj-lt"/>
            </a:rPr>
            <a:t>1.1.3</a:t>
          </a:r>
          <a:r>
            <a:rPr lang="pt-BR" sz="1800" baseline="0" dirty="0">
              <a:solidFill>
                <a:schemeClr val="tx1"/>
              </a:solidFill>
              <a:latin typeface="+mj-lt"/>
            </a:rPr>
            <a:t> </a:t>
          </a:r>
          <a:r>
            <a:rPr lang="pt-BR" sz="1800" dirty="0">
              <a:solidFill>
                <a:schemeClr val="tx1"/>
              </a:solidFill>
              <a:latin typeface="+mj-lt"/>
            </a:rPr>
            <a:t>reuni</a:t>
          </a:r>
          <a:r>
            <a:rPr lang="en-US" sz="1800" dirty="0" err="1">
              <a:solidFill>
                <a:schemeClr val="tx1"/>
              </a:solidFill>
              <a:latin typeface="+mj-lt"/>
            </a:rPr>
            <a:t>ões</a:t>
          </a:r>
          <a:br>
            <a:rPr lang="en-US" sz="1800" dirty="0">
              <a:solidFill>
                <a:schemeClr val="tx1"/>
              </a:solidFill>
              <a:latin typeface="+mj-lt"/>
            </a:rPr>
          </a:br>
          <a:r>
            <a:rPr lang="en-US" sz="1800" dirty="0">
              <a:solidFill>
                <a:schemeClr val="tx1"/>
              </a:solidFill>
              <a:latin typeface="+mj-lt"/>
            </a:rPr>
            <a:t>e apresentações de gestão</a:t>
          </a:r>
          <a:endParaRPr lang="pt-BR" sz="1800" dirty="0">
            <a:solidFill>
              <a:schemeClr val="tx1"/>
            </a:solidFill>
            <a:latin typeface="+mj-lt"/>
          </a:endParaRPr>
        </a:p>
      </dgm:t>
    </dgm:pt>
    <dgm:pt modelId="{C809FA02-5F15-FB41-859F-BA74A6D36869}" type="parTrans" cxnId="{E29E0483-98C2-7C41-AF0A-B33BFD74DF47}">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24243169-375C-8E49-90A3-ACDB8ECE4818}" type="sibTrans" cxnId="{E29E0483-98C2-7C41-AF0A-B33BFD74DF47}">
      <dgm:prSet/>
      <dgm:spPr/>
      <dgm:t>
        <a:bodyPr/>
        <a:lstStyle/>
        <a:p>
          <a:endParaRPr lang="pt-BR" sz="1800">
            <a:latin typeface="+mj-lt"/>
          </a:endParaRPr>
        </a:p>
      </dgm:t>
    </dgm:pt>
    <dgm:pt modelId="{3004A816-83EC-7F45-A75C-9E38D10BFFB7}">
      <dgm:prSet custT="1"/>
      <dgm:spPr>
        <a:noFill/>
        <a:ln w="38100">
          <a:solidFill>
            <a:srgbClr val="FF9701"/>
          </a:solidFill>
        </a:ln>
      </dgm:spPr>
      <dgm:t>
        <a:bodyPr/>
        <a:lstStyle/>
        <a:p>
          <a:r>
            <a:rPr lang="pt-BR" sz="1800" dirty="0">
              <a:solidFill>
                <a:schemeClr val="tx1"/>
              </a:solidFill>
              <a:latin typeface="+mj-lt"/>
            </a:rPr>
            <a:t>1.1.1 abertura</a:t>
          </a:r>
        </a:p>
      </dgm:t>
    </dgm:pt>
    <dgm:pt modelId="{B2A34B52-2C14-3B49-AFB4-985DF1F5E0EB}" type="parTrans" cxnId="{74120A13-56B9-4F49-9B8F-30142EF6E771}">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62574E72-AF30-5645-A31A-203A559DA77A}" type="sibTrans" cxnId="{74120A13-56B9-4F49-9B8F-30142EF6E771}">
      <dgm:prSet/>
      <dgm:spPr/>
      <dgm:t>
        <a:bodyPr/>
        <a:lstStyle/>
        <a:p>
          <a:endParaRPr lang="pt-BR" sz="1800">
            <a:latin typeface="+mj-lt"/>
          </a:endParaRPr>
        </a:p>
      </dgm:t>
    </dgm:pt>
    <dgm:pt modelId="{8362E7DE-7D86-FE46-9DCA-A86281DE2298}">
      <dgm:prSet custT="1"/>
      <dgm:spPr>
        <a:noFill/>
        <a:ln w="38100">
          <a:solidFill>
            <a:srgbClr val="FF9701"/>
          </a:solidFill>
        </a:ln>
      </dgm:spPr>
      <dgm:t>
        <a:bodyPr/>
        <a:lstStyle/>
        <a:p>
          <a:r>
            <a:rPr lang="pt-BR" sz="1800" dirty="0">
              <a:solidFill>
                <a:schemeClr val="tx1"/>
              </a:solidFill>
              <a:latin typeface="+mj-lt"/>
            </a:rPr>
            <a:t>1.1.4 </a:t>
          </a:r>
          <a:r>
            <a:rPr lang="pt-BR" sz="1800" dirty="0" err="1">
              <a:solidFill>
                <a:schemeClr val="tx1"/>
              </a:solidFill>
              <a:latin typeface="+mj-lt"/>
            </a:rPr>
            <a:t>relat</a:t>
          </a:r>
          <a:r>
            <a:rPr lang="en-US" sz="1800" dirty="0">
              <a:solidFill>
                <a:schemeClr val="tx1"/>
              </a:solidFill>
              <a:latin typeface="+mj-lt"/>
            </a:rPr>
            <a:t>órios de desempenho</a:t>
          </a:r>
          <a:endParaRPr lang="pt-BR" sz="1800" dirty="0">
            <a:solidFill>
              <a:schemeClr val="tx1"/>
            </a:solidFill>
            <a:latin typeface="+mj-lt"/>
          </a:endParaRPr>
        </a:p>
      </dgm:t>
    </dgm:pt>
    <dgm:pt modelId="{011683FF-9CA7-154C-805E-F3754B7ECFB6}" type="parTrans" cxnId="{4F632CB5-F317-DD4E-A00C-046E234AC48D}">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13BF174B-6763-E048-9616-27A54F5AFBD6}" type="sibTrans" cxnId="{4F632CB5-F317-DD4E-A00C-046E234AC48D}">
      <dgm:prSet/>
      <dgm:spPr/>
      <dgm:t>
        <a:bodyPr/>
        <a:lstStyle/>
        <a:p>
          <a:endParaRPr lang="pt-BR" sz="1800">
            <a:latin typeface="+mj-lt"/>
          </a:endParaRPr>
        </a:p>
      </dgm:t>
    </dgm:pt>
    <dgm:pt modelId="{DA7A862C-EE8D-C84B-8F04-50B9EBF84874}">
      <dgm:prSet custT="1"/>
      <dgm:spPr>
        <a:noFill/>
        <a:ln w="38100">
          <a:solidFill>
            <a:srgbClr val="FF9701"/>
          </a:solidFill>
        </a:ln>
      </dgm:spPr>
      <dgm:t>
        <a:bodyPr/>
        <a:lstStyle/>
        <a:p>
          <a:r>
            <a:rPr lang="pt-BR" sz="1800" dirty="0">
              <a:solidFill>
                <a:schemeClr val="tx1"/>
              </a:solidFill>
              <a:latin typeface="+mj-lt"/>
            </a:rPr>
            <a:t>1.5.3 </a:t>
          </a:r>
          <a:r>
            <a:rPr lang="pt-BR" sz="1800" dirty="0" err="1">
              <a:solidFill>
                <a:schemeClr val="tx1"/>
              </a:solidFill>
              <a:latin typeface="+mj-lt"/>
            </a:rPr>
            <a:t>relat</a:t>
          </a:r>
          <a:r>
            <a:rPr lang="en-US" sz="1800" dirty="0" err="1">
              <a:solidFill>
                <a:schemeClr val="tx1"/>
              </a:solidFill>
              <a:latin typeface="+mj-lt"/>
            </a:rPr>
            <a:t>órios</a:t>
          </a:r>
          <a:br>
            <a:rPr lang="en-US" sz="1800" dirty="0">
              <a:solidFill>
                <a:schemeClr val="tx1"/>
              </a:solidFill>
              <a:latin typeface="+mj-lt"/>
            </a:rPr>
          </a:br>
          <a:r>
            <a:rPr lang="en-US" sz="1800" dirty="0">
              <a:solidFill>
                <a:schemeClr val="tx1"/>
              </a:solidFill>
              <a:latin typeface="+mj-lt"/>
            </a:rPr>
            <a:t>de diagnóstico</a:t>
          </a:r>
          <a:endParaRPr lang="pt-BR" sz="1800" dirty="0">
            <a:solidFill>
              <a:schemeClr val="tx1"/>
            </a:solidFill>
            <a:latin typeface="+mj-lt"/>
          </a:endParaRPr>
        </a:p>
      </dgm:t>
    </dgm:pt>
    <dgm:pt modelId="{24D845EA-3E35-5B49-A988-4AC675D6DE26}" type="parTrans" cxnId="{1782450B-48BA-BA43-9CB5-088561EEF17C}">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A62F46E6-63DC-5D4B-BF38-CAA132C7C2BB}" type="sibTrans" cxnId="{1782450B-48BA-BA43-9CB5-088561EEF17C}">
      <dgm:prSet/>
      <dgm:spPr/>
      <dgm:t>
        <a:bodyPr/>
        <a:lstStyle/>
        <a:p>
          <a:endParaRPr lang="pt-BR" sz="1800">
            <a:latin typeface="+mj-lt"/>
          </a:endParaRPr>
        </a:p>
      </dgm:t>
    </dgm:pt>
    <dgm:pt modelId="{1E0A75A1-8F23-FB49-A27C-B29BF8966F56}">
      <dgm:prSet custT="1"/>
      <dgm:spPr>
        <a:noFill/>
        <a:ln w="38100">
          <a:solidFill>
            <a:srgbClr val="FF9701"/>
          </a:solidFill>
        </a:ln>
      </dgm:spPr>
      <dgm:t>
        <a:bodyPr/>
        <a:lstStyle/>
        <a:p>
          <a:r>
            <a:rPr lang="pt-BR" sz="1800" dirty="0">
              <a:solidFill>
                <a:schemeClr val="tx1"/>
              </a:solidFill>
              <a:latin typeface="+mj-lt"/>
            </a:rPr>
            <a:t>1.4.2 f</a:t>
          </a:r>
          <a:r>
            <a:rPr lang="en-US" sz="1800" dirty="0">
              <a:solidFill>
                <a:schemeClr val="tx1"/>
              </a:solidFill>
              <a:latin typeface="+mj-lt"/>
            </a:rPr>
            <a:t>erramentas </a:t>
          </a:r>
          <a:endParaRPr lang="pt-BR" sz="1800" dirty="0">
            <a:solidFill>
              <a:schemeClr val="tx1"/>
            </a:solidFill>
            <a:latin typeface="+mj-lt"/>
          </a:endParaRPr>
        </a:p>
      </dgm:t>
    </dgm:pt>
    <dgm:pt modelId="{6E8ED33D-8A87-8549-942B-00DDC9658E8F}" type="parTrans" cxnId="{D28DE4D6-23E4-B446-AAD0-1EFE98731369}">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14CD7C5B-5DB3-0346-847D-F4F0EF59D80E}" type="sibTrans" cxnId="{D28DE4D6-23E4-B446-AAD0-1EFE98731369}">
      <dgm:prSet/>
      <dgm:spPr/>
      <dgm:t>
        <a:bodyPr/>
        <a:lstStyle/>
        <a:p>
          <a:endParaRPr lang="pt-BR" sz="1800">
            <a:latin typeface="+mj-lt"/>
          </a:endParaRPr>
        </a:p>
      </dgm:t>
    </dgm:pt>
    <dgm:pt modelId="{577F0963-31FC-2345-8AC0-499A553AF4B5}">
      <dgm:prSet custT="1"/>
      <dgm:spPr>
        <a:noFill/>
        <a:ln w="38100">
          <a:solidFill>
            <a:srgbClr val="FF9701"/>
          </a:solidFill>
        </a:ln>
      </dgm:spPr>
      <dgm:t>
        <a:bodyPr/>
        <a:lstStyle/>
        <a:p>
          <a:r>
            <a:rPr lang="pt-BR" sz="1800" dirty="0">
              <a:solidFill>
                <a:schemeClr val="tx1"/>
              </a:solidFill>
              <a:latin typeface="+mj-lt"/>
            </a:rPr>
            <a:t>1.4 metodologias e ferramentas</a:t>
          </a:r>
        </a:p>
      </dgm:t>
    </dgm:pt>
    <dgm:pt modelId="{0507BEBE-5E95-1C4C-8795-5522AB5CA66D}" type="parTrans" cxnId="{40BF9F87-6698-644A-90A9-D8C219C69612}">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282E4250-6BCB-CA40-B229-F4589471FC11}" type="sibTrans" cxnId="{40BF9F87-6698-644A-90A9-D8C219C69612}">
      <dgm:prSet/>
      <dgm:spPr/>
      <dgm:t>
        <a:bodyPr/>
        <a:lstStyle/>
        <a:p>
          <a:endParaRPr lang="pt-BR" sz="1800">
            <a:latin typeface="+mj-lt"/>
          </a:endParaRPr>
        </a:p>
      </dgm:t>
    </dgm:pt>
    <dgm:pt modelId="{4E74F4CB-0720-EE47-A047-DE069AF9DEFB}">
      <dgm:prSet custT="1"/>
      <dgm:spPr>
        <a:noFill/>
        <a:ln w="38100">
          <a:solidFill>
            <a:srgbClr val="FF9701"/>
          </a:solidFill>
        </a:ln>
      </dgm:spPr>
      <dgm:t>
        <a:bodyPr/>
        <a:lstStyle/>
        <a:p>
          <a:r>
            <a:rPr lang="pt-BR" sz="1800" dirty="0">
              <a:solidFill>
                <a:schemeClr val="tx1"/>
              </a:solidFill>
              <a:latin typeface="+mj-lt"/>
            </a:rPr>
            <a:t>1.4.1 metodologias </a:t>
          </a:r>
        </a:p>
      </dgm:t>
    </dgm:pt>
    <dgm:pt modelId="{E757D2C4-8EB2-B045-AC31-B9257EE48646}" type="parTrans" cxnId="{0B11E57F-8D62-4243-855E-59629799DF22}">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9331F6D7-540C-D140-B0DA-7754D39C8EE4}" type="sibTrans" cxnId="{0B11E57F-8D62-4243-855E-59629799DF22}">
      <dgm:prSet/>
      <dgm:spPr/>
      <dgm:t>
        <a:bodyPr/>
        <a:lstStyle/>
        <a:p>
          <a:endParaRPr lang="pt-BR" sz="1800">
            <a:latin typeface="+mj-lt"/>
          </a:endParaRPr>
        </a:p>
      </dgm:t>
    </dgm:pt>
    <dgm:pt modelId="{586A98B4-FC79-6044-9B15-3906A300923F}">
      <dgm:prSet custT="1"/>
      <dgm:spPr>
        <a:noFill/>
        <a:ln w="38100">
          <a:solidFill>
            <a:srgbClr val="FF9701"/>
          </a:solidFill>
        </a:ln>
      </dgm:spPr>
      <dgm:t>
        <a:bodyPr/>
        <a:lstStyle/>
        <a:p>
          <a:r>
            <a:rPr lang="pt-BR" sz="1800" dirty="0">
              <a:solidFill>
                <a:schemeClr val="tx1"/>
              </a:solidFill>
              <a:latin typeface="+mj-lt"/>
            </a:rPr>
            <a:t>1.6.3 fechamento administrativo e</a:t>
          </a:r>
          <a:r>
            <a:rPr lang="pt-BR" sz="1800" baseline="0" dirty="0">
              <a:solidFill>
                <a:schemeClr val="tx1"/>
              </a:solidFill>
              <a:latin typeface="+mj-lt"/>
            </a:rPr>
            <a:t> </a:t>
          </a:r>
          <a:r>
            <a:rPr lang="pt-BR" sz="1800" dirty="0">
              <a:solidFill>
                <a:schemeClr val="tx1"/>
              </a:solidFill>
              <a:latin typeface="+mj-lt"/>
            </a:rPr>
            <a:t>financeiro</a:t>
          </a:r>
        </a:p>
      </dgm:t>
    </dgm:pt>
    <dgm:pt modelId="{FBF6331E-41CF-524F-9060-E436E210C352}" type="parTrans" cxnId="{0B94FB04-8741-B841-84B4-0BD9B9C2357E}">
      <dgm:prSet>
        <dgm:style>
          <a:lnRef idx="1">
            <a:schemeClr val="accent6"/>
          </a:lnRef>
          <a:fillRef idx="0">
            <a:schemeClr val="accent6"/>
          </a:fillRef>
          <a:effectRef idx="0">
            <a:schemeClr val="accent6"/>
          </a:effectRef>
          <a:fontRef idx="minor">
            <a:schemeClr val="tx1"/>
          </a:fontRef>
        </dgm:style>
      </dgm:prSet>
      <dgm:spPr>
        <a:ln>
          <a:solidFill>
            <a:schemeClr val="bg1">
              <a:lumMod val="75000"/>
            </a:schemeClr>
          </a:solidFill>
        </a:ln>
      </dgm:spPr>
      <dgm:t>
        <a:bodyPr/>
        <a:lstStyle/>
        <a:p>
          <a:endParaRPr lang="pt-BR" sz="1800">
            <a:latin typeface="+mj-lt"/>
          </a:endParaRPr>
        </a:p>
      </dgm:t>
    </dgm:pt>
    <dgm:pt modelId="{DF25F630-0164-BA4C-A0AA-35325732E3F2}" type="sibTrans" cxnId="{0B94FB04-8741-B841-84B4-0BD9B9C2357E}">
      <dgm:prSet/>
      <dgm:spPr/>
      <dgm:t>
        <a:bodyPr/>
        <a:lstStyle/>
        <a:p>
          <a:endParaRPr lang="pt-BR" sz="1800">
            <a:latin typeface="+mj-lt"/>
          </a:endParaRPr>
        </a:p>
      </dgm:t>
    </dgm:pt>
    <dgm:pt modelId="{98FA9FBB-30E8-EF4A-9AF4-7A2541539A17}" type="pres">
      <dgm:prSet presAssocID="{5C85038C-61DC-2B4E-9094-FCD217AD9A06}" presName="hierChild1" presStyleCnt="0">
        <dgm:presLayoutVars>
          <dgm:orgChart val="1"/>
          <dgm:chPref val="1"/>
          <dgm:dir/>
          <dgm:animOne val="branch"/>
          <dgm:animLvl val="lvl"/>
          <dgm:resizeHandles/>
        </dgm:presLayoutVars>
      </dgm:prSet>
      <dgm:spPr/>
    </dgm:pt>
    <dgm:pt modelId="{2BCC09C6-1184-AE4E-8FBA-4DD4A8378FB4}" type="pres">
      <dgm:prSet presAssocID="{1942B8BA-B0EC-CC4F-B6BB-BA0927FB8ECA}" presName="hierRoot1" presStyleCnt="0">
        <dgm:presLayoutVars>
          <dgm:hierBranch val="init"/>
        </dgm:presLayoutVars>
      </dgm:prSet>
      <dgm:spPr/>
    </dgm:pt>
    <dgm:pt modelId="{0B3B1180-7990-644F-8867-7C2B2BFECCA8}" type="pres">
      <dgm:prSet presAssocID="{1942B8BA-B0EC-CC4F-B6BB-BA0927FB8ECA}" presName="rootComposite1" presStyleCnt="0"/>
      <dgm:spPr/>
    </dgm:pt>
    <dgm:pt modelId="{51504BC8-E2F6-8A40-8047-FE51F82DAFC3}" type="pres">
      <dgm:prSet presAssocID="{1942B8BA-B0EC-CC4F-B6BB-BA0927FB8ECA}" presName="rootText1" presStyleLbl="node0" presStyleIdx="0" presStyleCnt="1" custScaleX="178383" custScaleY="66167" custLinFactNeighborY="-23367">
        <dgm:presLayoutVars>
          <dgm:chPref val="3"/>
        </dgm:presLayoutVars>
      </dgm:prSet>
      <dgm:spPr>
        <a:prstGeom prst="roundRect">
          <a:avLst/>
        </a:prstGeom>
      </dgm:spPr>
    </dgm:pt>
    <dgm:pt modelId="{EDB06EF5-3922-FF40-8026-BFCC357CCF9C}" type="pres">
      <dgm:prSet presAssocID="{1942B8BA-B0EC-CC4F-B6BB-BA0927FB8ECA}" presName="rootConnector1" presStyleLbl="node1" presStyleIdx="0" presStyleCnt="0"/>
      <dgm:spPr/>
    </dgm:pt>
    <dgm:pt modelId="{F6483C81-E32A-B648-AE53-795AA8044C10}" type="pres">
      <dgm:prSet presAssocID="{1942B8BA-B0EC-CC4F-B6BB-BA0927FB8ECA}" presName="hierChild2" presStyleCnt="0"/>
      <dgm:spPr/>
    </dgm:pt>
    <dgm:pt modelId="{1CBAFD70-8FC7-BE46-94D6-E581D737F315}" type="pres">
      <dgm:prSet presAssocID="{8F6DDDCF-3290-7647-B518-EBE6D7650DFF}" presName="Name37" presStyleLbl="parChTrans1D2" presStyleIdx="0" presStyleCnt="6"/>
      <dgm:spPr/>
    </dgm:pt>
    <dgm:pt modelId="{0224BCD8-0323-B949-A841-7C00FECDF7DE}" type="pres">
      <dgm:prSet presAssocID="{5FAD9378-6B4B-C64F-8CAB-38E7E90C46DC}" presName="hierRoot2" presStyleCnt="0">
        <dgm:presLayoutVars>
          <dgm:hierBranch val="init"/>
        </dgm:presLayoutVars>
      </dgm:prSet>
      <dgm:spPr/>
    </dgm:pt>
    <dgm:pt modelId="{C0744F57-049E-E947-BB12-9B26764EB497}" type="pres">
      <dgm:prSet presAssocID="{5FAD9378-6B4B-C64F-8CAB-38E7E90C46DC}" presName="rootComposite" presStyleCnt="0"/>
      <dgm:spPr/>
    </dgm:pt>
    <dgm:pt modelId="{EBA01F24-15EE-9C4F-8EFA-9119F6DCC6B9}" type="pres">
      <dgm:prSet presAssocID="{5FAD9378-6B4B-C64F-8CAB-38E7E90C46DC}" presName="rootText" presStyleLbl="node2" presStyleIdx="0" presStyleCnt="6" custScaleX="124628">
        <dgm:presLayoutVars>
          <dgm:chPref val="3"/>
        </dgm:presLayoutVars>
      </dgm:prSet>
      <dgm:spPr>
        <a:prstGeom prst="roundRect">
          <a:avLst/>
        </a:prstGeom>
      </dgm:spPr>
    </dgm:pt>
    <dgm:pt modelId="{31F8CED8-E6D4-AC4A-B338-211AAF2DBF48}" type="pres">
      <dgm:prSet presAssocID="{5FAD9378-6B4B-C64F-8CAB-38E7E90C46DC}" presName="rootConnector" presStyleLbl="node2" presStyleIdx="0" presStyleCnt="6"/>
      <dgm:spPr/>
    </dgm:pt>
    <dgm:pt modelId="{47A2664F-EA74-994B-90DA-264F88A52636}" type="pres">
      <dgm:prSet presAssocID="{5FAD9378-6B4B-C64F-8CAB-38E7E90C46DC}" presName="hierChild4" presStyleCnt="0"/>
      <dgm:spPr/>
    </dgm:pt>
    <dgm:pt modelId="{675FC6CC-A4E0-224A-9983-899CD2904726}" type="pres">
      <dgm:prSet presAssocID="{B2A34B52-2C14-3B49-AFB4-985DF1F5E0EB}" presName="Name37" presStyleLbl="parChTrans1D3" presStyleIdx="0" presStyleCnt="20"/>
      <dgm:spPr/>
    </dgm:pt>
    <dgm:pt modelId="{D8C6AB79-E138-E846-9FD7-95B4B756A873}" type="pres">
      <dgm:prSet presAssocID="{3004A816-83EC-7F45-A75C-9E38D10BFFB7}" presName="hierRoot2" presStyleCnt="0">
        <dgm:presLayoutVars>
          <dgm:hierBranch val="init"/>
        </dgm:presLayoutVars>
      </dgm:prSet>
      <dgm:spPr/>
    </dgm:pt>
    <dgm:pt modelId="{32945419-5BD1-634E-B557-49DEFFC9AB07}" type="pres">
      <dgm:prSet presAssocID="{3004A816-83EC-7F45-A75C-9E38D10BFFB7}" presName="rootComposite" presStyleCnt="0"/>
      <dgm:spPr/>
    </dgm:pt>
    <dgm:pt modelId="{EADEF8E4-20C1-7949-A728-D7F5A64081BB}" type="pres">
      <dgm:prSet presAssocID="{3004A816-83EC-7F45-A75C-9E38D10BFFB7}" presName="rootText" presStyleLbl="node3" presStyleIdx="0" presStyleCnt="20" custScaleX="114314">
        <dgm:presLayoutVars>
          <dgm:chPref val="3"/>
        </dgm:presLayoutVars>
      </dgm:prSet>
      <dgm:spPr>
        <a:prstGeom prst="roundRect">
          <a:avLst/>
        </a:prstGeom>
      </dgm:spPr>
    </dgm:pt>
    <dgm:pt modelId="{89A1D819-410F-AB40-9AE2-2A066B78BE2F}" type="pres">
      <dgm:prSet presAssocID="{3004A816-83EC-7F45-A75C-9E38D10BFFB7}" presName="rootConnector" presStyleLbl="node3" presStyleIdx="0" presStyleCnt="20"/>
      <dgm:spPr/>
    </dgm:pt>
    <dgm:pt modelId="{94D402B2-04CB-124A-995D-A34D0D0671FD}" type="pres">
      <dgm:prSet presAssocID="{3004A816-83EC-7F45-A75C-9E38D10BFFB7}" presName="hierChild4" presStyleCnt="0"/>
      <dgm:spPr/>
    </dgm:pt>
    <dgm:pt modelId="{D58ADD6F-0F8B-D54B-B892-164948EA0EDE}" type="pres">
      <dgm:prSet presAssocID="{3004A816-83EC-7F45-A75C-9E38D10BFFB7}" presName="hierChild5" presStyleCnt="0"/>
      <dgm:spPr/>
    </dgm:pt>
    <dgm:pt modelId="{12DAC0E7-47A7-AB40-8A6D-9F6193F51A24}" type="pres">
      <dgm:prSet presAssocID="{87FAB1FD-1063-ED4B-B237-F419D2F600AE}" presName="Name37" presStyleLbl="parChTrans1D3" presStyleIdx="1" presStyleCnt="20"/>
      <dgm:spPr/>
    </dgm:pt>
    <dgm:pt modelId="{8DBCE740-1178-0C45-8B14-5B9618141690}" type="pres">
      <dgm:prSet presAssocID="{56A17DBC-63A1-024F-8BEA-902F59AFC3D3}" presName="hierRoot2" presStyleCnt="0">
        <dgm:presLayoutVars>
          <dgm:hierBranch val="init"/>
        </dgm:presLayoutVars>
      </dgm:prSet>
      <dgm:spPr/>
    </dgm:pt>
    <dgm:pt modelId="{7C7261B9-21EA-8C47-8FAA-81CB75AB913F}" type="pres">
      <dgm:prSet presAssocID="{56A17DBC-63A1-024F-8BEA-902F59AFC3D3}" presName="rootComposite" presStyleCnt="0"/>
      <dgm:spPr/>
    </dgm:pt>
    <dgm:pt modelId="{9CE777C7-C4DF-564B-B993-CED54A3B12B5}" type="pres">
      <dgm:prSet presAssocID="{56A17DBC-63A1-024F-8BEA-902F59AFC3D3}" presName="rootText" presStyleLbl="node3" presStyleIdx="1" presStyleCnt="20" custScaleX="114314">
        <dgm:presLayoutVars>
          <dgm:chPref val="3"/>
        </dgm:presLayoutVars>
      </dgm:prSet>
      <dgm:spPr>
        <a:prstGeom prst="roundRect">
          <a:avLst/>
        </a:prstGeom>
      </dgm:spPr>
    </dgm:pt>
    <dgm:pt modelId="{837FBF31-9B93-AF41-9707-751766CB7806}" type="pres">
      <dgm:prSet presAssocID="{56A17DBC-63A1-024F-8BEA-902F59AFC3D3}" presName="rootConnector" presStyleLbl="node3" presStyleIdx="1" presStyleCnt="20"/>
      <dgm:spPr/>
    </dgm:pt>
    <dgm:pt modelId="{AA5B32FD-E95B-2D41-A3AB-7E3479482F34}" type="pres">
      <dgm:prSet presAssocID="{56A17DBC-63A1-024F-8BEA-902F59AFC3D3}" presName="hierChild4" presStyleCnt="0"/>
      <dgm:spPr/>
    </dgm:pt>
    <dgm:pt modelId="{B5EC2486-C4CB-EF4B-B09F-CA87C79BA933}" type="pres">
      <dgm:prSet presAssocID="{56A17DBC-63A1-024F-8BEA-902F59AFC3D3}" presName="hierChild5" presStyleCnt="0"/>
      <dgm:spPr/>
    </dgm:pt>
    <dgm:pt modelId="{19E99F7A-7F6A-BA47-9D9C-19700511A85E}" type="pres">
      <dgm:prSet presAssocID="{C809FA02-5F15-FB41-859F-BA74A6D36869}" presName="Name37" presStyleLbl="parChTrans1D3" presStyleIdx="2" presStyleCnt="20"/>
      <dgm:spPr/>
    </dgm:pt>
    <dgm:pt modelId="{4ABD6F36-5021-844A-AA4F-DEE7C91205F2}" type="pres">
      <dgm:prSet presAssocID="{AF984065-DF1F-B949-A1D3-CDAD0AE0C31E}" presName="hierRoot2" presStyleCnt="0">
        <dgm:presLayoutVars>
          <dgm:hierBranch val="init"/>
        </dgm:presLayoutVars>
      </dgm:prSet>
      <dgm:spPr/>
    </dgm:pt>
    <dgm:pt modelId="{2C7EF86F-D897-DC4E-9B94-B6E43186C27B}" type="pres">
      <dgm:prSet presAssocID="{AF984065-DF1F-B949-A1D3-CDAD0AE0C31E}" presName="rootComposite" presStyleCnt="0"/>
      <dgm:spPr/>
    </dgm:pt>
    <dgm:pt modelId="{FE77B062-EB70-9949-80B4-8D69637E320D}" type="pres">
      <dgm:prSet presAssocID="{AF984065-DF1F-B949-A1D3-CDAD0AE0C31E}" presName="rootText" presStyleLbl="node3" presStyleIdx="2" presStyleCnt="20" custScaleX="114314" custScaleY="110001">
        <dgm:presLayoutVars>
          <dgm:chPref val="3"/>
        </dgm:presLayoutVars>
      </dgm:prSet>
      <dgm:spPr>
        <a:prstGeom prst="roundRect">
          <a:avLst/>
        </a:prstGeom>
      </dgm:spPr>
    </dgm:pt>
    <dgm:pt modelId="{09A3917E-4E91-574F-A76A-28F3B3F1A5E5}" type="pres">
      <dgm:prSet presAssocID="{AF984065-DF1F-B949-A1D3-CDAD0AE0C31E}" presName="rootConnector" presStyleLbl="node3" presStyleIdx="2" presStyleCnt="20"/>
      <dgm:spPr/>
    </dgm:pt>
    <dgm:pt modelId="{7F26B132-A785-5548-BEE7-E822A50B316D}" type="pres">
      <dgm:prSet presAssocID="{AF984065-DF1F-B949-A1D3-CDAD0AE0C31E}" presName="hierChild4" presStyleCnt="0"/>
      <dgm:spPr/>
    </dgm:pt>
    <dgm:pt modelId="{BA1A3983-6B20-AF47-9730-F3C6315AA4CA}" type="pres">
      <dgm:prSet presAssocID="{AF984065-DF1F-B949-A1D3-CDAD0AE0C31E}" presName="hierChild5" presStyleCnt="0"/>
      <dgm:spPr/>
    </dgm:pt>
    <dgm:pt modelId="{CA284B0A-7BCA-AC41-B995-F7250AA6BC6F}" type="pres">
      <dgm:prSet presAssocID="{011683FF-9CA7-154C-805E-F3754B7ECFB6}" presName="Name37" presStyleLbl="parChTrans1D3" presStyleIdx="3" presStyleCnt="20"/>
      <dgm:spPr/>
    </dgm:pt>
    <dgm:pt modelId="{E1D6C9B7-EB85-A446-A6C1-A22BF0828D38}" type="pres">
      <dgm:prSet presAssocID="{8362E7DE-7D86-FE46-9DCA-A86281DE2298}" presName="hierRoot2" presStyleCnt="0">
        <dgm:presLayoutVars>
          <dgm:hierBranch val="init"/>
        </dgm:presLayoutVars>
      </dgm:prSet>
      <dgm:spPr/>
    </dgm:pt>
    <dgm:pt modelId="{B186FB41-9F02-A845-91C8-CE08FFDA9338}" type="pres">
      <dgm:prSet presAssocID="{8362E7DE-7D86-FE46-9DCA-A86281DE2298}" presName="rootComposite" presStyleCnt="0"/>
      <dgm:spPr/>
    </dgm:pt>
    <dgm:pt modelId="{6CA59EEF-489F-BA42-A850-785B6A5B5B63}" type="pres">
      <dgm:prSet presAssocID="{8362E7DE-7D86-FE46-9DCA-A86281DE2298}" presName="rootText" presStyleLbl="node3" presStyleIdx="3" presStyleCnt="20" custScaleX="114314">
        <dgm:presLayoutVars>
          <dgm:chPref val="3"/>
        </dgm:presLayoutVars>
      </dgm:prSet>
      <dgm:spPr>
        <a:prstGeom prst="roundRect">
          <a:avLst/>
        </a:prstGeom>
      </dgm:spPr>
    </dgm:pt>
    <dgm:pt modelId="{4DD37255-E33C-4644-9121-82A0094274A8}" type="pres">
      <dgm:prSet presAssocID="{8362E7DE-7D86-FE46-9DCA-A86281DE2298}" presName="rootConnector" presStyleLbl="node3" presStyleIdx="3" presStyleCnt="20"/>
      <dgm:spPr/>
    </dgm:pt>
    <dgm:pt modelId="{F4533B3B-39D1-4342-A5D4-97A0C8AD2BC6}" type="pres">
      <dgm:prSet presAssocID="{8362E7DE-7D86-FE46-9DCA-A86281DE2298}" presName="hierChild4" presStyleCnt="0"/>
      <dgm:spPr/>
    </dgm:pt>
    <dgm:pt modelId="{1A00A27C-3FE4-CB43-B54E-52F4A7DEB60A}" type="pres">
      <dgm:prSet presAssocID="{8362E7DE-7D86-FE46-9DCA-A86281DE2298}" presName="hierChild5" presStyleCnt="0"/>
      <dgm:spPr/>
    </dgm:pt>
    <dgm:pt modelId="{F17F6615-9AB0-4940-BFC3-FCDF7DEA0588}" type="pres">
      <dgm:prSet presAssocID="{5FAD9378-6B4B-C64F-8CAB-38E7E90C46DC}" presName="hierChild5" presStyleCnt="0"/>
      <dgm:spPr/>
    </dgm:pt>
    <dgm:pt modelId="{DC738067-ACC0-DC4B-87E8-CE7417B89343}" type="pres">
      <dgm:prSet presAssocID="{5E2D9A7A-588E-F245-9AF4-52458AC4E732}" presName="Name37" presStyleLbl="parChTrans1D2" presStyleIdx="1" presStyleCnt="6"/>
      <dgm:spPr/>
    </dgm:pt>
    <dgm:pt modelId="{24DC2E4D-4B95-304E-AD39-67DC45A76D9B}" type="pres">
      <dgm:prSet presAssocID="{C4D77AD8-A130-0545-B085-3B7EE3C95014}" presName="hierRoot2" presStyleCnt="0">
        <dgm:presLayoutVars>
          <dgm:hierBranch val="init"/>
        </dgm:presLayoutVars>
      </dgm:prSet>
      <dgm:spPr/>
    </dgm:pt>
    <dgm:pt modelId="{D2F16B7A-9D03-404A-9AC8-04F98B330E7C}" type="pres">
      <dgm:prSet presAssocID="{C4D77AD8-A130-0545-B085-3B7EE3C95014}" presName="rootComposite" presStyleCnt="0"/>
      <dgm:spPr/>
    </dgm:pt>
    <dgm:pt modelId="{C2D83C95-216F-604E-8802-064277EFACC1}" type="pres">
      <dgm:prSet presAssocID="{C4D77AD8-A130-0545-B085-3B7EE3C95014}" presName="rootText" presStyleLbl="node2" presStyleIdx="1" presStyleCnt="6" custScaleX="124628">
        <dgm:presLayoutVars>
          <dgm:chPref val="3"/>
        </dgm:presLayoutVars>
      </dgm:prSet>
      <dgm:spPr>
        <a:prstGeom prst="roundRect">
          <a:avLst/>
        </a:prstGeom>
      </dgm:spPr>
    </dgm:pt>
    <dgm:pt modelId="{9934394F-0BEC-AC43-9C4E-39AF84EE33BB}" type="pres">
      <dgm:prSet presAssocID="{C4D77AD8-A130-0545-B085-3B7EE3C95014}" presName="rootConnector" presStyleLbl="node2" presStyleIdx="1" presStyleCnt="6"/>
      <dgm:spPr/>
    </dgm:pt>
    <dgm:pt modelId="{E622D85E-BAA7-044C-B0E8-CF9EA9ADBB8B}" type="pres">
      <dgm:prSet presAssocID="{C4D77AD8-A130-0545-B085-3B7EE3C95014}" presName="hierChild4" presStyleCnt="0"/>
      <dgm:spPr/>
    </dgm:pt>
    <dgm:pt modelId="{97B378AB-53B0-9247-8832-CB1FA46EE6CC}" type="pres">
      <dgm:prSet presAssocID="{8ED199E6-E8B2-874A-B984-C88B168696EA}" presName="Name37" presStyleLbl="parChTrans1D3" presStyleIdx="4" presStyleCnt="20"/>
      <dgm:spPr/>
    </dgm:pt>
    <dgm:pt modelId="{584811CE-9249-D144-B900-91E75F76EF87}" type="pres">
      <dgm:prSet presAssocID="{EEB9D7FD-28C8-154A-951E-E622E85E2697}" presName="hierRoot2" presStyleCnt="0">
        <dgm:presLayoutVars>
          <dgm:hierBranch val="init"/>
        </dgm:presLayoutVars>
      </dgm:prSet>
      <dgm:spPr/>
    </dgm:pt>
    <dgm:pt modelId="{7296F2DC-DCF5-BD4B-80F1-FFC3CB3A971E}" type="pres">
      <dgm:prSet presAssocID="{EEB9D7FD-28C8-154A-951E-E622E85E2697}" presName="rootComposite" presStyleCnt="0"/>
      <dgm:spPr/>
    </dgm:pt>
    <dgm:pt modelId="{36A78186-21BD-EF42-8435-5D79D6B1B0EE}" type="pres">
      <dgm:prSet presAssocID="{EEB9D7FD-28C8-154A-951E-E622E85E2697}" presName="rootText" presStyleLbl="node3" presStyleIdx="4" presStyleCnt="20" custScaleX="114314" custScaleY="146837">
        <dgm:presLayoutVars>
          <dgm:chPref val="3"/>
        </dgm:presLayoutVars>
      </dgm:prSet>
      <dgm:spPr>
        <a:prstGeom prst="roundRect">
          <a:avLst/>
        </a:prstGeom>
      </dgm:spPr>
    </dgm:pt>
    <dgm:pt modelId="{2C9972D9-D275-E245-9185-16FAA8F04583}" type="pres">
      <dgm:prSet presAssocID="{EEB9D7FD-28C8-154A-951E-E622E85E2697}" presName="rootConnector" presStyleLbl="node3" presStyleIdx="4" presStyleCnt="20"/>
      <dgm:spPr/>
    </dgm:pt>
    <dgm:pt modelId="{39E8D649-67C9-BE42-AE7D-5831E0E7EBDA}" type="pres">
      <dgm:prSet presAssocID="{EEB9D7FD-28C8-154A-951E-E622E85E2697}" presName="hierChild4" presStyleCnt="0"/>
      <dgm:spPr/>
    </dgm:pt>
    <dgm:pt modelId="{B49B0077-A106-A641-A5EF-BF1AEDF87CCF}" type="pres">
      <dgm:prSet presAssocID="{EEB9D7FD-28C8-154A-951E-E622E85E2697}" presName="hierChild5" presStyleCnt="0"/>
      <dgm:spPr/>
    </dgm:pt>
    <dgm:pt modelId="{1A7D1AF0-0B25-0346-ABA6-A1D012A49125}" type="pres">
      <dgm:prSet presAssocID="{735581FC-5E4A-0B4D-8073-51CE41E03013}" presName="Name37" presStyleLbl="parChTrans1D3" presStyleIdx="5" presStyleCnt="20"/>
      <dgm:spPr/>
    </dgm:pt>
    <dgm:pt modelId="{0F708CC2-9A54-5043-B378-6DDC3F454F52}" type="pres">
      <dgm:prSet presAssocID="{99DAA9E3-2D52-584A-A8DB-4BD7B4F8FECF}" presName="hierRoot2" presStyleCnt="0">
        <dgm:presLayoutVars>
          <dgm:hierBranch val="init"/>
        </dgm:presLayoutVars>
      </dgm:prSet>
      <dgm:spPr/>
    </dgm:pt>
    <dgm:pt modelId="{D28F0775-E036-3F46-BB71-73180099EDC5}" type="pres">
      <dgm:prSet presAssocID="{99DAA9E3-2D52-584A-A8DB-4BD7B4F8FECF}" presName="rootComposite" presStyleCnt="0"/>
      <dgm:spPr/>
    </dgm:pt>
    <dgm:pt modelId="{2AB428A9-FC48-0741-9C42-0904E97E27CD}" type="pres">
      <dgm:prSet presAssocID="{99DAA9E3-2D52-584A-A8DB-4BD7B4F8FECF}" presName="rootText" presStyleLbl="node3" presStyleIdx="5" presStyleCnt="20" custScaleX="114314" custScaleY="110001">
        <dgm:presLayoutVars>
          <dgm:chPref val="3"/>
        </dgm:presLayoutVars>
      </dgm:prSet>
      <dgm:spPr>
        <a:prstGeom prst="roundRect">
          <a:avLst/>
        </a:prstGeom>
      </dgm:spPr>
    </dgm:pt>
    <dgm:pt modelId="{E17BFC3B-4E7B-884D-AEE5-17D403DC4B71}" type="pres">
      <dgm:prSet presAssocID="{99DAA9E3-2D52-584A-A8DB-4BD7B4F8FECF}" presName="rootConnector" presStyleLbl="node3" presStyleIdx="5" presStyleCnt="20"/>
      <dgm:spPr/>
    </dgm:pt>
    <dgm:pt modelId="{A0A0F897-FBC5-E245-8EB9-E4E351697DC4}" type="pres">
      <dgm:prSet presAssocID="{99DAA9E3-2D52-584A-A8DB-4BD7B4F8FECF}" presName="hierChild4" presStyleCnt="0"/>
      <dgm:spPr/>
    </dgm:pt>
    <dgm:pt modelId="{0230BD4B-118F-4240-A35D-F21DCAAC7F7D}" type="pres">
      <dgm:prSet presAssocID="{99DAA9E3-2D52-584A-A8DB-4BD7B4F8FECF}" presName="hierChild5" presStyleCnt="0"/>
      <dgm:spPr/>
    </dgm:pt>
    <dgm:pt modelId="{01092C98-C538-5941-B969-09DF528EBD84}" type="pres">
      <dgm:prSet presAssocID="{9E07A699-7C9B-F447-B0A9-DB84C4B5644F}" presName="Name37" presStyleLbl="parChTrans1D3" presStyleIdx="6" presStyleCnt="20"/>
      <dgm:spPr/>
    </dgm:pt>
    <dgm:pt modelId="{4CAC9CC5-8580-504F-9214-C79D0E20DF90}" type="pres">
      <dgm:prSet presAssocID="{B058476A-3475-8E4A-A533-8FF1041E0BAA}" presName="hierRoot2" presStyleCnt="0">
        <dgm:presLayoutVars>
          <dgm:hierBranch val="init"/>
        </dgm:presLayoutVars>
      </dgm:prSet>
      <dgm:spPr/>
    </dgm:pt>
    <dgm:pt modelId="{D08C9EFF-6497-7541-8C1C-45B2F4D219FC}" type="pres">
      <dgm:prSet presAssocID="{B058476A-3475-8E4A-A533-8FF1041E0BAA}" presName="rootComposite" presStyleCnt="0"/>
      <dgm:spPr/>
    </dgm:pt>
    <dgm:pt modelId="{3CBCECA8-B45B-C945-BF11-292AAFCA14D8}" type="pres">
      <dgm:prSet presAssocID="{B058476A-3475-8E4A-A533-8FF1041E0BAA}" presName="rootText" presStyleLbl="node3" presStyleIdx="6" presStyleCnt="20" custScaleX="114314">
        <dgm:presLayoutVars>
          <dgm:chPref val="3"/>
        </dgm:presLayoutVars>
      </dgm:prSet>
      <dgm:spPr>
        <a:prstGeom prst="roundRect">
          <a:avLst/>
        </a:prstGeom>
      </dgm:spPr>
    </dgm:pt>
    <dgm:pt modelId="{E3EFAB3A-553A-E345-AACE-293790C422F7}" type="pres">
      <dgm:prSet presAssocID="{B058476A-3475-8E4A-A533-8FF1041E0BAA}" presName="rootConnector" presStyleLbl="node3" presStyleIdx="6" presStyleCnt="20"/>
      <dgm:spPr/>
    </dgm:pt>
    <dgm:pt modelId="{14BA1167-46E4-4344-8649-6C5913231270}" type="pres">
      <dgm:prSet presAssocID="{B058476A-3475-8E4A-A533-8FF1041E0BAA}" presName="hierChild4" presStyleCnt="0"/>
      <dgm:spPr/>
    </dgm:pt>
    <dgm:pt modelId="{AAD72969-4029-224C-AD2E-BAB79210849E}" type="pres">
      <dgm:prSet presAssocID="{B058476A-3475-8E4A-A533-8FF1041E0BAA}" presName="hierChild5" presStyleCnt="0"/>
      <dgm:spPr/>
    </dgm:pt>
    <dgm:pt modelId="{63B9276D-A03A-904C-B5E3-AB0E8AEBF635}" type="pres">
      <dgm:prSet presAssocID="{C4D77AD8-A130-0545-B085-3B7EE3C95014}" presName="hierChild5" presStyleCnt="0"/>
      <dgm:spPr/>
    </dgm:pt>
    <dgm:pt modelId="{A4397167-8927-324E-83E9-553F38D29211}" type="pres">
      <dgm:prSet presAssocID="{AF94E61D-AB70-5A4A-9B35-235454D0E620}" presName="Name37" presStyleLbl="parChTrans1D2" presStyleIdx="2" presStyleCnt="6"/>
      <dgm:spPr/>
    </dgm:pt>
    <dgm:pt modelId="{5029CF88-11F8-2E42-A926-7D761D1B6568}" type="pres">
      <dgm:prSet presAssocID="{333CA5DC-4A4E-6847-826A-77DB89BE9282}" presName="hierRoot2" presStyleCnt="0">
        <dgm:presLayoutVars>
          <dgm:hierBranch val="init"/>
        </dgm:presLayoutVars>
      </dgm:prSet>
      <dgm:spPr/>
    </dgm:pt>
    <dgm:pt modelId="{A65EA44F-FCD5-EF4D-8CE9-040EA90EB654}" type="pres">
      <dgm:prSet presAssocID="{333CA5DC-4A4E-6847-826A-77DB89BE9282}" presName="rootComposite" presStyleCnt="0"/>
      <dgm:spPr/>
    </dgm:pt>
    <dgm:pt modelId="{B4D78BD7-7D8A-FE43-A913-2972F64C4A6D}" type="pres">
      <dgm:prSet presAssocID="{333CA5DC-4A4E-6847-826A-77DB89BE9282}" presName="rootText" presStyleLbl="node2" presStyleIdx="2" presStyleCnt="6" custScaleX="124628">
        <dgm:presLayoutVars>
          <dgm:chPref val="3"/>
        </dgm:presLayoutVars>
      </dgm:prSet>
      <dgm:spPr>
        <a:prstGeom prst="roundRect">
          <a:avLst/>
        </a:prstGeom>
      </dgm:spPr>
    </dgm:pt>
    <dgm:pt modelId="{8C1E3A53-A5F0-484A-AFFE-A172FF71E08C}" type="pres">
      <dgm:prSet presAssocID="{333CA5DC-4A4E-6847-826A-77DB89BE9282}" presName="rootConnector" presStyleLbl="node2" presStyleIdx="2" presStyleCnt="6"/>
      <dgm:spPr/>
    </dgm:pt>
    <dgm:pt modelId="{4D7FC49D-86E3-9D45-975B-73492BF48FBB}" type="pres">
      <dgm:prSet presAssocID="{333CA5DC-4A4E-6847-826A-77DB89BE9282}" presName="hierChild4" presStyleCnt="0"/>
      <dgm:spPr/>
    </dgm:pt>
    <dgm:pt modelId="{321E9CE6-50BF-3B45-9FFC-F9B459662845}" type="pres">
      <dgm:prSet presAssocID="{3164804C-C000-FD47-834A-920CA4090310}" presName="Name37" presStyleLbl="parChTrans1D3" presStyleIdx="7" presStyleCnt="20"/>
      <dgm:spPr/>
    </dgm:pt>
    <dgm:pt modelId="{02089F9A-5D61-3A47-8026-229DAF52712C}" type="pres">
      <dgm:prSet presAssocID="{83672D85-1DDE-F346-8C4F-B504ED9AEA7E}" presName="hierRoot2" presStyleCnt="0">
        <dgm:presLayoutVars>
          <dgm:hierBranch val="init"/>
        </dgm:presLayoutVars>
      </dgm:prSet>
      <dgm:spPr/>
    </dgm:pt>
    <dgm:pt modelId="{C14958E6-E122-EF45-9F0B-60EA56A8040A}" type="pres">
      <dgm:prSet presAssocID="{83672D85-1DDE-F346-8C4F-B504ED9AEA7E}" presName="rootComposite" presStyleCnt="0"/>
      <dgm:spPr/>
    </dgm:pt>
    <dgm:pt modelId="{F7B58E89-0C5B-4D4E-B10A-CCA6536FD4EE}" type="pres">
      <dgm:prSet presAssocID="{83672D85-1DDE-F346-8C4F-B504ED9AEA7E}" presName="rootText" presStyleLbl="node3" presStyleIdx="7" presStyleCnt="20" custScaleX="114314">
        <dgm:presLayoutVars>
          <dgm:chPref val="3"/>
        </dgm:presLayoutVars>
      </dgm:prSet>
      <dgm:spPr>
        <a:prstGeom prst="roundRect">
          <a:avLst/>
        </a:prstGeom>
      </dgm:spPr>
    </dgm:pt>
    <dgm:pt modelId="{0CD54FA3-D49A-6046-AC84-3D42A715D437}" type="pres">
      <dgm:prSet presAssocID="{83672D85-1DDE-F346-8C4F-B504ED9AEA7E}" presName="rootConnector" presStyleLbl="node3" presStyleIdx="7" presStyleCnt="20"/>
      <dgm:spPr/>
    </dgm:pt>
    <dgm:pt modelId="{B9A9FD17-2F30-864E-87C7-A0E544B30062}" type="pres">
      <dgm:prSet presAssocID="{83672D85-1DDE-F346-8C4F-B504ED9AEA7E}" presName="hierChild4" presStyleCnt="0"/>
      <dgm:spPr/>
    </dgm:pt>
    <dgm:pt modelId="{EA1020EA-23B7-FA40-973A-5C9FF350388D}" type="pres">
      <dgm:prSet presAssocID="{83672D85-1DDE-F346-8C4F-B504ED9AEA7E}" presName="hierChild5" presStyleCnt="0"/>
      <dgm:spPr/>
    </dgm:pt>
    <dgm:pt modelId="{6E594108-44F4-BF4B-9E8D-CB59E4DAFD82}" type="pres">
      <dgm:prSet presAssocID="{05ECB248-0F71-FC4E-9009-2E4188539368}" presName="Name37" presStyleLbl="parChTrans1D3" presStyleIdx="8" presStyleCnt="20"/>
      <dgm:spPr/>
    </dgm:pt>
    <dgm:pt modelId="{C749564F-24C2-E442-B41A-6E413A851025}" type="pres">
      <dgm:prSet presAssocID="{E66F885F-231A-C048-AC19-BDC3E15D42EB}" presName="hierRoot2" presStyleCnt="0">
        <dgm:presLayoutVars>
          <dgm:hierBranch val="init"/>
        </dgm:presLayoutVars>
      </dgm:prSet>
      <dgm:spPr/>
    </dgm:pt>
    <dgm:pt modelId="{4889FE69-C929-1A48-B75E-B8745C89C4AA}" type="pres">
      <dgm:prSet presAssocID="{E66F885F-231A-C048-AC19-BDC3E15D42EB}" presName="rootComposite" presStyleCnt="0"/>
      <dgm:spPr/>
    </dgm:pt>
    <dgm:pt modelId="{8D30806A-7670-8E40-9650-221FAE93BE90}" type="pres">
      <dgm:prSet presAssocID="{E66F885F-231A-C048-AC19-BDC3E15D42EB}" presName="rootText" presStyleLbl="node3" presStyleIdx="8" presStyleCnt="20" custScaleX="114314">
        <dgm:presLayoutVars>
          <dgm:chPref val="3"/>
        </dgm:presLayoutVars>
      </dgm:prSet>
      <dgm:spPr>
        <a:prstGeom prst="roundRect">
          <a:avLst/>
        </a:prstGeom>
      </dgm:spPr>
    </dgm:pt>
    <dgm:pt modelId="{3B997A62-F0F4-384D-AEE3-8B86528A4225}" type="pres">
      <dgm:prSet presAssocID="{E66F885F-231A-C048-AC19-BDC3E15D42EB}" presName="rootConnector" presStyleLbl="node3" presStyleIdx="8" presStyleCnt="20"/>
      <dgm:spPr/>
    </dgm:pt>
    <dgm:pt modelId="{0D5193BB-0E9F-4D42-9420-482BD59EA340}" type="pres">
      <dgm:prSet presAssocID="{E66F885F-231A-C048-AC19-BDC3E15D42EB}" presName="hierChild4" presStyleCnt="0"/>
      <dgm:spPr/>
    </dgm:pt>
    <dgm:pt modelId="{8F50EFE2-8436-4C4C-A33D-71906CB70241}" type="pres">
      <dgm:prSet presAssocID="{E66F885F-231A-C048-AC19-BDC3E15D42EB}" presName="hierChild5" presStyleCnt="0"/>
      <dgm:spPr/>
    </dgm:pt>
    <dgm:pt modelId="{1044698B-F736-6D44-9039-2248C1ACF9BF}" type="pres">
      <dgm:prSet presAssocID="{333CA5DC-4A4E-6847-826A-77DB89BE9282}" presName="hierChild5" presStyleCnt="0"/>
      <dgm:spPr/>
    </dgm:pt>
    <dgm:pt modelId="{3604C806-F723-524D-A2AC-AB54553D73C2}" type="pres">
      <dgm:prSet presAssocID="{0507BEBE-5E95-1C4C-8795-5522AB5CA66D}" presName="Name37" presStyleLbl="parChTrans1D2" presStyleIdx="3" presStyleCnt="6"/>
      <dgm:spPr/>
    </dgm:pt>
    <dgm:pt modelId="{9DCC5A2A-DB41-9946-AC7B-8C4CEBE11A32}" type="pres">
      <dgm:prSet presAssocID="{577F0963-31FC-2345-8AC0-499A553AF4B5}" presName="hierRoot2" presStyleCnt="0">
        <dgm:presLayoutVars>
          <dgm:hierBranch val="init"/>
        </dgm:presLayoutVars>
      </dgm:prSet>
      <dgm:spPr/>
    </dgm:pt>
    <dgm:pt modelId="{DC2EA326-33E8-064B-9360-1F16F11466A3}" type="pres">
      <dgm:prSet presAssocID="{577F0963-31FC-2345-8AC0-499A553AF4B5}" presName="rootComposite" presStyleCnt="0"/>
      <dgm:spPr/>
    </dgm:pt>
    <dgm:pt modelId="{1312EA39-EBC1-E346-B46D-32528CDEE232}" type="pres">
      <dgm:prSet presAssocID="{577F0963-31FC-2345-8AC0-499A553AF4B5}" presName="rootText" presStyleLbl="node2" presStyleIdx="3" presStyleCnt="6" custScaleX="124628">
        <dgm:presLayoutVars>
          <dgm:chPref val="3"/>
        </dgm:presLayoutVars>
      </dgm:prSet>
      <dgm:spPr>
        <a:prstGeom prst="roundRect">
          <a:avLst/>
        </a:prstGeom>
      </dgm:spPr>
    </dgm:pt>
    <dgm:pt modelId="{7FA022AD-7D23-2247-9347-A4221938FEF3}" type="pres">
      <dgm:prSet presAssocID="{577F0963-31FC-2345-8AC0-499A553AF4B5}" presName="rootConnector" presStyleLbl="node2" presStyleIdx="3" presStyleCnt="6"/>
      <dgm:spPr/>
    </dgm:pt>
    <dgm:pt modelId="{71DDB46F-A36C-0043-9145-975AA78DCC95}" type="pres">
      <dgm:prSet presAssocID="{577F0963-31FC-2345-8AC0-499A553AF4B5}" presName="hierChild4" presStyleCnt="0"/>
      <dgm:spPr/>
    </dgm:pt>
    <dgm:pt modelId="{9ADCFD76-4B47-D84D-A957-DDA9B36F119A}" type="pres">
      <dgm:prSet presAssocID="{E757D2C4-8EB2-B045-AC31-B9257EE48646}" presName="Name37" presStyleLbl="parChTrans1D3" presStyleIdx="9" presStyleCnt="20"/>
      <dgm:spPr/>
    </dgm:pt>
    <dgm:pt modelId="{7911EC38-69EC-0945-8D2A-01D98C8117E2}" type="pres">
      <dgm:prSet presAssocID="{4E74F4CB-0720-EE47-A047-DE069AF9DEFB}" presName="hierRoot2" presStyleCnt="0">
        <dgm:presLayoutVars>
          <dgm:hierBranch val="init"/>
        </dgm:presLayoutVars>
      </dgm:prSet>
      <dgm:spPr/>
    </dgm:pt>
    <dgm:pt modelId="{ACF979F4-C894-C545-8132-2E402C10EA3E}" type="pres">
      <dgm:prSet presAssocID="{4E74F4CB-0720-EE47-A047-DE069AF9DEFB}" presName="rootComposite" presStyleCnt="0"/>
      <dgm:spPr/>
    </dgm:pt>
    <dgm:pt modelId="{54E0F557-9053-CA48-A0EC-1606CFC1344B}" type="pres">
      <dgm:prSet presAssocID="{4E74F4CB-0720-EE47-A047-DE069AF9DEFB}" presName="rootText" presStyleLbl="node3" presStyleIdx="9" presStyleCnt="20" custScaleX="114314">
        <dgm:presLayoutVars>
          <dgm:chPref val="3"/>
        </dgm:presLayoutVars>
      </dgm:prSet>
      <dgm:spPr>
        <a:prstGeom prst="roundRect">
          <a:avLst/>
        </a:prstGeom>
      </dgm:spPr>
    </dgm:pt>
    <dgm:pt modelId="{067B25A4-B1CB-634E-A7E3-0BCF72FD0A9C}" type="pres">
      <dgm:prSet presAssocID="{4E74F4CB-0720-EE47-A047-DE069AF9DEFB}" presName="rootConnector" presStyleLbl="node3" presStyleIdx="9" presStyleCnt="20"/>
      <dgm:spPr/>
    </dgm:pt>
    <dgm:pt modelId="{6BD23DC6-CEC5-F04C-BD7F-7BCBEA004D05}" type="pres">
      <dgm:prSet presAssocID="{4E74F4CB-0720-EE47-A047-DE069AF9DEFB}" presName="hierChild4" presStyleCnt="0"/>
      <dgm:spPr/>
    </dgm:pt>
    <dgm:pt modelId="{3A0969EF-5B59-B04D-87FD-36549A373C3A}" type="pres">
      <dgm:prSet presAssocID="{4E74F4CB-0720-EE47-A047-DE069AF9DEFB}" presName="hierChild5" presStyleCnt="0"/>
      <dgm:spPr/>
    </dgm:pt>
    <dgm:pt modelId="{61312643-F875-9544-8D68-D12E872779AD}" type="pres">
      <dgm:prSet presAssocID="{6E8ED33D-8A87-8549-942B-00DDC9658E8F}" presName="Name37" presStyleLbl="parChTrans1D3" presStyleIdx="10" presStyleCnt="20"/>
      <dgm:spPr/>
    </dgm:pt>
    <dgm:pt modelId="{DD0C8457-E0AC-0A45-AC7E-E0F1CDB7AD32}" type="pres">
      <dgm:prSet presAssocID="{1E0A75A1-8F23-FB49-A27C-B29BF8966F56}" presName="hierRoot2" presStyleCnt="0">
        <dgm:presLayoutVars>
          <dgm:hierBranch val="init"/>
        </dgm:presLayoutVars>
      </dgm:prSet>
      <dgm:spPr/>
    </dgm:pt>
    <dgm:pt modelId="{30F0D92E-4222-3343-88E6-A12A57784968}" type="pres">
      <dgm:prSet presAssocID="{1E0A75A1-8F23-FB49-A27C-B29BF8966F56}" presName="rootComposite" presStyleCnt="0"/>
      <dgm:spPr/>
    </dgm:pt>
    <dgm:pt modelId="{AF6C94CD-2A36-2240-A678-5CEF507BEBC4}" type="pres">
      <dgm:prSet presAssocID="{1E0A75A1-8F23-FB49-A27C-B29BF8966F56}" presName="rootText" presStyleLbl="node3" presStyleIdx="10" presStyleCnt="20" custScaleX="114314">
        <dgm:presLayoutVars>
          <dgm:chPref val="3"/>
        </dgm:presLayoutVars>
      </dgm:prSet>
      <dgm:spPr>
        <a:prstGeom prst="roundRect">
          <a:avLst/>
        </a:prstGeom>
      </dgm:spPr>
    </dgm:pt>
    <dgm:pt modelId="{92674048-16CE-9A40-B532-96D5E4A15625}" type="pres">
      <dgm:prSet presAssocID="{1E0A75A1-8F23-FB49-A27C-B29BF8966F56}" presName="rootConnector" presStyleLbl="node3" presStyleIdx="10" presStyleCnt="20"/>
      <dgm:spPr/>
    </dgm:pt>
    <dgm:pt modelId="{1C77FA6F-0CF3-7546-9A6E-E9A643F617E3}" type="pres">
      <dgm:prSet presAssocID="{1E0A75A1-8F23-FB49-A27C-B29BF8966F56}" presName="hierChild4" presStyleCnt="0"/>
      <dgm:spPr/>
    </dgm:pt>
    <dgm:pt modelId="{FD844734-723F-A346-AF9B-8C865A6FFDC2}" type="pres">
      <dgm:prSet presAssocID="{1E0A75A1-8F23-FB49-A27C-B29BF8966F56}" presName="hierChild5" presStyleCnt="0"/>
      <dgm:spPr/>
    </dgm:pt>
    <dgm:pt modelId="{84FC3688-0CBB-1C40-856C-67A77EC04AB5}" type="pres">
      <dgm:prSet presAssocID="{472A43E0-AE7D-244D-A1A2-0CB4B03CB1D2}" presName="Name37" presStyleLbl="parChTrans1D3" presStyleIdx="11" presStyleCnt="20"/>
      <dgm:spPr/>
    </dgm:pt>
    <dgm:pt modelId="{8751AB0D-2C51-F74A-9583-412AFD64321B}" type="pres">
      <dgm:prSet presAssocID="{A98CB1A5-301A-AA4A-9415-23776D1063BF}" presName="hierRoot2" presStyleCnt="0">
        <dgm:presLayoutVars>
          <dgm:hierBranch val="init"/>
        </dgm:presLayoutVars>
      </dgm:prSet>
      <dgm:spPr/>
    </dgm:pt>
    <dgm:pt modelId="{72DE9C8F-9EF6-8946-BD70-1D86D78914A4}" type="pres">
      <dgm:prSet presAssocID="{A98CB1A5-301A-AA4A-9415-23776D1063BF}" presName="rootComposite" presStyleCnt="0"/>
      <dgm:spPr/>
    </dgm:pt>
    <dgm:pt modelId="{25BB3E6E-4455-034B-A18A-E62E43FDBF4D}" type="pres">
      <dgm:prSet presAssocID="{A98CB1A5-301A-AA4A-9415-23776D1063BF}" presName="rootText" presStyleLbl="node3" presStyleIdx="11" presStyleCnt="20" custScaleX="114314">
        <dgm:presLayoutVars>
          <dgm:chPref val="3"/>
        </dgm:presLayoutVars>
      </dgm:prSet>
      <dgm:spPr>
        <a:prstGeom prst="roundRect">
          <a:avLst/>
        </a:prstGeom>
      </dgm:spPr>
    </dgm:pt>
    <dgm:pt modelId="{94BDBAA2-42EC-3940-8499-BCF5BCF0B240}" type="pres">
      <dgm:prSet presAssocID="{A98CB1A5-301A-AA4A-9415-23776D1063BF}" presName="rootConnector" presStyleLbl="node3" presStyleIdx="11" presStyleCnt="20"/>
      <dgm:spPr/>
    </dgm:pt>
    <dgm:pt modelId="{10365E0D-5392-EE45-B3AB-1BB1FC757043}" type="pres">
      <dgm:prSet presAssocID="{A98CB1A5-301A-AA4A-9415-23776D1063BF}" presName="hierChild4" presStyleCnt="0"/>
      <dgm:spPr/>
    </dgm:pt>
    <dgm:pt modelId="{9E2ADF71-3C02-CC46-BA24-00037572D88C}" type="pres">
      <dgm:prSet presAssocID="{A98CB1A5-301A-AA4A-9415-23776D1063BF}" presName="hierChild5" presStyleCnt="0"/>
      <dgm:spPr/>
    </dgm:pt>
    <dgm:pt modelId="{214FD2C4-CABB-254D-93F7-90203A54A6DF}" type="pres">
      <dgm:prSet presAssocID="{577F0963-31FC-2345-8AC0-499A553AF4B5}" presName="hierChild5" presStyleCnt="0"/>
      <dgm:spPr/>
    </dgm:pt>
    <dgm:pt modelId="{6E5FB869-F442-C243-AD00-61E2F74195E3}" type="pres">
      <dgm:prSet presAssocID="{AB3DF81D-350E-8949-A091-FB373C97B32D}" presName="Name37" presStyleLbl="parChTrans1D2" presStyleIdx="4" presStyleCnt="6"/>
      <dgm:spPr/>
    </dgm:pt>
    <dgm:pt modelId="{37799CB5-A765-954A-B26A-53CF2D3FE289}" type="pres">
      <dgm:prSet presAssocID="{85B47813-B4E0-8143-922C-770423B5B8F1}" presName="hierRoot2" presStyleCnt="0">
        <dgm:presLayoutVars>
          <dgm:hierBranch val="init"/>
        </dgm:presLayoutVars>
      </dgm:prSet>
      <dgm:spPr/>
    </dgm:pt>
    <dgm:pt modelId="{999FA66D-C51D-4143-B2EB-48736B7DB9AF}" type="pres">
      <dgm:prSet presAssocID="{85B47813-B4E0-8143-922C-770423B5B8F1}" presName="rootComposite" presStyleCnt="0"/>
      <dgm:spPr/>
    </dgm:pt>
    <dgm:pt modelId="{2DDC2A29-0237-734B-B9A8-5695A1A93E01}" type="pres">
      <dgm:prSet presAssocID="{85B47813-B4E0-8143-922C-770423B5B8F1}" presName="rootText" presStyleLbl="node2" presStyleIdx="4" presStyleCnt="6" custScaleX="124628">
        <dgm:presLayoutVars>
          <dgm:chPref val="3"/>
        </dgm:presLayoutVars>
      </dgm:prSet>
      <dgm:spPr>
        <a:prstGeom prst="roundRect">
          <a:avLst/>
        </a:prstGeom>
      </dgm:spPr>
    </dgm:pt>
    <dgm:pt modelId="{22AA875D-33AC-B34A-BC2D-7EC59CFC5B9C}" type="pres">
      <dgm:prSet presAssocID="{85B47813-B4E0-8143-922C-770423B5B8F1}" presName="rootConnector" presStyleLbl="node2" presStyleIdx="4" presStyleCnt="6"/>
      <dgm:spPr/>
    </dgm:pt>
    <dgm:pt modelId="{55EDB01C-B820-F444-86D9-398B82A6758E}" type="pres">
      <dgm:prSet presAssocID="{85B47813-B4E0-8143-922C-770423B5B8F1}" presName="hierChild4" presStyleCnt="0"/>
      <dgm:spPr/>
    </dgm:pt>
    <dgm:pt modelId="{2073165D-02D9-6440-8692-A0D106E8A030}" type="pres">
      <dgm:prSet presAssocID="{13413550-5038-1A43-A067-413C2AD857C7}" presName="Name37" presStyleLbl="parChTrans1D3" presStyleIdx="12" presStyleCnt="20"/>
      <dgm:spPr/>
    </dgm:pt>
    <dgm:pt modelId="{5F908CE2-29E9-BD43-9577-BC86D924E2B0}" type="pres">
      <dgm:prSet presAssocID="{48D5592E-7AC8-C942-A59B-AAF8EFFDBF87}" presName="hierRoot2" presStyleCnt="0">
        <dgm:presLayoutVars>
          <dgm:hierBranch val="init"/>
        </dgm:presLayoutVars>
      </dgm:prSet>
      <dgm:spPr/>
    </dgm:pt>
    <dgm:pt modelId="{03C29838-E85D-0F47-B48A-9906603600A7}" type="pres">
      <dgm:prSet presAssocID="{48D5592E-7AC8-C942-A59B-AAF8EFFDBF87}" presName="rootComposite" presStyleCnt="0"/>
      <dgm:spPr/>
    </dgm:pt>
    <dgm:pt modelId="{E4A9D74A-299E-F64C-9403-65D73878B695}" type="pres">
      <dgm:prSet presAssocID="{48D5592E-7AC8-C942-A59B-AAF8EFFDBF87}" presName="rootText" presStyleLbl="node3" presStyleIdx="12" presStyleCnt="20" custScaleX="114314">
        <dgm:presLayoutVars>
          <dgm:chPref val="3"/>
        </dgm:presLayoutVars>
      </dgm:prSet>
      <dgm:spPr>
        <a:prstGeom prst="roundRect">
          <a:avLst/>
        </a:prstGeom>
      </dgm:spPr>
    </dgm:pt>
    <dgm:pt modelId="{2213E6BE-DBCC-F54C-8A0E-452CCB009E5D}" type="pres">
      <dgm:prSet presAssocID="{48D5592E-7AC8-C942-A59B-AAF8EFFDBF87}" presName="rootConnector" presStyleLbl="node3" presStyleIdx="12" presStyleCnt="20"/>
      <dgm:spPr/>
    </dgm:pt>
    <dgm:pt modelId="{16025682-E1EB-E840-A703-17F6917FB883}" type="pres">
      <dgm:prSet presAssocID="{48D5592E-7AC8-C942-A59B-AAF8EFFDBF87}" presName="hierChild4" presStyleCnt="0"/>
      <dgm:spPr/>
    </dgm:pt>
    <dgm:pt modelId="{28DE900E-0FB4-1042-9380-FBFA5586B546}" type="pres">
      <dgm:prSet presAssocID="{48D5592E-7AC8-C942-A59B-AAF8EFFDBF87}" presName="hierChild5" presStyleCnt="0"/>
      <dgm:spPr/>
    </dgm:pt>
    <dgm:pt modelId="{E75766AB-851A-F742-9C5D-0CC786C19D85}" type="pres">
      <dgm:prSet presAssocID="{35EC3856-BDDB-FA46-A8DC-6FD67D1DBFCB}" presName="Name37" presStyleLbl="parChTrans1D3" presStyleIdx="13" presStyleCnt="20"/>
      <dgm:spPr/>
    </dgm:pt>
    <dgm:pt modelId="{C34B418D-70D3-A742-9CD2-66346D0107F7}" type="pres">
      <dgm:prSet presAssocID="{B065B7B3-E0E9-484B-9E1B-91295F57E167}" presName="hierRoot2" presStyleCnt="0">
        <dgm:presLayoutVars>
          <dgm:hierBranch val="init"/>
        </dgm:presLayoutVars>
      </dgm:prSet>
      <dgm:spPr/>
    </dgm:pt>
    <dgm:pt modelId="{7758CE16-871E-224F-B791-D6E070C467CC}" type="pres">
      <dgm:prSet presAssocID="{B065B7B3-E0E9-484B-9E1B-91295F57E167}" presName="rootComposite" presStyleCnt="0"/>
      <dgm:spPr/>
    </dgm:pt>
    <dgm:pt modelId="{A1B04027-0181-C24A-B100-EBD4F003079D}" type="pres">
      <dgm:prSet presAssocID="{B065B7B3-E0E9-484B-9E1B-91295F57E167}" presName="rootText" presStyleLbl="node3" presStyleIdx="13" presStyleCnt="20" custScaleX="114314">
        <dgm:presLayoutVars>
          <dgm:chPref val="3"/>
        </dgm:presLayoutVars>
      </dgm:prSet>
      <dgm:spPr>
        <a:prstGeom prst="roundRect">
          <a:avLst/>
        </a:prstGeom>
      </dgm:spPr>
    </dgm:pt>
    <dgm:pt modelId="{BE20F9FF-844B-AB45-8737-A210E70A6247}" type="pres">
      <dgm:prSet presAssocID="{B065B7B3-E0E9-484B-9E1B-91295F57E167}" presName="rootConnector" presStyleLbl="node3" presStyleIdx="13" presStyleCnt="20"/>
      <dgm:spPr/>
    </dgm:pt>
    <dgm:pt modelId="{BFA3D11A-E08C-7C44-A0AD-EB3BAB982E19}" type="pres">
      <dgm:prSet presAssocID="{B065B7B3-E0E9-484B-9E1B-91295F57E167}" presName="hierChild4" presStyleCnt="0"/>
      <dgm:spPr/>
    </dgm:pt>
    <dgm:pt modelId="{90C800A8-4CBE-EF41-8789-5D1F33EFB7FA}" type="pres">
      <dgm:prSet presAssocID="{B065B7B3-E0E9-484B-9E1B-91295F57E167}" presName="hierChild5" presStyleCnt="0"/>
      <dgm:spPr/>
    </dgm:pt>
    <dgm:pt modelId="{8BF3441E-89C5-784A-BA61-2B83E9143296}" type="pres">
      <dgm:prSet presAssocID="{24D845EA-3E35-5B49-A988-4AC675D6DE26}" presName="Name37" presStyleLbl="parChTrans1D3" presStyleIdx="14" presStyleCnt="20"/>
      <dgm:spPr/>
    </dgm:pt>
    <dgm:pt modelId="{8691DCF8-B78C-474E-8ECA-0871F36C3DC1}" type="pres">
      <dgm:prSet presAssocID="{DA7A862C-EE8D-C84B-8F04-50B9EBF84874}" presName="hierRoot2" presStyleCnt="0">
        <dgm:presLayoutVars>
          <dgm:hierBranch val="init"/>
        </dgm:presLayoutVars>
      </dgm:prSet>
      <dgm:spPr/>
    </dgm:pt>
    <dgm:pt modelId="{DF51DDDB-1021-2F46-ACB2-ADBA227B6133}" type="pres">
      <dgm:prSet presAssocID="{DA7A862C-EE8D-C84B-8F04-50B9EBF84874}" presName="rootComposite" presStyleCnt="0"/>
      <dgm:spPr/>
    </dgm:pt>
    <dgm:pt modelId="{A29B912C-660E-0744-A367-75848C32D994}" type="pres">
      <dgm:prSet presAssocID="{DA7A862C-EE8D-C84B-8F04-50B9EBF84874}" presName="rootText" presStyleLbl="node3" presStyleIdx="14" presStyleCnt="20" custScaleX="114314">
        <dgm:presLayoutVars>
          <dgm:chPref val="3"/>
        </dgm:presLayoutVars>
      </dgm:prSet>
      <dgm:spPr>
        <a:prstGeom prst="roundRect">
          <a:avLst/>
        </a:prstGeom>
      </dgm:spPr>
    </dgm:pt>
    <dgm:pt modelId="{E9ACA595-56F8-DC43-99D2-46DD7A0486C4}" type="pres">
      <dgm:prSet presAssocID="{DA7A862C-EE8D-C84B-8F04-50B9EBF84874}" presName="rootConnector" presStyleLbl="node3" presStyleIdx="14" presStyleCnt="20"/>
      <dgm:spPr/>
    </dgm:pt>
    <dgm:pt modelId="{9430B88A-62CF-204D-8864-7E22DD0F39D1}" type="pres">
      <dgm:prSet presAssocID="{DA7A862C-EE8D-C84B-8F04-50B9EBF84874}" presName="hierChild4" presStyleCnt="0"/>
      <dgm:spPr/>
    </dgm:pt>
    <dgm:pt modelId="{95E85041-5D98-1141-9FFB-ED806BF811C4}" type="pres">
      <dgm:prSet presAssocID="{DA7A862C-EE8D-C84B-8F04-50B9EBF84874}" presName="hierChild5" presStyleCnt="0"/>
      <dgm:spPr/>
    </dgm:pt>
    <dgm:pt modelId="{0FDDC443-8D82-C74C-9D5F-5DE06884C377}" type="pres">
      <dgm:prSet presAssocID="{45807D62-965A-734B-B4EB-83AE9384DDC6}" presName="Name37" presStyleLbl="parChTrans1D3" presStyleIdx="15" presStyleCnt="20"/>
      <dgm:spPr/>
    </dgm:pt>
    <dgm:pt modelId="{5BA53F83-D8B7-1542-800B-75FE1AF781E9}" type="pres">
      <dgm:prSet presAssocID="{4B343688-50A6-4D47-B34B-5E6F81428970}" presName="hierRoot2" presStyleCnt="0">
        <dgm:presLayoutVars>
          <dgm:hierBranch val="init"/>
        </dgm:presLayoutVars>
      </dgm:prSet>
      <dgm:spPr/>
    </dgm:pt>
    <dgm:pt modelId="{22D8434A-CFA5-4643-9A9A-99E0CC3F9467}" type="pres">
      <dgm:prSet presAssocID="{4B343688-50A6-4D47-B34B-5E6F81428970}" presName="rootComposite" presStyleCnt="0"/>
      <dgm:spPr/>
    </dgm:pt>
    <dgm:pt modelId="{DD913B96-FAE8-3C4E-BA1F-C59C531DE29C}" type="pres">
      <dgm:prSet presAssocID="{4B343688-50A6-4D47-B34B-5E6F81428970}" presName="rootText" presStyleLbl="node3" presStyleIdx="15" presStyleCnt="20" custScaleX="114314">
        <dgm:presLayoutVars>
          <dgm:chPref val="3"/>
        </dgm:presLayoutVars>
      </dgm:prSet>
      <dgm:spPr>
        <a:prstGeom prst="roundRect">
          <a:avLst/>
        </a:prstGeom>
      </dgm:spPr>
    </dgm:pt>
    <dgm:pt modelId="{1975277D-CA2F-5049-A8D2-A879E703A335}" type="pres">
      <dgm:prSet presAssocID="{4B343688-50A6-4D47-B34B-5E6F81428970}" presName="rootConnector" presStyleLbl="node3" presStyleIdx="15" presStyleCnt="20"/>
      <dgm:spPr/>
    </dgm:pt>
    <dgm:pt modelId="{04D91239-9F11-F144-9733-224942D26408}" type="pres">
      <dgm:prSet presAssocID="{4B343688-50A6-4D47-B34B-5E6F81428970}" presName="hierChild4" presStyleCnt="0"/>
      <dgm:spPr/>
    </dgm:pt>
    <dgm:pt modelId="{920EA81B-AB01-194A-A578-A47B3CC61A32}" type="pres">
      <dgm:prSet presAssocID="{4B343688-50A6-4D47-B34B-5E6F81428970}" presName="hierChild5" presStyleCnt="0"/>
      <dgm:spPr/>
    </dgm:pt>
    <dgm:pt modelId="{1F38593E-7D14-1B49-AF8E-AC227F70BD1A}" type="pres">
      <dgm:prSet presAssocID="{85B47813-B4E0-8143-922C-770423B5B8F1}" presName="hierChild5" presStyleCnt="0"/>
      <dgm:spPr/>
    </dgm:pt>
    <dgm:pt modelId="{46D6DD71-7470-584B-A96C-2D648D24ECA5}" type="pres">
      <dgm:prSet presAssocID="{86E2DC4C-D556-BB4C-B034-F25764C18C16}" presName="Name37" presStyleLbl="parChTrans1D2" presStyleIdx="5" presStyleCnt="6"/>
      <dgm:spPr/>
    </dgm:pt>
    <dgm:pt modelId="{AFDA1189-85B7-9448-A6BF-427E02D95FC4}" type="pres">
      <dgm:prSet presAssocID="{9452BE98-23E3-974F-B5BD-5237E206068F}" presName="hierRoot2" presStyleCnt="0">
        <dgm:presLayoutVars>
          <dgm:hierBranch val="init"/>
        </dgm:presLayoutVars>
      </dgm:prSet>
      <dgm:spPr/>
    </dgm:pt>
    <dgm:pt modelId="{BEA540CA-55A3-2841-8ECE-2DB25D95A3B4}" type="pres">
      <dgm:prSet presAssocID="{9452BE98-23E3-974F-B5BD-5237E206068F}" presName="rootComposite" presStyleCnt="0"/>
      <dgm:spPr/>
    </dgm:pt>
    <dgm:pt modelId="{1AAD6C82-C84B-F74C-A5DC-6B98F1A5A8D8}" type="pres">
      <dgm:prSet presAssocID="{9452BE98-23E3-974F-B5BD-5237E206068F}" presName="rootText" presStyleLbl="node2" presStyleIdx="5" presStyleCnt="6" custScaleX="124628" custScaleY="117203">
        <dgm:presLayoutVars>
          <dgm:chPref val="3"/>
        </dgm:presLayoutVars>
      </dgm:prSet>
      <dgm:spPr>
        <a:prstGeom prst="roundRect">
          <a:avLst/>
        </a:prstGeom>
      </dgm:spPr>
    </dgm:pt>
    <dgm:pt modelId="{9C21B9B0-1485-2243-80BB-78AC0DC0AC3A}" type="pres">
      <dgm:prSet presAssocID="{9452BE98-23E3-974F-B5BD-5237E206068F}" presName="rootConnector" presStyleLbl="node2" presStyleIdx="5" presStyleCnt="6"/>
      <dgm:spPr/>
    </dgm:pt>
    <dgm:pt modelId="{D8EE5E22-2E83-924B-9F68-82CCD07B16D1}" type="pres">
      <dgm:prSet presAssocID="{9452BE98-23E3-974F-B5BD-5237E206068F}" presName="hierChild4" presStyleCnt="0"/>
      <dgm:spPr/>
    </dgm:pt>
    <dgm:pt modelId="{5F2E19A4-1270-1847-B270-C413098CA335}" type="pres">
      <dgm:prSet presAssocID="{D4F5E5D9-B7B7-3145-98B1-65A85968DB5A}" presName="Name37" presStyleLbl="parChTrans1D3" presStyleIdx="16" presStyleCnt="20"/>
      <dgm:spPr/>
    </dgm:pt>
    <dgm:pt modelId="{779C9244-D4D1-7B48-8AAF-E59CE0630E5D}" type="pres">
      <dgm:prSet presAssocID="{5B5FBF44-2F18-AD4F-B880-D6F92C3DF98F}" presName="hierRoot2" presStyleCnt="0">
        <dgm:presLayoutVars>
          <dgm:hierBranch val="init"/>
        </dgm:presLayoutVars>
      </dgm:prSet>
      <dgm:spPr/>
    </dgm:pt>
    <dgm:pt modelId="{C1C223DB-C36D-B743-A133-1EF308FE5823}" type="pres">
      <dgm:prSet presAssocID="{5B5FBF44-2F18-AD4F-B880-D6F92C3DF98F}" presName="rootComposite" presStyleCnt="0"/>
      <dgm:spPr/>
    </dgm:pt>
    <dgm:pt modelId="{283582DC-47AB-EA4F-AD82-E57B7AE8A502}" type="pres">
      <dgm:prSet presAssocID="{5B5FBF44-2F18-AD4F-B880-D6F92C3DF98F}" presName="rootText" presStyleLbl="node3" presStyleIdx="16" presStyleCnt="20" custScaleX="114314">
        <dgm:presLayoutVars>
          <dgm:chPref val="3"/>
        </dgm:presLayoutVars>
      </dgm:prSet>
      <dgm:spPr>
        <a:prstGeom prst="roundRect">
          <a:avLst/>
        </a:prstGeom>
      </dgm:spPr>
    </dgm:pt>
    <dgm:pt modelId="{70A55A77-E091-D84E-9971-A9AA510C2379}" type="pres">
      <dgm:prSet presAssocID="{5B5FBF44-2F18-AD4F-B880-D6F92C3DF98F}" presName="rootConnector" presStyleLbl="node3" presStyleIdx="16" presStyleCnt="20"/>
      <dgm:spPr/>
    </dgm:pt>
    <dgm:pt modelId="{0E64C03A-3041-4447-B7B7-9C6B0504D30A}" type="pres">
      <dgm:prSet presAssocID="{5B5FBF44-2F18-AD4F-B880-D6F92C3DF98F}" presName="hierChild4" presStyleCnt="0"/>
      <dgm:spPr/>
    </dgm:pt>
    <dgm:pt modelId="{CEA35E93-9633-1441-9717-94EB518C52B0}" type="pres">
      <dgm:prSet presAssocID="{5B5FBF44-2F18-AD4F-B880-D6F92C3DF98F}" presName="hierChild5" presStyleCnt="0"/>
      <dgm:spPr/>
    </dgm:pt>
    <dgm:pt modelId="{281D963B-D382-6B49-B4EB-6C51E89FF1B9}" type="pres">
      <dgm:prSet presAssocID="{1946E28F-9324-7046-8B57-16DFD1DD8778}" presName="Name37" presStyleLbl="parChTrans1D3" presStyleIdx="17" presStyleCnt="20"/>
      <dgm:spPr/>
    </dgm:pt>
    <dgm:pt modelId="{87B4760D-4446-E049-BFC5-97A9968A542F}" type="pres">
      <dgm:prSet presAssocID="{D94ACFDC-F9E9-444A-B732-9EA2C514A3A0}" presName="hierRoot2" presStyleCnt="0">
        <dgm:presLayoutVars>
          <dgm:hierBranch val="init"/>
        </dgm:presLayoutVars>
      </dgm:prSet>
      <dgm:spPr/>
    </dgm:pt>
    <dgm:pt modelId="{0688CB3F-5508-6447-8F0E-B3FB4A5DD03B}" type="pres">
      <dgm:prSet presAssocID="{D94ACFDC-F9E9-444A-B732-9EA2C514A3A0}" presName="rootComposite" presStyleCnt="0"/>
      <dgm:spPr/>
    </dgm:pt>
    <dgm:pt modelId="{91195604-31C4-1C43-AD7B-A1D0B75A91D4}" type="pres">
      <dgm:prSet presAssocID="{D94ACFDC-F9E9-444A-B732-9EA2C514A3A0}" presName="rootText" presStyleLbl="node3" presStyleIdx="17" presStyleCnt="20" custScaleX="114314">
        <dgm:presLayoutVars>
          <dgm:chPref val="3"/>
        </dgm:presLayoutVars>
      </dgm:prSet>
      <dgm:spPr>
        <a:prstGeom prst="roundRect">
          <a:avLst/>
        </a:prstGeom>
      </dgm:spPr>
    </dgm:pt>
    <dgm:pt modelId="{2EB8EC03-B97B-1648-A3C8-7DAC66B9C2FD}" type="pres">
      <dgm:prSet presAssocID="{D94ACFDC-F9E9-444A-B732-9EA2C514A3A0}" presName="rootConnector" presStyleLbl="node3" presStyleIdx="17" presStyleCnt="20"/>
      <dgm:spPr/>
    </dgm:pt>
    <dgm:pt modelId="{87CCF166-F65A-1D41-993F-CA4DBBA34F25}" type="pres">
      <dgm:prSet presAssocID="{D94ACFDC-F9E9-444A-B732-9EA2C514A3A0}" presName="hierChild4" presStyleCnt="0"/>
      <dgm:spPr/>
    </dgm:pt>
    <dgm:pt modelId="{55567E57-95E7-5743-B968-CD461A8E1DD2}" type="pres">
      <dgm:prSet presAssocID="{D94ACFDC-F9E9-444A-B732-9EA2C514A3A0}" presName="hierChild5" presStyleCnt="0"/>
      <dgm:spPr/>
    </dgm:pt>
    <dgm:pt modelId="{1B364D19-8097-2040-95E2-3910D1C2305B}" type="pres">
      <dgm:prSet presAssocID="{FBF6331E-41CF-524F-9060-E436E210C352}" presName="Name37" presStyleLbl="parChTrans1D3" presStyleIdx="18" presStyleCnt="20"/>
      <dgm:spPr/>
    </dgm:pt>
    <dgm:pt modelId="{99DC667C-8F5D-F242-820B-643FE1B52162}" type="pres">
      <dgm:prSet presAssocID="{586A98B4-FC79-6044-9B15-3906A300923F}" presName="hierRoot2" presStyleCnt="0">
        <dgm:presLayoutVars>
          <dgm:hierBranch val="init"/>
        </dgm:presLayoutVars>
      </dgm:prSet>
      <dgm:spPr/>
    </dgm:pt>
    <dgm:pt modelId="{4244D02C-7ACD-A142-8946-A3F8793FEFFD}" type="pres">
      <dgm:prSet presAssocID="{586A98B4-FC79-6044-9B15-3906A300923F}" presName="rootComposite" presStyleCnt="0"/>
      <dgm:spPr/>
    </dgm:pt>
    <dgm:pt modelId="{B6F890C9-8E1B-BA4F-9375-90B45AFBE926}" type="pres">
      <dgm:prSet presAssocID="{586A98B4-FC79-6044-9B15-3906A300923F}" presName="rootText" presStyleLbl="node3" presStyleIdx="18" presStyleCnt="20" custScaleX="114314" custScaleY="152133">
        <dgm:presLayoutVars>
          <dgm:chPref val="3"/>
        </dgm:presLayoutVars>
      </dgm:prSet>
      <dgm:spPr>
        <a:prstGeom prst="roundRect">
          <a:avLst/>
        </a:prstGeom>
      </dgm:spPr>
    </dgm:pt>
    <dgm:pt modelId="{01EFBC2B-89E3-4B4A-8672-7C0301C1F83D}" type="pres">
      <dgm:prSet presAssocID="{586A98B4-FC79-6044-9B15-3906A300923F}" presName="rootConnector" presStyleLbl="node3" presStyleIdx="18" presStyleCnt="20"/>
      <dgm:spPr/>
    </dgm:pt>
    <dgm:pt modelId="{C8E9FBB7-AE8E-8545-BEF2-91AA2C4679B9}" type="pres">
      <dgm:prSet presAssocID="{586A98B4-FC79-6044-9B15-3906A300923F}" presName="hierChild4" presStyleCnt="0"/>
      <dgm:spPr/>
    </dgm:pt>
    <dgm:pt modelId="{70067D2C-35A0-5A4A-A83D-6B53588BFC9A}" type="pres">
      <dgm:prSet presAssocID="{586A98B4-FC79-6044-9B15-3906A300923F}" presName="hierChild5" presStyleCnt="0"/>
      <dgm:spPr/>
    </dgm:pt>
    <dgm:pt modelId="{769F42C5-5B71-2441-B129-D48A8E3BC260}" type="pres">
      <dgm:prSet presAssocID="{C17180E8-CF63-644C-80B1-0D1B86DFCAAD}" presName="Name37" presStyleLbl="parChTrans1D3" presStyleIdx="19" presStyleCnt="20"/>
      <dgm:spPr/>
    </dgm:pt>
    <dgm:pt modelId="{9E3F6BBE-40E6-F141-8CD4-C359E183F456}" type="pres">
      <dgm:prSet presAssocID="{BDDC3921-A746-E049-A8AC-B3A7B34F03D2}" presName="hierRoot2" presStyleCnt="0">
        <dgm:presLayoutVars>
          <dgm:hierBranch val="init"/>
        </dgm:presLayoutVars>
      </dgm:prSet>
      <dgm:spPr/>
    </dgm:pt>
    <dgm:pt modelId="{5ACEF565-1F05-C04D-838B-9E7735CB9E4A}" type="pres">
      <dgm:prSet presAssocID="{BDDC3921-A746-E049-A8AC-B3A7B34F03D2}" presName="rootComposite" presStyleCnt="0"/>
      <dgm:spPr/>
    </dgm:pt>
    <dgm:pt modelId="{961982EB-D928-8C4B-91FE-EDA56851AE8A}" type="pres">
      <dgm:prSet presAssocID="{BDDC3921-A746-E049-A8AC-B3A7B34F03D2}" presName="rootText" presStyleLbl="node3" presStyleIdx="19" presStyleCnt="20" custScaleX="114314" custScaleY="110001">
        <dgm:presLayoutVars>
          <dgm:chPref val="3"/>
        </dgm:presLayoutVars>
      </dgm:prSet>
      <dgm:spPr>
        <a:prstGeom prst="roundRect">
          <a:avLst/>
        </a:prstGeom>
      </dgm:spPr>
    </dgm:pt>
    <dgm:pt modelId="{6EE57160-03F6-9A4A-A031-4822BBDF2E7E}" type="pres">
      <dgm:prSet presAssocID="{BDDC3921-A746-E049-A8AC-B3A7B34F03D2}" presName="rootConnector" presStyleLbl="node3" presStyleIdx="19" presStyleCnt="20"/>
      <dgm:spPr/>
    </dgm:pt>
    <dgm:pt modelId="{24905D02-BBC1-7B4F-A218-F2332C91FC8E}" type="pres">
      <dgm:prSet presAssocID="{BDDC3921-A746-E049-A8AC-B3A7B34F03D2}" presName="hierChild4" presStyleCnt="0"/>
      <dgm:spPr/>
    </dgm:pt>
    <dgm:pt modelId="{D936CB8A-D841-344C-B279-F2024742A3CB}" type="pres">
      <dgm:prSet presAssocID="{BDDC3921-A746-E049-A8AC-B3A7B34F03D2}" presName="hierChild5" presStyleCnt="0"/>
      <dgm:spPr/>
    </dgm:pt>
    <dgm:pt modelId="{23312B94-6B2F-204F-94A2-EA958D60C527}" type="pres">
      <dgm:prSet presAssocID="{9452BE98-23E3-974F-B5BD-5237E206068F}" presName="hierChild5" presStyleCnt="0"/>
      <dgm:spPr/>
    </dgm:pt>
    <dgm:pt modelId="{1D12D694-B674-F042-9CCE-AD0895F2E5C7}" type="pres">
      <dgm:prSet presAssocID="{1942B8BA-B0EC-CC4F-B6BB-BA0927FB8ECA}" presName="hierChild3" presStyleCnt="0"/>
      <dgm:spPr/>
    </dgm:pt>
  </dgm:ptLst>
  <dgm:cxnLst>
    <dgm:cxn modelId="{485A8D02-99CB-4341-BE28-EFCED56A746B}" type="presOf" srcId="{9452BE98-23E3-974F-B5BD-5237E206068F}" destId="{9C21B9B0-1485-2243-80BB-78AC0DC0AC3A}" srcOrd="1" destOrd="0" presId="urn:microsoft.com/office/officeart/2005/8/layout/orgChart1"/>
    <dgm:cxn modelId="{F2F98F04-83DB-4A0C-B2E1-D19FB61D1947}" type="presOf" srcId="{586A98B4-FC79-6044-9B15-3906A300923F}" destId="{01EFBC2B-89E3-4B4A-8672-7C0301C1F83D}" srcOrd="1" destOrd="0" presId="urn:microsoft.com/office/officeart/2005/8/layout/orgChart1"/>
    <dgm:cxn modelId="{0B94FB04-8741-B841-84B4-0BD9B9C2357E}" srcId="{9452BE98-23E3-974F-B5BD-5237E206068F}" destId="{586A98B4-FC79-6044-9B15-3906A300923F}" srcOrd="2" destOrd="0" parTransId="{FBF6331E-41CF-524F-9060-E436E210C352}" sibTransId="{DF25F630-0164-BA4C-A0AA-35325732E3F2}"/>
    <dgm:cxn modelId="{0A02B305-4B97-4FAC-B658-E873ED0CABF0}" type="presOf" srcId="{5FAD9378-6B4B-C64F-8CAB-38E7E90C46DC}" destId="{31F8CED8-E6D4-AC4A-B338-211AAF2DBF48}" srcOrd="1" destOrd="0" presId="urn:microsoft.com/office/officeart/2005/8/layout/orgChart1"/>
    <dgm:cxn modelId="{150B2A08-746F-4016-B55C-66B39FED385B}" type="presOf" srcId="{C809FA02-5F15-FB41-859F-BA74A6D36869}" destId="{19E99F7A-7F6A-BA47-9D9C-19700511A85E}" srcOrd="0" destOrd="0" presId="urn:microsoft.com/office/officeart/2005/8/layout/orgChart1"/>
    <dgm:cxn modelId="{C0366009-0FD8-4417-A157-D2CA264CBEF8}" type="presOf" srcId="{99DAA9E3-2D52-584A-A8DB-4BD7B4F8FECF}" destId="{E17BFC3B-4E7B-884D-AEE5-17D403DC4B71}" srcOrd="1" destOrd="0" presId="urn:microsoft.com/office/officeart/2005/8/layout/orgChart1"/>
    <dgm:cxn modelId="{119E9D09-53F9-414B-A411-166E82EEA263}" type="presOf" srcId="{E66F885F-231A-C048-AC19-BDC3E15D42EB}" destId="{8D30806A-7670-8E40-9650-221FAE93BE90}" srcOrd="0" destOrd="0" presId="urn:microsoft.com/office/officeart/2005/8/layout/orgChart1"/>
    <dgm:cxn modelId="{1782450B-48BA-BA43-9CB5-088561EEF17C}" srcId="{85B47813-B4E0-8143-922C-770423B5B8F1}" destId="{DA7A862C-EE8D-C84B-8F04-50B9EBF84874}" srcOrd="2" destOrd="0" parTransId="{24D845EA-3E35-5B49-A988-4AC675D6DE26}" sibTransId="{A62F46E6-63DC-5D4B-BF38-CAA132C7C2BB}"/>
    <dgm:cxn modelId="{32BD920D-B9B4-4A7C-AA6B-C058520DE964}" type="presOf" srcId="{83672D85-1DDE-F346-8C4F-B504ED9AEA7E}" destId="{F7B58E89-0C5B-4D4E-B10A-CCA6536FD4EE}" srcOrd="0" destOrd="0" presId="urn:microsoft.com/office/officeart/2005/8/layout/orgChart1"/>
    <dgm:cxn modelId="{215FA212-2FDC-4F43-ACB7-00B5680FFBF5}" type="presOf" srcId="{4B343688-50A6-4D47-B34B-5E6F81428970}" destId="{DD913B96-FAE8-3C4E-BA1F-C59C531DE29C}" srcOrd="0" destOrd="0" presId="urn:microsoft.com/office/officeart/2005/8/layout/orgChart1"/>
    <dgm:cxn modelId="{74120A13-56B9-4F49-9B8F-30142EF6E771}" srcId="{5FAD9378-6B4B-C64F-8CAB-38E7E90C46DC}" destId="{3004A816-83EC-7F45-A75C-9E38D10BFFB7}" srcOrd="0" destOrd="0" parTransId="{B2A34B52-2C14-3B49-AFB4-985DF1F5E0EB}" sibTransId="{62574E72-AF30-5645-A31A-203A559DA77A}"/>
    <dgm:cxn modelId="{23D14513-BA38-1E42-A392-462790ABB015}" srcId="{333CA5DC-4A4E-6847-826A-77DB89BE9282}" destId="{83672D85-1DDE-F346-8C4F-B504ED9AEA7E}" srcOrd="0" destOrd="0" parTransId="{3164804C-C000-FD47-834A-920CA4090310}" sibTransId="{C45E799D-4001-9147-B8B5-80669852C40A}"/>
    <dgm:cxn modelId="{872F4A15-33C7-4909-9BE1-62BB1DDD6CB9}" type="presOf" srcId="{FBF6331E-41CF-524F-9060-E436E210C352}" destId="{1B364D19-8097-2040-95E2-3910D1C2305B}" srcOrd="0" destOrd="0" presId="urn:microsoft.com/office/officeart/2005/8/layout/orgChart1"/>
    <dgm:cxn modelId="{5624AF18-CCAE-4444-B4FB-3CBFF623BC99}" type="presOf" srcId="{D4F5E5D9-B7B7-3145-98B1-65A85968DB5A}" destId="{5F2E19A4-1270-1847-B270-C413098CA335}" srcOrd="0" destOrd="0" presId="urn:microsoft.com/office/officeart/2005/8/layout/orgChart1"/>
    <dgm:cxn modelId="{416C4D1D-8795-48BD-9A86-57B034C7EAC6}" type="presOf" srcId="{C4D77AD8-A130-0545-B085-3B7EE3C95014}" destId="{9934394F-0BEC-AC43-9C4E-39AF84EE33BB}" srcOrd="1" destOrd="0" presId="urn:microsoft.com/office/officeart/2005/8/layout/orgChart1"/>
    <dgm:cxn modelId="{754B3520-13D6-4E42-9F2C-21FABDBADB15}" type="presOf" srcId="{E757D2C4-8EB2-B045-AC31-B9257EE48646}" destId="{9ADCFD76-4B47-D84D-A957-DDA9B36F119A}" srcOrd="0" destOrd="0" presId="urn:microsoft.com/office/officeart/2005/8/layout/orgChart1"/>
    <dgm:cxn modelId="{5BA33122-B39E-4138-8864-9A42444BB932}" type="presOf" srcId="{1E0A75A1-8F23-FB49-A27C-B29BF8966F56}" destId="{92674048-16CE-9A40-B532-96D5E4A15625}" srcOrd="1" destOrd="0" presId="urn:microsoft.com/office/officeart/2005/8/layout/orgChart1"/>
    <dgm:cxn modelId="{0E461026-2869-BA41-BACF-BDC2C318169F}" srcId="{5FAD9378-6B4B-C64F-8CAB-38E7E90C46DC}" destId="{56A17DBC-63A1-024F-8BEA-902F59AFC3D3}" srcOrd="1" destOrd="0" parTransId="{87FAB1FD-1063-ED4B-B237-F419D2F600AE}" sibTransId="{9781C0A3-6943-2C47-A9D9-E72962D04BC9}"/>
    <dgm:cxn modelId="{0D16572B-3A83-4993-8A0D-178378E819C0}" type="presOf" srcId="{C4D77AD8-A130-0545-B085-3B7EE3C95014}" destId="{C2D83C95-216F-604E-8802-064277EFACC1}" srcOrd="0" destOrd="0" presId="urn:microsoft.com/office/officeart/2005/8/layout/orgChart1"/>
    <dgm:cxn modelId="{8DE2922C-503F-46AB-A73B-BFA8E5FE28B2}" type="presOf" srcId="{A98CB1A5-301A-AA4A-9415-23776D1063BF}" destId="{25BB3E6E-4455-034B-A18A-E62E43FDBF4D}" srcOrd="0" destOrd="0" presId="urn:microsoft.com/office/officeart/2005/8/layout/orgChart1"/>
    <dgm:cxn modelId="{54953636-8B3F-EE4A-8088-28DE94B1B1DF}" srcId="{1942B8BA-B0EC-CC4F-B6BB-BA0927FB8ECA}" destId="{333CA5DC-4A4E-6847-826A-77DB89BE9282}" srcOrd="2" destOrd="0" parTransId="{AF94E61D-AB70-5A4A-9B35-235454D0E620}" sibTransId="{974F1863-E1C6-FE45-9CEB-C9E660C93F18}"/>
    <dgm:cxn modelId="{D0CE453A-E6FE-774B-BBA7-50ED02D7D300}" srcId="{333CA5DC-4A4E-6847-826A-77DB89BE9282}" destId="{E66F885F-231A-C048-AC19-BDC3E15D42EB}" srcOrd="1" destOrd="0" parTransId="{05ECB248-0F71-FC4E-9009-2E4188539368}" sibTransId="{05CA0516-849D-C948-B7BA-A4DFF5931782}"/>
    <dgm:cxn modelId="{4BF9753B-740B-4ACD-8C66-709DF501FA1A}" type="presOf" srcId="{56A17DBC-63A1-024F-8BEA-902F59AFC3D3}" destId="{837FBF31-9B93-AF41-9707-751766CB7806}" srcOrd="1" destOrd="0" presId="urn:microsoft.com/office/officeart/2005/8/layout/orgChart1"/>
    <dgm:cxn modelId="{2967C93B-2283-4C89-9D52-5DFBC89057FA}" type="presOf" srcId="{5FAD9378-6B4B-C64F-8CAB-38E7E90C46DC}" destId="{EBA01F24-15EE-9C4F-8EFA-9119F6DCC6B9}" srcOrd="0" destOrd="0" presId="urn:microsoft.com/office/officeart/2005/8/layout/orgChart1"/>
    <dgm:cxn modelId="{E0B61E40-968F-4AA8-95ED-029798E8D0E0}" type="presOf" srcId="{5C85038C-61DC-2B4E-9094-FCD217AD9A06}" destId="{98FA9FBB-30E8-EF4A-9AF4-7A2541539A17}" srcOrd="0" destOrd="0" presId="urn:microsoft.com/office/officeart/2005/8/layout/orgChart1"/>
    <dgm:cxn modelId="{9073795C-5F5B-430D-B782-039C3DF7511C}" type="presOf" srcId="{333CA5DC-4A4E-6847-826A-77DB89BE9282}" destId="{8C1E3A53-A5F0-484A-AFFE-A172FF71E08C}" srcOrd="1" destOrd="0" presId="urn:microsoft.com/office/officeart/2005/8/layout/orgChart1"/>
    <dgm:cxn modelId="{58E0FB5C-4671-4366-89FE-2DEAC88AC6CB}" type="presOf" srcId="{4E74F4CB-0720-EE47-A047-DE069AF9DEFB}" destId="{067B25A4-B1CB-634E-A7E3-0BCF72FD0A9C}" srcOrd="1" destOrd="0" presId="urn:microsoft.com/office/officeart/2005/8/layout/orgChart1"/>
    <dgm:cxn modelId="{ED198B61-3817-492F-AAAB-6E082742D166}" type="presOf" srcId="{9452BE98-23E3-974F-B5BD-5237E206068F}" destId="{1AAD6C82-C84B-F74C-A5DC-6B98F1A5A8D8}" srcOrd="0" destOrd="0" presId="urn:microsoft.com/office/officeart/2005/8/layout/orgChart1"/>
    <dgm:cxn modelId="{BC723743-1ACA-4F72-A5DF-39BDA21188A0}" type="presOf" srcId="{5E2D9A7A-588E-F245-9AF4-52458AC4E732}" destId="{DC738067-ACC0-DC4B-87E8-CE7417B89343}" srcOrd="0" destOrd="0" presId="urn:microsoft.com/office/officeart/2005/8/layout/orgChart1"/>
    <dgm:cxn modelId="{2D724B43-4C4A-445E-8243-6BD1529ECA67}" type="presOf" srcId="{472A43E0-AE7D-244D-A1A2-0CB4B03CB1D2}" destId="{84FC3688-0CBB-1C40-856C-67A77EC04AB5}" srcOrd="0" destOrd="0" presId="urn:microsoft.com/office/officeart/2005/8/layout/orgChart1"/>
    <dgm:cxn modelId="{D272AE63-F767-8F46-944F-55E679F83857}" srcId="{C4D77AD8-A130-0545-B085-3B7EE3C95014}" destId="{B058476A-3475-8E4A-A533-8FF1041E0BAA}" srcOrd="2" destOrd="0" parTransId="{9E07A699-7C9B-F447-B0A9-DB84C4B5644F}" sibTransId="{3B043BDD-1F33-1749-A01C-C6C0D9F2007F}"/>
    <dgm:cxn modelId="{F166BF64-B3B5-485B-AE52-1A67246294EA}" type="presOf" srcId="{D94ACFDC-F9E9-444A-B732-9EA2C514A3A0}" destId="{91195604-31C4-1C43-AD7B-A1D0B75A91D4}" srcOrd="0" destOrd="0" presId="urn:microsoft.com/office/officeart/2005/8/layout/orgChart1"/>
    <dgm:cxn modelId="{255FEC44-BDB1-4A39-BAE0-D25E48ABBCF1}" type="presOf" srcId="{4B343688-50A6-4D47-B34B-5E6F81428970}" destId="{1975277D-CA2F-5049-A8D2-A879E703A335}" srcOrd="1" destOrd="0" presId="urn:microsoft.com/office/officeart/2005/8/layout/orgChart1"/>
    <dgm:cxn modelId="{BAD45F45-5224-42CA-9392-0C899B88B324}" type="presOf" srcId="{24D845EA-3E35-5B49-A988-4AC675D6DE26}" destId="{8BF3441E-89C5-784A-BA61-2B83E9143296}" srcOrd="0" destOrd="0" presId="urn:microsoft.com/office/officeart/2005/8/layout/orgChart1"/>
    <dgm:cxn modelId="{D87AE845-A31B-924E-90E9-D72DD9A1DACD}" srcId="{C4D77AD8-A130-0545-B085-3B7EE3C95014}" destId="{99DAA9E3-2D52-584A-A8DB-4BD7B4F8FECF}" srcOrd="1" destOrd="0" parTransId="{735581FC-5E4A-0B4D-8073-51CE41E03013}" sibTransId="{5A43584F-B428-604E-9FB7-E540A8C038C2}"/>
    <dgm:cxn modelId="{CEFC1747-9C99-4668-8D70-1208A5EF88D3}" type="presOf" srcId="{DA7A862C-EE8D-C84B-8F04-50B9EBF84874}" destId="{E9ACA595-56F8-DC43-99D2-46DD7A0486C4}" srcOrd="1" destOrd="0" presId="urn:microsoft.com/office/officeart/2005/8/layout/orgChart1"/>
    <dgm:cxn modelId="{BF9F7D68-0FCE-45E6-9F43-F29906224CD7}" type="presOf" srcId="{5B5FBF44-2F18-AD4F-B880-D6F92C3DF98F}" destId="{70A55A77-E091-D84E-9971-A9AA510C2379}" srcOrd="1" destOrd="0" presId="urn:microsoft.com/office/officeart/2005/8/layout/orgChart1"/>
    <dgm:cxn modelId="{E163E048-6749-4746-95F0-E7CFE4D51117}" type="presOf" srcId="{1946E28F-9324-7046-8B57-16DFD1DD8778}" destId="{281D963B-D382-6B49-B4EB-6C51E89FF1B9}" srcOrd="0" destOrd="0" presId="urn:microsoft.com/office/officeart/2005/8/layout/orgChart1"/>
    <dgm:cxn modelId="{89B53669-FFF6-B847-8A75-35F96FA66895}" srcId="{1942B8BA-B0EC-CC4F-B6BB-BA0927FB8ECA}" destId="{C4D77AD8-A130-0545-B085-3B7EE3C95014}" srcOrd="1" destOrd="0" parTransId="{5E2D9A7A-588E-F245-9AF4-52458AC4E732}" sibTransId="{76531107-CE89-F94E-A3EE-14D61B6F4298}"/>
    <dgm:cxn modelId="{B20C844A-28D6-431E-8C6B-A633ABD04931}" type="presOf" srcId="{DA7A862C-EE8D-C84B-8F04-50B9EBF84874}" destId="{A29B912C-660E-0744-A367-75848C32D994}" srcOrd="0" destOrd="0" presId="urn:microsoft.com/office/officeart/2005/8/layout/orgChart1"/>
    <dgm:cxn modelId="{D8816A4D-D8B2-41A9-BABB-77E0BE59A902}" type="presOf" srcId="{577F0963-31FC-2345-8AC0-499A553AF4B5}" destId="{7FA022AD-7D23-2247-9347-A4221938FEF3}" srcOrd="1" destOrd="0" presId="urn:microsoft.com/office/officeart/2005/8/layout/orgChart1"/>
    <dgm:cxn modelId="{E529994D-A734-4F09-9A4B-921D45B600FA}" type="presOf" srcId="{C17180E8-CF63-644C-80B1-0D1B86DFCAAD}" destId="{769F42C5-5B71-2441-B129-D48A8E3BC260}" srcOrd="0" destOrd="0" presId="urn:microsoft.com/office/officeart/2005/8/layout/orgChart1"/>
    <dgm:cxn modelId="{46886C50-F167-4323-BB9C-05D5A88A03DF}" type="presOf" srcId="{3004A816-83EC-7F45-A75C-9E38D10BFFB7}" destId="{89A1D819-410F-AB40-9AE2-2A066B78BE2F}" srcOrd="1" destOrd="0" presId="urn:microsoft.com/office/officeart/2005/8/layout/orgChart1"/>
    <dgm:cxn modelId="{75F3EC50-CD9B-41DD-9376-C089068C6A35}" type="presOf" srcId="{85B47813-B4E0-8143-922C-770423B5B8F1}" destId="{2DDC2A29-0237-734B-B9A8-5695A1A93E01}" srcOrd="0" destOrd="0" presId="urn:microsoft.com/office/officeart/2005/8/layout/orgChart1"/>
    <dgm:cxn modelId="{E52C9F71-4DBF-4B46-A3D8-588D93ECB348}" type="presOf" srcId="{B058476A-3475-8E4A-A533-8FF1041E0BAA}" destId="{3CBCECA8-B45B-C945-BF11-292AAFCA14D8}" srcOrd="0" destOrd="0" presId="urn:microsoft.com/office/officeart/2005/8/layout/orgChart1"/>
    <dgm:cxn modelId="{C5503A53-1BAB-F843-B8EE-4D1B43698A4B}" srcId="{85B47813-B4E0-8143-922C-770423B5B8F1}" destId="{48D5592E-7AC8-C942-A59B-AAF8EFFDBF87}" srcOrd="0" destOrd="0" parTransId="{13413550-5038-1A43-A067-413C2AD857C7}" sibTransId="{2C2EF57A-794F-9447-A051-A12766BA5D68}"/>
    <dgm:cxn modelId="{BB5CE477-483E-46DB-8B1C-24C1C751F4C9}" type="presOf" srcId="{3004A816-83EC-7F45-A75C-9E38D10BFFB7}" destId="{EADEF8E4-20C1-7949-A728-D7F5A64081BB}" srcOrd="0" destOrd="0" presId="urn:microsoft.com/office/officeart/2005/8/layout/orgChart1"/>
    <dgm:cxn modelId="{FEB04178-4A10-0B4C-BBD9-BEB58FDFD50C}" srcId="{577F0963-31FC-2345-8AC0-499A553AF4B5}" destId="{A98CB1A5-301A-AA4A-9415-23776D1063BF}" srcOrd="2" destOrd="0" parTransId="{472A43E0-AE7D-244D-A1A2-0CB4B03CB1D2}" sibTransId="{12E14D73-154F-9E4A-9302-3BE33A2C2613}"/>
    <dgm:cxn modelId="{8EF7BC7C-8F59-4ED2-9BA8-F7BF7F5BD81F}" type="presOf" srcId="{83672D85-1DDE-F346-8C4F-B504ED9AEA7E}" destId="{0CD54FA3-D49A-6046-AC84-3D42A715D437}" srcOrd="1" destOrd="0" presId="urn:microsoft.com/office/officeart/2005/8/layout/orgChart1"/>
    <dgm:cxn modelId="{C921AF7D-EAF4-4FAE-96BF-26DEEAC84893}" type="presOf" srcId="{48D5592E-7AC8-C942-A59B-AAF8EFFDBF87}" destId="{E4A9D74A-299E-F64C-9403-65D73878B695}" srcOrd="0" destOrd="0" presId="urn:microsoft.com/office/officeart/2005/8/layout/orgChart1"/>
    <dgm:cxn modelId="{0B11E57F-8D62-4243-855E-59629799DF22}" srcId="{577F0963-31FC-2345-8AC0-499A553AF4B5}" destId="{4E74F4CB-0720-EE47-A047-DE069AF9DEFB}" srcOrd="0" destOrd="0" parTransId="{E757D2C4-8EB2-B045-AC31-B9257EE48646}" sibTransId="{9331F6D7-540C-D140-B0DA-7754D39C8EE4}"/>
    <dgm:cxn modelId="{E2DD2C80-A21E-4BA3-9BF4-36ABE55EF916}" type="presOf" srcId="{EEB9D7FD-28C8-154A-951E-E622E85E2697}" destId="{2C9972D9-D275-E245-9185-16FAA8F04583}" srcOrd="1" destOrd="0" presId="urn:microsoft.com/office/officeart/2005/8/layout/orgChart1"/>
    <dgm:cxn modelId="{7F78B080-972B-42A7-AAD0-8FE7E385E659}" type="presOf" srcId="{05ECB248-0F71-FC4E-9009-2E4188539368}" destId="{6E594108-44F4-BF4B-9E8D-CB59E4DAFD82}" srcOrd="0" destOrd="0" presId="urn:microsoft.com/office/officeart/2005/8/layout/orgChart1"/>
    <dgm:cxn modelId="{E29E0483-98C2-7C41-AF0A-B33BFD74DF47}" srcId="{5FAD9378-6B4B-C64F-8CAB-38E7E90C46DC}" destId="{AF984065-DF1F-B949-A1D3-CDAD0AE0C31E}" srcOrd="2" destOrd="0" parTransId="{C809FA02-5F15-FB41-859F-BA74A6D36869}" sibTransId="{24243169-375C-8E49-90A3-ACDB8ECE4818}"/>
    <dgm:cxn modelId="{E4D84483-44A9-43EE-87D4-47B2477F8E62}" type="presOf" srcId="{48D5592E-7AC8-C942-A59B-AAF8EFFDBF87}" destId="{2213E6BE-DBCC-F54C-8A0E-452CCB009E5D}" srcOrd="1" destOrd="0" presId="urn:microsoft.com/office/officeart/2005/8/layout/orgChart1"/>
    <dgm:cxn modelId="{78404683-4859-440F-9552-A74185382BEF}" type="presOf" srcId="{35EC3856-BDDB-FA46-A8DC-6FD67D1DBFCB}" destId="{E75766AB-851A-F742-9C5D-0CC786C19D85}" srcOrd="0" destOrd="0" presId="urn:microsoft.com/office/officeart/2005/8/layout/orgChart1"/>
    <dgm:cxn modelId="{FF74C786-E2BA-43FB-A62A-CB8D5E6DD27C}" type="presOf" srcId="{85B47813-B4E0-8143-922C-770423B5B8F1}" destId="{22AA875D-33AC-B34A-BC2D-7EC59CFC5B9C}" srcOrd="1" destOrd="0" presId="urn:microsoft.com/office/officeart/2005/8/layout/orgChart1"/>
    <dgm:cxn modelId="{1C3B0787-4363-CF4C-996A-25E1A13801C3}" srcId="{1942B8BA-B0EC-CC4F-B6BB-BA0927FB8ECA}" destId="{5FAD9378-6B4B-C64F-8CAB-38E7E90C46DC}" srcOrd="0" destOrd="0" parTransId="{8F6DDDCF-3290-7647-B518-EBE6D7650DFF}" sibTransId="{066FF81D-8981-1C42-BBAE-8B3DBF1CA739}"/>
    <dgm:cxn modelId="{40BF9F87-6698-644A-90A9-D8C219C69612}" srcId="{1942B8BA-B0EC-CC4F-B6BB-BA0927FB8ECA}" destId="{577F0963-31FC-2345-8AC0-499A553AF4B5}" srcOrd="3" destOrd="0" parTransId="{0507BEBE-5E95-1C4C-8795-5522AB5CA66D}" sibTransId="{282E4250-6BCB-CA40-B229-F4589471FC11}"/>
    <dgm:cxn modelId="{F5557E8B-F188-449C-981C-8CF3F90E3ABF}" type="presOf" srcId="{AF94E61D-AB70-5A4A-9B35-235454D0E620}" destId="{A4397167-8927-324E-83E9-553F38D29211}" srcOrd="0" destOrd="0" presId="urn:microsoft.com/office/officeart/2005/8/layout/orgChart1"/>
    <dgm:cxn modelId="{678D288C-EB61-4AF8-877E-F8F41E6846E5}" type="presOf" srcId="{8362E7DE-7D86-FE46-9DCA-A86281DE2298}" destId="{4DD37255-E33C-4644-9121-82A0094274A8}" srcOrd="1" destOrd="0" presId="urn:microsoft.com/office/officeart/2005/8/layout/orgChart1"/>
    <dgm:cxn modelId="{3BA4B68C-E12B-4989-9409-6764535ECA20}" type="presOf" srcId="{13413550-5038-1A43-A067-413C2AD857C7}" destId="{2073165D-02D9-6440-8692-A0D106E8A030}" srcOrd="0" destOrd="0" presId="urn:microsoft.com/office/officeart/2005/8/layout/orgChart1"/>
    <dgm:cxn modelId="{CA931F8D-4C16-4D59-9E4E-9CD5C9113163}" type="presOf" srcId="{AB3DF81D-350E-8949-A091-FB373C97B32D}" destId="{6E5FB869-F442-C243-AD00-61E2F74195E3}" srcOrd="0" destOrd="0" presId="urn:microsoft.com/office/officeart/2005/8/layout/orgChart1"/>
    <dgm:cxn modelId="{509C888E-DA60-394C-BA5E-9D10EDC21F40}" srcId="{9452BE98-23E3-974F-B5BD-5237E206068F}" destId="{D94ACFDC-F9E9-444A-B732-9EA2C514A3A0}" srcOrd="1" destOrd="0" parTransId="{1946E28F-9324-7046-8B57-16DFD1DD8778}" sibTransId="{2CEBD08C-7904-2B48-8F42-25AC56E1E52C}"/>
    <dgm:cxn modelId="{FBEA098F-2E2C-4ADA-91C9-20ECCF9919D7}" type="presOf" srcId="{333CA5DC-4A4E-6847-826A-77DB89BE9282}" destId="{B4D78BD7-7D8A-FE43-A913-2972F64C4A6D}" srcOrd="0" destOrd="0" presId="urn:microsoft.com/office/officeart/2005/8/layout/orgChart1"/>
    <dgm:cxn modelId="{073CAB98-140B-4196-9A0B-DE12A0178E93}" type="presOf" srcId="{3164804C-C000-FD47-834A-920CA4090310}" destId="{321E9CE6-50BF-3B45-9FFC-F9B459662845}" srcOrd="0" destOrd="0" presId="urn:microsoft.com/office/officeart/2005/8/layout/orgChart1"/>
    <dgm:cxn modelId="{CB9EC699-49E4-48F7-B5F1-B51E4ADA3B15}" type="presOf" srcId="{87FAB1FD-1063-ED4B-B237-F419D2F600AE}" destId="{12DAC0E7-47A7-AB40-8A6D-9F6193F51A24}" srcOrd="0" destOrd="0" presId="urn:microsoft.com/office/officeart/2005/8/layout/orgChart1"/>
    <dgm:cxn modelId="{14E9859C-6134-4C36-8CDD-1BBD82E02EE3}" type="presOf" srcId="{8F6DDDCF-3290-7647-B518-EBE6D7650DFF}" destId="{1CBAFD70-8FC7-BE46-94D6-E581D737F315}" srcOrd="0" destOrd="0" presId="urn:microsoft.com/office/officeart/2005/8/layout/orgChart1"/>
    <dgm:cxn modelId="{C06A2C9D-73A2-4CB9-BB44-4E6A64FFCBB1}" type="presOf" srcId="{8362E7DE-7D86-FE46-9DCA-A86281DE2298}" destId="{6CA59EEF-489F-BA42-A850-785B6A5B5B63}" srcOrd="0" destOrd="0" presId="urn:microsoft.com/office/officeart/2005/8/layout/orgChart1"/>
    <dgm:cxn modelId="{64765AA0-F58C-4D59-9624-2AC8C3CFDA1E}" type="presOf" srcId="{011683FF-9CA7-154C-805E-F3754B7ECFB6}" destId="{CA284B0A-7BCA-AC41-B995-F7250AA6BC6F}" srcOrd="0" destOrd="0" presId="urn:microsoft.com/office/officeart/2005/8/layout/orgChart1"/>
    <dgm:cxn modelId="{0306FEA1-9F52-459E-857F-C8DCAEBB4BC6}" type="presOf" srcId="{56A17DBC-63A1-024F-8BEA-902F59AFC3D3}" destId="{9CE777C7-C4DF-564B-B993-CED54A3B12B5}" srcOrd="0" destOrd="0" presId="urn:microsoft.com/office/officeart/2005/8/layout/orgChart1"/>
    <dgm:cxn modelId="{CC2AC7A8-7A70-4477-8AC2-86DAB286F24C}" type="presOf" srcId="{586A98B4-FC79-6044-9B15-3906A300923F}" destId="{B6F890C9-8E1B-BA4F-9375-90B45AFBE926}" srcOrd="0" destOrd="0" presId="urn:microsoft.com/office/officeart/2005/8/layout/orgChart1"/>
    <dgm:cxn modelId="{598E23A9-58CA-4CF9-902A-2826E5F831A2}" type="presOf" srcId="{A98CB1A5-301A-AA4A-9415-23776D1063BF}" destId="{94BDBAA2-42EC-3940-8499-BCF5BCF0B240}" srcOrd="1" destOrd="0" presId="urn:microsoft.com/office/officeart/2005/8/layout/orgChart1"/>
    <dgm:cxn modelId="{94A861AA-CE7B-409A-9B7A-573FB511C929}" type="presOf" srcId="{0507BEBE-5E95-1C4C-8795-5522AB5CA66D}" destId="{3604C806-F723-524D-A2AC-AB54553D73C2}" srcOrd="0" destOrd="0" presId="urn:microsoft.com/office/officeart/2005/8/layout/orgChart1"/>
    <dgm:cxn modelId="{F889E3AA-9098-1249-BF02-B433A33E0C1B}" srcId="{C4D77AD8-A130-0545-B085-3B7EE3C95014}" destId="{EEB9D7FD-28C8-154A-951E-E622E85E2697}" srcOrd="0" destOrd="0" parTransId="{8ED199E6-E8B2-874A-B984-C88B168696EA}" sibTransId="{B14E3D97-9D68-D34B-848F-3741B6AF0C98}"/>
    <dgm:cxn modelId="{63667DAB-5B78-6046-890D-54D502030F97}" srcId="{5C85038C-61DC-2B4E-9094-FCD217AD9A06}" destId="{1942B8BA-B0EC-CC4F-B6BB-BA0927FB8ECA}" srcOrd="0" destOrd="0" parTransId="{C379CFA3-6C9A-0044-9FC3-EE86E18B10EA}" sibTransId="{4F994F6D-A10F-9748-BFAA-1FF50CAB56DB}"/>
    <dgm:cxn modelId="{CCFC8CAD-6FD7-F341-AFEB-7820EEE98DA4}" srcId="{1942B8BA-B0EC-CC4F-B6BB-BA0927FB8ECA}" destId="{9452BE98-23E3-974F-B5BD-5237E206068F}" srcOrd="5" destOrd="0" parTransId="{86E2DC4C-D556-BB4C-B034-F25764C18C16}" sibTransId="{BB480589-A6D5-6C4C-8FC4-07DC90EF2A28}"/>
    <dgm:cxn modelId="{1CB69CB4-92F9-41CF-9254-04C8D6120295}" type="presOf" srcId="{4E74F4CB-0720-EE47-A047-DE069AF9DEFB}" destId="{54E0F557-9053-CA48-A0EC-1606CFC1344B}" srcOrd="0" destOrd="0" presId="urn:microsoft.com/office/officeart/2005/8/layout/orgChart1"/>
    <dgm:cxn modelId="{01E6F6B4-79E4-4FAA-BD28-55702192C9E1}" type="presOf" srcId="{735581FC-5E4A-0B4D-8073-51CE41E03013}" destId="{1A7D1AF0-0B25-0346-ABA6-A1D012A49125}" srcOrd="0" destOrd="0" presId="urn:microsoft.com/office/officeart/2005/8/layout/orgChart1"/>
    <dgm:cxn modelId="{4F632CB5-F317-DD4E-A00C-046E234AC48D}" srcId="{5FAD9378-6B4B-C64F-8CAB-38E7E90C46DC}" destId="{8362E7DE-7D86-FE46-9DCA-A86281DE2298}" srcOrd="3" destOrd="0" parTransId="{011683FF-9CA7-154C-805E-F3754B7ECFB6}" sibTransId="{13BF174B-6763-E048-9616-27A54F5AFBD6}"/>
    <dgm:cxn modelId="{5A55C8B5-9A77-46F0-A5D0-CA6E7DEC7E2C}" type="presOf" srcId="{AF984065-DF1F-B949-A1D3-CDAD0AE0C31E}" destId="{FE77B062-EB70-9949-80B4-8D69637E320D}" srcOrd="0" destOrd="0" presId="urn:microsoft.com/office/officeart/2005/8/layout/orgChart1"/>
    <dgm:cxn modelId="{AC106BB8-BEF5-453C-8305-5BF68DC7023E}" type="presOf" srcId="{BDDC3921-A746-E049-A8AC-B3A7B34F03D2}" destId="{961982EB-D928-8C4B-91FE-EDA56851AE8A}" srcOrd="0" destOrd="0" presId="urn:microsoft.com/office/officeart/2005/8/layout/orgChart1"/>
    <dgm:cxn modelId="{111A36B9-3AB2-40FC-8279-6C88DDAA339B}" type="presOf" srcId="{577F0963-31FC-2345-8AC0-499A553AF4B5}" destId="{1312EA39-EBC1-E346-B46D-32528CDEE232}" srcOrd="0" destOrd="0" presId="urn:microsoft.com/office/officeart/2005/8/layout/orgChart1"/>
    <dgm:cxn modelId="{181720BA-E9C4-459D-AD1A-E48EF21CD3DA}" type="presOf" srcId="{9E07A699-7C9B-F447-B0A9-DB84C4B5644F}" destId="{01092C98-C538-5941-B969-09DF528EBD84}" srcOrd="0" destOrd="0" presId="urn:microsoft.com/office/officeart/2005/8/layout/orgChart1"/>
    <dgm:cxn modelId="{A819ADBC-FEE8-5A4A-BC27-68764D8E2596}" srcId="{85B47813-B4E0-8143-922C-770423B5B8F1}" destId="{4B343688-50A6-4D47-B34B-5E6F81428970}" srcOrd="3" destOrd="0" parTransId="{45807D62-965A-734B-B4EB-83AE9384DDC6}" sibTransId="{66EAD0C4-3874-4E4E-AB78-4E920999D5E2}"/>
    <dgm:cxn modelId="{48860FBE-D523-4DAC-ACB0-5C931D2D11A1}" type="presOf" srcId="{1E0A75A1-8F23-FB49-A27C-B29BF8966F56}" destId="{AF6C94CD-2A36-2240-A678-5CEF507BEBC4}" srcOrd="0" destOrd="0" presId="urn:microsoft.com/office/officeart/2005/8/layout/orgChart1"/>
    <dgm:cxn modelId="{4C32DBC0-E50A-436B-A0CC-2436F1E2BD2C}" type="presOf" srcId="{EEB9D7FD-28C8-154A-951E-E622E85E2697}" destId="{36A78186-21BD-EF42-8435-5D79D6B1B0EE}" srcOrd="0" destOrd="0" presId="urn:microsoft.com/office/officeart/2005/8/layout/orgChart1"/>
    <dgm:cxn modelId="{335799C1-A60E-487F-8577-01F81980A354}" type="presOf" srcId="{B065B7B3-E0E9-484B-9E1B-91295F57E167}" destId="{BE20F9FF-844B-AB45-8737-A210E70A6247}" srcOrd="1" destOrd="0" presId="urn:microsoft.com/office/officeart/2005/8/layout/orgChart1"/>
    <dgm:cxn modelId="{386521C2-3688-4508-B8EB-A07D777D6B4D}" type="presOf" srcId="{D94ACFDC-F9E9-444A-B732-9EA2C514A3A0}" destId="{2EB8EC03-B97B-1648-A3C8-7DAC66B9C2FD}" srcOrd="1" destOrd="0" presId="urn:microsoft.com/office/officeart/2005/8/layout/orgChart1"/>
    <dgm:cxn modelId="{50D277C6-E235-40E0-90E5-03EE9174BEAB}" type="presOf" srcId="{1942B8BA-B0EC-CC4F-B6BB-BA0927FB8ECA}" destId="{EDB06EF5-3922-FF40-8026-BFCC357CCF9C}" srcOrd="1" destOrd="0" presId="urn:microsoft.com/office/officeart/2005/8/layout/orgChart1"/>
    <dgm:cxn modelId="{F5C671C7-31F8-45A0-AB65-409D9D7E45AC}" type="presOf" srcId="{BDDC3921-A746-E049-A8AC-B3A7B34F03D2}" destId="{6EE57160-03F6-9A4A-A031-4822BBDF2E7E}" srcOrd="1" destOrd="0" presId="urn:microsoft.com/office/officeart/2005/8/layout/orgChart1"/>
    <dgm:cxn modelId="{08D3ABCC-9BAE-440C-B756-457C91C7EBED}" type="presOf" srcId="{45807D62-965A-734B-B4EB-83AE9384DDC6}" destId="{0FDDC443-8D82-C74C-9D5F-5DE06884C377}" srcOrd="0" destOrd="0" presId="urn:microsoft.com/office/officeart/2005/8/layout/orgChart1"/>
    <dgm:cxn modelId="{565AECD1-D4B0-F640-8352-D90D0F6DBCEE}" srcId="{9452BE98-23E3-974F-B5BD-5237E206068F}" destId="{BDDC3921-A746-E049-A8AC-B3A7B34F03D2}" srcOrd="3" destOrd="0" parTransId="{C17180E8-CF63-644C-80B1-0D1B86DFCAAD}" sibTransId="{E81BB085-020C-754B-8809-5C5BD4AFF3E3}"/>
    <dgm:cxn modelId="{D28DE4D6-23E4-B446-AAD0-1EFE98731369}" srcId="{577F0963-31FC-2345-8AC0-499A553AF4B5}" destId="{1E0A75A1-8F23-FB49-A27C-B29BF8966F56}" srcOrd="1" destOrd="0" parTransId="{6E8ED33D-8A87-8549-942B-00DDC9658E8F}" sibTransId="{14CD7C5B-5DB3-0346-847D-F4F0EF59D80E}"/>
    <dgm:cxn modelId="{EBC2DCD8-7130-F741-95AC-B0C71E2DCF40}" srcId="{85B47813-B4E0-8143-922C-770423B5B8F1}" destId="{B065B7B3-E0E9-484B-9E1B-91295F57E167}" srcOrd="1" destOrd="0" parTransId="{35EC3856-BDDB-FA46-A8DC-6FD67D1DBFCB}" sibTransId="{93B5BDB5-3B24-4D49-B16D-DE9A6A69A13E}"/>
    <dgm:cxn modelId="{C65CACDB-C044-4406-B6E3-45850902EE79}" type="presOf" srcId="{B065B7B3-E0E9-484B-9E1B-91295F57E167}" destId="{A1B04027-0181-C24A-B100-EBD4F003079D}" srcOrd="0" destOrd="0" presId="urn:microsoft.com/office/officeart/2005/8/layout/orgChart1"/>
    <dgm:cxn modelId="{58D2BEDC-1FD8-584D-92F2-C7A2BA21B2FB}" srcId="{9452BE98-23E3-974F-B5BD-5237E206068F}" destId="{5B5FBF44-2F18-AD4F-B880-D6F92C3DF98F}" srcOrd="0" destOrd="0" parTransId="{D4F5E5D9-B7B7-3145-98B1-65A85968DB5A}" sibTransId="{8FDA0C8A-4A1A-AE49-B6B7-E0A57C9987BA}"/>
    <dgm:cxn modelId="{7EF8D0E2-8101-4A9D-AEA8-795C9C867382}" type="presOf" srcId="{B058476A-3475-8E4A-A533-8FF1041E0BAA}" destId="{E3EFAB3A-553A-E345-AACE-293790C422F7}" srcOrd="1" destOrd="0" presId="urn:microsoft.com/office/officeart/2005/8/layout/orgChart1"/>
    <dgm:cxn modelId="{9F5267E5-25AD-4D91-913E-FEDC279E9B1B}" type="presOf" srcId="{6E8ED33D-8A87-8549-942B-00DDC9658E8F}" destId="{61312643-F875-9544-8D68-D12E872779AD}" srcOrd="0" destOrd="0" presId="urn:microsoft.com/office/officeart/2005/8/layout/orgChart1"/>
    <dgm:cxn modelId="{D7F12BEB-3B0B-4E32-B090-1B24F7FF55B9}" type="presOf" srcId="{99DAA9E3-2D52-584A-A8DB-4BD7B4F8FECF}" destId="{2AB428A9-FC48-0741-9C42-0904E97E27CD}" srcOrd="0" destOrd="0" presId="urn:microsoft.com/office/officeart/2005/8/layout/orgChart1"/>
    <dgm:cxn modelId="{BA40D8EB-FA8E-4C7A-A672-43B86D60514D}" type="presOf" srcId="{E66F885F-231A-C048-AC19-BDC3E15D42EB}" destId="{3B997A62-F0F4-384D-AEE3-8B86528A4225}" srcOrd="1" destOrd="0" presId="urn:microsoft.com/office/officeart/2005/8/layout/orgChart1"/>
    <dgm:cxn modelId="{AE959DED-9781-41D9-A5F3-ACBD85565399}" type="presOf" srcId="{8ED199E6-E8B2-874A-B984-C88B168696EA}" destId="{97B378AB-53B0-9247-8832-CB1FA46EE6CC}" srcOrd="0" destOrd="0" presId="urn:microsoft.com/office/officeart/2005/8/layout/orgChart1"/>
    <dgm:cxn modelId="{66AA41EF-1303-46D9-80A0-2A05D570BDC1}" type="presOf" srcId="{B2A34B52-2C14-3B49-AFB4-985DF1F5E0EB}" destId="{675FC6CC-A4E0-224A-9983-899CD2904726}" srcOrd="0" destOrd="0" presId="urn:microsoft.com/office/officeart/2005/8/layout/orgChart1"/>
    <dgm:cxn modelId="{3BFE2EF0-AC57-4984-A8C9-1B39E4B14FAD}" type="presOf" srcId="{1942B8BA-B0EC-CC4F-B6BB-BA0927FB8ECA}" destId="{51504BC8-E2F6-8A40-8047-FE51F82DAFC3}" srcOrd="0" destOrd="0" presId="urn:microsoft.com/office/officeart/2005/8/layout/orgChart1"/>
    <dgm:cxn modelId="{F3F43AF2-8C64-4E57-856C-B9F7C7DC5835}" type="presOf" srcId="{AF984065-DF1F-B949-A1D3-CDAD0AE0C31E}" destId="{09A3917E-4E91-574F-A76A-28F3B3F1A5E5}" srcOrd="1" destOrd="0" presId="urn:microsoft.com/office/officeart/2005/8/layout/orgChart1"/>
    <dgm:cxn modelId="{AFD06CFB-242E-4BCE-908A-D6DEBE55B1CC}" type="presOf" srcId="{86E2DC4C-D556-BB4C-B034-F25764C18C16}" destId="{46D6DD71-7470-584B-A96C-2D648D24ECA5}" srcOrd="0" destOrd="0" presId="urn:microsoft.com/office/officeart/2005/8/layout/orgChart1"/>
    <dgm:cxn modelId="{A25869FC-3384-5C4B-BEF5-D349FB140810}" srcId="{1942B8BA-B0EC-CC4F-B6BB-BA0927FB8ECA}" destId="{85B47813-B4E0-8143-922C-770423B5B8F1}" srcOrd="4" destOrd="0" parTransId="{AB3DF81D-350E-8949-A091-FB373C97B32D}" sibTransId="{B5883C05-575F-084C-B3D8-C5103086340A}"/>
    <dgm:cxn modelId="{7BE7D2FC-6307-4045-9891-C030D5BB39E4}" type="presOf" srcId="{5B5FBF44-2F18-AD4F-B880-D6F92C3DF98F}" destId="{283582DC-47AB-EA4F-AD82-E57B7AE8A502}" srcOrd="0" destOrd="0" presId="urn:microsoft.com/office/officeart/2005/8/layout/orgChart1"/>
    <dgm:cxn modelId="{8ED990B7-B68F-4CD0-B6E9-13E43A8FBD9D}" type="presParOf" srcId="{98FA9FBB-30E8-EF4A-9AF4-7A2541539A17}" destId="{2BCC09C6-1184-AE4E-8FBA-4DD4A8378FB4}" srcOrd="0" destOrd="0" presId="urn:microsoft.com/office/officeart/2005/8/layout/orgChart1"/>
    <dgm:cxn modelId="{D043BFF1-2C96-4B8C-AA39-F21FBC42A097}" type="presParOf" srcId="{2BCC09C6-1184-AE4E-8FBA-4DD4A8378FB4}" destId="{0B3B1180-7990-644F-8867-7C2B2BFECCA8}" srcOrd="0" destOrd="0" presId="urn:microsoft.com/office/officeart/2005/8/layout/orgChart1"/>
    <dgm:cxn modelId="{98F5106A-A28D-4E10-A670-544E3AB56216}" type="presParOf" srcId="{0B3B1180-7990-644F-8867-7C2B2BFECCA8}" destId="{51504BC8-E2F6-8A40-8047-FE51F82DAFC3}" srcOrd="0" destOrd="0" presId="urn:microsoft.com/office/officeart/2005/8/layout/orgChart1"/>
    <dgm:cxn modelId="{5897272C-C2F3-4DEE-AD89-52AD13E95E36}" type="presParOf" srcId="{0B3B1180-7990-644F-8867-7C2B2BFECCA8}" destId="{EDB06EF5-3922-FF40-8026-BFCC357CCF9C}" srcOrd="1" destOrd="0" presId="urn:microsoft.com/office/officeart/2005/8/layout/orgChart1"/>
    <dgm:cxn modelId="{D2B5C50F-4A70-471A-87D2-CB6DF484A746}" type="presParOf" srcId="{2BCC09C6-1184-AE4E-8FBA-4DD4A8378FB4}" destId="{F6483C81-E32A-B648-AE53-795AA8044C10}" srcOrd="1" destOrd="0" presId="urn:microsoft.com/office/officeart/2005/8/layout/orgChart1"/>
    <dgm:cxn modelId="{81794E82-EE6A-4072-9DD2-CEB260669100}" type="presParOf" srcId="{F6483C81-E32A-B648-AE53-795AA8044C10}" destId="{1CBAFD70-8FC7-BE46-94D6-E581D737F315}" srcOrd="0" destOrd="0" presId="urn:microsoft.com/office/officeart/2005/8/layout/orgChart1"/>
    <dgm:cxn modelId="{C5D6B727-5FDD-4253-8A3B-8C3461A1E686}" type="presParOf" srcId="{F6483C81-E32A-B648-AE53-795AA8044C10}" destId="{0224BCD8-0323-B949-A841-7C00FECDF7DE}" srcOrd="1" destOrd="0" presId="urn:microsoft.com/office/officeart/2005/8/layout/orgChart1"/>
    <dgm:cxn modelId="{40A0BCE5-3A33-4BBB-839B-86CF30162036}" type="presParOf" srcId="{0224BCD8-0323-B949-A841-7C00FECDF7DE}" destId="{C0744F57-049E-E947-BB12-9B26764EB497}" srcOrd="0" destOrd="0" presId="urn:microsoft.com/office/officeart/2005/8/layout/orgChart1"/>
    <dgm:cxn modelId="{DFFCFC86-B5EC-48C0-BCCA-7842601B3308}" type="presParOf" srcId="{C0744F57-049E-E947-BB12-9B26764EB497}" destId="{EBA01F24-15EE-9C4F-8EFA-9119F6DCC6B9}" srcOrd="0" destOrd="0" presId="urn:microsoft.com/office/officeart/2005/8/layout/orgChart1"/>
    <dgm:cxn modelId="{3A764E77-8220-4C83-BE2E-8EA0EF826DA9}" type="presParOf" srcId="{C0744F57-049E-E947-BB12-9B26764EB497}" destId="{31F8CED8-E6D4-AC4A-B338-211AAF2DBF48}" srcOrd="1" destOrd="0" presId="urn:microsoft.com/office/officeart/2005/8/layout/orgChart1"/>
    <dgm:cxn modelId="{9276B84C-1A75-4340-B5D2-E62FE1FB4271}" type="presParOf" srcId="{0224BCD8-0323-B949-A841-7C00FECDF7DE}" destId="{47A2664F-EA74-994B-90DA-264F88A52636}" srcOrd="1" destOrd="0" presId="urn:microsoft.com/office/officeart/2005/8/layout/orgChart1"/>
    <dgm:cxn modelId="{AA0BC907-A260-4BED-8A66-63D4054112F0}" type="presParOf" srcId="{47A2664F-EA74-994B-90DA-264F88A52636}" destId="{675FC6CC-A4E0-224A-9983-899CD2904726}" srcOrd="0" destOrd="0" presId="urn:microsoft.com/office/officeart/2005/8/layout/orgChart1"/>
    <dgm:cxn modelId="{26B8E3B1-8061-4D3F-A225-37017D608062}" type="presParOf" srcId="{47A2664F-EA74-994B-90DA-264F88A52636}" destId="{D8C6AB79-E138-E846-9FD7-95B4B756A873}" srcOrd="1" destOrd="0" presId="urn:microsoft.com/office/officeart/2005/8/layout/orgChart1"/>
    <dgm:cxn modelId="{FBF9CAD6-F6B8-4EC6-B7B0-DB0FAC36762A}" type="presParOf" srcId="{D8C6AB79-E138-E846-9FD7-95B4B756A873}" destId="{32945419-5BD1-634E-B557-49DEFFC9AB07}" srcOrd="0" destOrd="0" presId="urn:microsoft.com/office/officeart/2005/8/layout/orgChart1"/>
    <dgm:cxn modelId="{9A195144-D170-420C-9DD0-7C947E731EAE}" type="presParOf" srcId="{32945419-5BD1-634E-B557-49DEFFC9AB07}" destId="{EADEF8E4-20C1-7949-A728-D7F5A64081BB}" srcOrd="0" destOrd="0" presId="urn:microsoft.com/office/officeart/2005/8/layout/orgChart1"/>
    <dgm:cxn modelId="{234C9EA4-1682-4BFA-983C-57655EE308BD}" type="presParOf" srcId="{32945419-5BD1-634E-B557-49DEFFC9AB07}" destId="{89A1D819-410F-AB40-9AE2-2A066B78BE2F}" srcOrd="1" destOrd="0" presId="urn:microsoft.com/office/officeart/2005/8/layout/orgChart1"/>
    <dgm:cxn modelId="{591F5570-0511-40CE-9C80-0D985D70AAD1}" type="presParOf" srcId="{D8C6AB79-E138-E846-9FD7-95B4B756A873}" destId="{94D402B2-04CB-124A-995D-A34D0D0671FD}" srcOrd="1" destOrd="0" presId="urn:microsoft.com/office/officeart/2005/8/layout/orgChart1"/>
    <dgm:cxn modelId="{BCA7D169-7325-4BE7-82D9-6DDF5F63DAEA}" type="presParOf" srcId="{D8C6AB79-E138-E846-9FD7-95B4B756A873}" destId="{D58ADD6F-0F8B-D54B-B892-164948EA0EDE}" srcOrd="2" destOrd="0" presId="urn:microsoft.com/office/officeart/2005/8/layout/orgChart1"/>
    <dgm:cxn modelId="{F41D87C1-086E-498C-9EAC-8FD8FB37A91C}" type="presParOf" srcId="{47A2664F-EA74-994B-90DA-264F88A52636}" destId="{12DAC0E7-47A7-AB40-8A6D-9F6193F51A24}" srcOrd="2" destOrd="0" presId="urn:microsoft.com/office/officeart/2005/8/layout/orgChart1"/>
    <dgm:cxn modelId="{7225B84E-BF03-498C-8543-618D6950F264}" type="presParOf" srcId="{47A2664F-EA74-994B-90DA-264F88A52636}" destId="{8DBCE740-1178-0C45-8B14-5B9618141690}" srcOrd="3" destOrd="0" presId="urn:microsoft.com/office/officeart/2005/8/layout/orgChart1"/>
    <dgm:cxn modelId="{2F5BBC3C-44D4-4404-813E-34AEAB80E874}" type="presParOf" srcId="{8DBCE740-1178-0C45-8B14-5B9618141690}" destId="{7C7261B9-21EA-8C47-8FAA-81CB75AB913F}" srcOrd="0" destOrd="0" presId="urn:microsoft.com/office/officeart/2005/8/layout/orgChart1"/>
    <dgm:cxn modelId="{4C488756-7BA9-4F7A-9229-34C328E56ECB}" type="presParOf" srcId="{7C7261B9-21EA-8C47-8FAA-81CB75AB913F}" destId="{9CE777C7-C4DF-564B-B993-CED54A3B12B5}" srcOrd="0" destOrd="0" presId="urn:microsoft.com/office/officeart/2005/8/layout/orgChart1"/>
    <dgm:cxn modelId="{0DB099A0-D14A-4CDC-9A84-3409539D59E5}" type="presParOf" srcId="{7C7261B9-21EA-8C47-8FAA-81CB75AB913F}" destId="{837FBF31-9B93-AF41-9707-751766CB7806}" srcOrd="1" destOrd="0" presId="urn:microsoft.com/office/officeart/2005/8/layout/orgChart1"/>
    <dgm:cxn modelId="{0221F776-184A-41F3-9D94-FBE82295B444}" type="presParOf" srcId="{8DBCE740-1178-0C45-8B14-5B9618141690}" destId="{AA5B32FD-E95B-2D41-A3AB-7E3479482F34}" srcOrd="1" destOrd="0" presId="urn:microsoft.com/office/officeart/2005/8/layout/orgChart1"/>
    <dgm:cxn modelId="{29580FF1-0B47-4028-B9BD-7E36D526413B}" type="presParOf" srcId="{8DBCE740-1178-0C45-8B14-5B9618141690}" destId="{B5EC2486-C4CB-EF4B-B09F-CA87C79BA933}" srcOrd="2" destOrd="0" presId="urn:microsoft.com/office/officeart/2005/8/layout/orgChart1"/>
    <dgm:cxn modelId="{48D007D3-35CF-49EB-8670-8B736F2221DD}" type="presParOf" srcId="{47A2664F-EA74-994B-90DA-264F88A52636}" destId="{19E99F7A-7F6A-BA47-9D9C-19700511A85E}" srcOrd="4" destOrd="0" presId="urn:microsoft.com/office/officeart/2005/8/layout/orgChart1"/>
    <dgm:cxn modelId="{54F98F2C-A631-49C0-BF72-DAFA1E26E52F}" type="presParOf" srcId="{47A2664F-EA74-994B-90DA-264F88A52636}" destId="{4ABD6F36-5021-844A-AA4F-DEE7C91205F2}" srcOrd="5" destOrd="0" presId="urn:microsoft.com/office/officeart/2005/8/layout/orgChart1"/>
    <dgm:cxn modelId="{D218EA9B-BD06-468A-A8B0-1DA44F8B4897}" type="presParOf" srcId="{4ABD6F36-5021-844A-AA4F-DEE7C91205F2}" destId="{2C7EF86F-D897-DC4E-9B94-B6E43186C27B}" srcOrd="0" destOrd="0" presId="urn:microsoft.com/office/officeart/2005/8/layout/orgChart1"/>
    <dgm:cxn modelId="{C2020607-7CF8-469C-9275-43E51D0A8B68}" type="presParOf" srcId="{2C7EF86F-D897-DC4E-9B94-B6E43186C27B}" destId="{FE77B062-EB70-9949-80B4-8D69637E320D}" srcOrd="0" destOrd="0" presId="urn:microsoft.com/office/officeart/2005/8/layout/orgChart1"/>
    <dgm:cxn modelId="{BBC733B1-FEEC-4D82-8F27-489583A2D48E}" type="presParOf" srcId="{2C7EF86F-D897-DC4E-9B94-B6E43186C27B}" destId="{09A3917E-4E91-574F-A76A-28F3B3F1A5E5}" srcOrd="1" destOrd="0" presId="urn:microsoft.com/office/officeart/2005/8/layout/orgChart1"/>
    <dgm:cxn modelId="{465E1A74-B69A-4A79-92A6-8CD3138DFFE3}" type="presParOf" srcId="{4ABD6F36-5021-844A-AA4F-DEE7C91205F2}" destId="{7F26B132-A785-5548-BEE7-E822A50B316D}" srcOrd="1" destOrd="0" presId="urn:microsoft.com/office/officeart/2005/8/layout/orgChart1"/>
    <dgm:cxn modelId="{A878746C-796A-4A9E-96EF-417525F22BF0}" type="presParOf" srcId="{4ABD6F36-5021-844A-AA4F-DEE7C91205F2}" destId="{BA1A3983-6B20-AF47-9730-F3C6315AA4CA}" srcOrd="2" destOrd="0" presId="urn:microsoft.com/office/officeart/2005/8/layout/orgChart1"/>
    <dgm:cxn modelId="{A9E9A8F8-5F07-401A-96DA-50008C143FBF}" type="presParOf" srcId="{47A2664F-EA74-994B-90DA-264F88A52636}" destId="{CA284B0A-7BCA-AC41-B995-F7250AA6BC6F}" srcOrd="6" destOrd="0" presId="urn:microsoft.com/office/officeart/2005/8/layout/orgChart1"/>
    <dgm:cxn modelId="{047A01D1-42E9-4914-BE02-18AC9FC912F5}" type="presParOf" srcId="{47A2664F-EA74-994B-90DA-264F88A52636}" destId="{E1D6C9B7-EB85-A446-A6C1-A22BF0828D38}" srcOrd="7" destOrd="0" presId="urn:microsoft.com/office/officeart/2005/8/layout/orgChart1"/>
    <dgm:cxn modelId="{2A7E041B-9CD5-46B4-973C-947C2C275DE7}" type="presParOf" srcId="{E1D6C9B7-EB85-A446-A6C1-A22BF0828D38}" destId="{B186FB41-9F02-A845-91C8-CE08FFDA9338}" srcOrd="0" destOrd="0" presId="urn:microsoft.com/office/officeart/2005/8/layout/orgChart1"/>
    <dgm:cxn modelId="{BAD88734-E706-46EA-A100-21A6451DA722}" type="presParOf" srcId="{B186FB41-9F02-A845-91C8-CE08FFDA9338}" destId="{6CA59EEF-489F-BA42-A850-785B6A5B5B63}" srcOrd="0" destOrd="0" presId="urn:microsoft.com/office/officeart/2005/8/layout/orgChart1"/>
    <dgm:cxn modelId="{F677B2FF-B7EC-46C3-BCB0-778AE48EFE69}" type="presParOf" srcId="{B186FB41-9F02-A845-91C8-CE08FFDA9338}" destId="{4DD37255-E33C-4644-9121-82A0094274A8}" srcOrd="1" destOrd="0" presId="urn:microsoft.com/office/officeart/2005/8/layout/orgChart1"/>
    <dgm:cxn modelId="{C2BDB735-7351-42E0-BA63-73E85FE1B72C}" type="presParOf" srcId="{E1D6C9B7-EB85-A446-A6C1-A22BF0828D38}" destId="{F4533B3B-39D1-4342-A5D4-97A0C8AD2BC6}" srcOrd="1" destOrd="0" presId="urn:microsoft.com/office/officeart/2005/8/layout/orgChart1"/>
    <dgm:cxn modelId="{E2726CAE-D11A-44FD-9C4E-04F25C5B67F1}" type="presParOf" srcId="{E1D6C9B7-EB85-A446-A6C1-A22BF0828D38}" destId="{1A00A27C-3FE4-CB43-B54E-52F4A7DEB60A}" srcOrd="2" destOrd="0" presId="urn:microsoft.com/office/officeart/2005/8/layout/orgChart1"/>
    <dgm:cxn modelId="{F0379F28-9C01-4867-9A63-CFB95486B649}" type="presParOf" srcId="{0224BCD8-0323-B949-A841-7C00FECDF7DE}" destId="{F17F6615-9AB0-4940-BFC3-FCDF7DEA0588}" srcOrd="2" destOrd="0" presId="urn:microsoft.com/office/officeart/2005/8/layout/orgChart1"/>
    <dgm:cxn modelId="{A44B246A-DBED-484F-A521-F5047DF5D819}" type="presParOf" srcId="{F6483C81-E32A-B648-AE53-795AA8044C10}" destId="{DC738067-ACC0-DC4B-87E8-CE7417B89343}" srcOrd="2" destOrd="0" presId="urn:microsoft.com/office/officeart/2005/8/layout/orgChart1"/>
    <dgm:cxn modelId="{98E074A4-7CEE-4210-B6DD-8BEF06B541BA}" type="presParOf" srcId="{F6483C81-E32A-B648-AE53-795AA8044C10}" destId="{24DC2E4D-4B95-304E-AD39-67DC45A76D9B}" srcOrd="3" destOrd="0" presId="urn:microsoft.com/office/officeart/2005/8/layout/orgChart1"/>
    <dgm:cxn modelId="{24138723-26F7-4749-8D93-FFD84184B780}" type="presParOf" srcId="{24DC2E4D-4B95-304E-AD39-67DC45A76D9B}" destId="{D2F16B7A-9D03-404A-9AC8-04F98B330E7C}" srcOrd="0" destOrd="0" presId="urn:microsoft.com/office/officeart/2005/8/layout/orgChart1"/>
    <dgm:cxn modelId="{C326BDCE-84BA-42A5-AC72-551C144D23EF}" type="presParOf" srcId="{D2F16B7A-9D03-404A-9AC8-04F98B330E7C}" destId="{C2D83C95-216F-604E-8802-064277EFACC1}" srcOrd="0" destOrd="0" presId="urn:microsoft.com/office/officeart/2005/8/layout/orgChart1"/>
    <dgm:cxn modelId="{23078710-030B-4ACB-8BAB-C7199C9E4C3B}" type="presParOf" srcId="{D2F16B7A-9D03-404A-9AC8-04F98B330E7C}" destId="{9934394F-0BEC-AC43-9C4E-39AF84EE33BB}" srcOrd="1" destOrd="0" presId="urn:microsoft.com/office/officeart/2005/8/layout/orgChart1"/>
    <dgm:cxn modelId="{4113F1E8-403E-422E-876E-08EBFB94ACF3}" type="presParOf" srcId="{24DC2E4D-4B95-304E-AD39-67DC45A76D9B}" destId="{E622D85E-BAA7-044C-B0E8-CF9EA9ADBB8B}" srcOrd="1" destOrd="0" presId="urn:microsoft.com/office/officeart/2005/8/layout/orgChart1"/>
    <dgm:cxn modelId="{03C21D8D-05BE-48F4-AB27-DFFF71B07D8F}" type="presParOf" srcId="{E622D85E-BAA7-044C-B0E8-CF9EA9ADBB8B}" destId="{97B378AB-53B0-9247-8832-CB1FA46EE6CC}" srcOrd="0" destOrd="0" presId="urn:microsoft.com/office/officeart/2005/8/layout/orgChart1"/>
    <dgm:cxn modelId="{63CE42EF-CA0F-40CE-845C-D9C1DE1CBF8B}" type="presParOf" srcId="{E622D85E-BAA7-044C-B0E8-CF9EA9ADBB8B}" destId="{584811CE-9249-D144-B900-91E75F76EF87}" srcOrd="1" destOrd="0" presId="urn:microsoft.com/office/officeart/2005/8/layout/orgChart1"/>
    <dgm:cxn modelId="{98D0B225-CFEC-4E0E-8CF0-1528DA151CE0}" type="presParOf" srcId="{584811CE-9249-D144-B900-91E75F76EF87}" destId="{7296F2DC-DCF5-BD4B-80F1-FFC3CB3A971E}" srcOrd="0" destOrd="0" presId="urn:microsoft.com/office/officeart/2005/8/layout/orgChart1"/>
    <dgm:cxn modelId="{0D22C3A4-F0AD-44BC-99C7-E2F7D75A78E1}" type="presParOf" srcId="{7296F2DC-DCF5-BD4B-80F1-FFC3CB3A971E}" destId="{36A78186-21BD-EF42-8435-5D79D6B1B0EE}" srcOrd="0" destOrd="0" presId="urn:microsoft.com/office/officeart/2005/8/layout/orgChart1"/>
    <dgm:cxn modelId="{BB889EE5-E9C5-4B67-AA44-A2CB3436209B}" type="presParOf" srcId="{7296F2DC-DCF5-BD4B-80F1-FFC3CB3A971E}" destId="{2C9972D9-D275-E245-9185-16FAA8F04583}" srcOrd="1" destOrd="0" presId="urn:microsoft.com/office/officeart/2005/8/layout/orgChart1"/>
    <dgm:cxn modelId="{7D458051-6871-49C1-A65F-FF85A1FCA434}" type="presParOf" srcId="{584811CE-9249-D144-B900-91E75F76EF87}" destId="{39E8D649-67C9-BE42-AE7D-5831E0E7EBDA}" srcOrd="1" destOrd="0" presId="urn:microsoft.com/office/officeart/2005/8/layout/orgChart1"/>
    <dgm:cxn modelId="{A6B5DCE2-B561-43AC-A582-65C43A60066C}" type="presParOf" srcId="{584811CE-9249-D144-B900-91E75F76EF87}" destId="{B49B0077-A106-A641-A5EF-BF1AEDF87CCF}" srcOrd="2" destOrd="0" presId="urn:microsoft.com/office/officeart/2005/8/layout/orgChart1"/>
    <dgm:cxn modelId="{DDE4D8D0-B8C4-4759-A14E-0AFB825A271D}" type="presParOf" srcId="{E622D85E-BAA7-044C-B0E8-CF9EA9ADBB8B}" destId="{1A7D1AF0-0B25-0346-ABA6-A1D012A49125}" srcOrd="2" destOrd="0" presId="urn:microsoft.com/office/officeart/2005/8/layout/orgChart1"/>
    <dgm:cxn modelId="{9DA83834-A6E3-4CB7-AB1C-5D5AD8DE006E}" type="presParOf" srcId="{E622D85E-BAA7-044C-B0E8-CF9EA9ADBB8B}" destId="{0F708CC2-9A54-5043-B378-6DDC3F454F52}" srcOrd="3" destOrd="0" presId="urn:microsoft.com/office/officeart/2005/8/layout/orgChart1"/>
    <dgm:cxn modelId="{AB428AC9-591C-479D-9C16-7AB2E994DE6E}" type="presParOf" srcId="{0F708CC2-9A54-5043-B378-6DDC3F454F52}" destId="{D28F0775-E036-3F46-BB71-73180099EDC5}" srcOrd="0" destOrd="0" presId="urn:microsoft.com/office/officeart/2005/8/layout/orgChart1"/>
    <dgm:cxn modelId="{27118038-2760-4D7F-A07F-B9B0B86BE26A}" type="presParOf" srcId="{D28F0775-E036-3F46-BB71-73180099EDC5}" destId="{2AB428A9-FC48-0741-9C42-0904E97E27CD}" srcOrd="0" destOrd="0" presId="urn:microsoft.com/office/officeart/2005/8/layout/orgChart1"/>
    <dgm:cxn modelId="{1B91C8BA-6732-4219-BE1E-4942FBF0FD1F}" type="presParOf" srcId="{D28F0775-E036-3F46-BB71-73180099EDC5}" destId="{E17BFC3B-4E7B-884D-AEE5-17D403DC4B71}" srcOrd="1" destOrd="0" presId="urn:microsoft.com/office/officeart/2005/8/layout/orgChart1"/>
    <dgm:cxn modelId="{D9EC9CD0-1A09-411B-ABC5-645151054E7E}" type="presParOf" srcId="{0F708CC2-9A54-5043-B378-6DDC3F454F52}" destId="{A0A0F897-FBC5-E245-8EB9-E4E351697DC4}" srcOrd="1" destOrd="0" presId="urn:microsoft.com/office/officeart/2005/8/layout/orgChart1"/>
    <dgm:cxn modelId="{78C0BB75-A2F1-4F68-AB71-63A9C414E8F7}" type="presParOf" srcId="{0F708CC2-9A54-5043-B378-6DDC3F454F52}" destId="{0230BD4B-118F-4240-A35D-F21DCAAC7F7D}" srcOrd="2" destOrd="0" presId="urn:microsoft.com/office/officeart/2005/8/layout/orgChart1"/>
    <dgm:cxn modelId="{77FE39AC-D7F3-47F4-BE40-A2997A69A026}" type="presParOf" srcId="{E622D85E-BAA7-044C-B0E8-CF9EA9ADBB8B}" destId="{01092C98-C538-5941-B969-09DF528EBD84}" srcOrd="4" destOrd="0" presId="urn:microsoft.com/office/officeart/2005/8/layout/orgChart1"/>
    <dgm:cxn modelId="{E3808E6B-1BE0-4FDD-B0B5-62467FD364AA}" type="presParOf" srcId="{E622D85E-BAA7-044C-B0E8-CF9EA9ADBB8B}" destId="{4CAC9CC5-8580-504F-9214-C79D0E20DF90}" srcOrd="5" destOrd="0" presId="urn:microsoft.com/office/officeart/2005/8/layout/orgChart1"/>
    <dgm:cxn modelId="{0F747E8D-461E-4016-9F3C-5A8C5ECDA52B}" type="presParOf" srcId="{4CAC9CC5-8580-504F-9214-C79D0E20DF90}" destId="{D08C9EFF-6497-7541-8C1C-45B2F4D219FC}" srcOrd="0" destOrd="0" presId="urn:microsoft.com/office/officeart/2005/8/layout/orgChart1"/>
    <dgm:cxn modelId="{A28CD918-04A3-40CE-B2F4-508262C0A372}" type="presParOf" srcId="{D08C9EFF-6497-7541-8C1C-45B2F4D219FC}" destId="{3CBCECA8-B45B-C945-BF11-292AAFCA14D8}" srcOrd="0" destOrd="0" presId="urn:microsoft.com/office/officeart/2005/8/layout/orgChart1"/>
    <dgm:cxn modelId="{24CA881E-C741-4741-B586-B67D58F4B959}" type="presParOf" srcId="{D08C9EFF-6497-7541-8C1C-45B2F4D219FC}" destId="{E3EFAB3A-553A-E345-AACE-293790C422F7}" srcOrd="1" destOrd="0" presId="urn:microsoft.com/office/officeart/2005/8/layout/orgChart1"/>
    <dgm:cxn modelId="{B2811594-13E0-41AD-882D-1FC53E5E5A1C}" type="presParOf" srcId="{4CAC9CC5-8580-504F-9214-C79D0E20DF90}" destId="{14BA1167-46E4-4344-8649-6C5913231270}" srcOrd="1" destOrd="0" presId="urn:microsoft.com/office/officeart/2005/8/layout/orgChart1"/>
    <dgm:cxn modelId="{93A2AFF0-A3D1-454A-990B-3B464C46E795}" type="presParOf" srcId="{4CAC9CC5-8580-504F-9214-C79D0E20DF90}" destId="{AAD72969-4029-224C-AD2E-BAB79210849E}" srcOrd="2" destOrd="0" presId="urn:microsoft.com/office/officeart/2005/8/layout/orgChart1"/>
    <dgm:cxn modelId="{A5B77ECC-8602-4EE2-B26D-BF1F9B7E3D47}" type="presParOf" srcId="{24DC2E4D-4B95-304E-AD39-67DC45A76D9B}" destId="{63B9276D-A03A-904C-B5E3-AB0E8AEBF635}" srcOrd="2" destOrd="0" presId="urn:microsoft.com/office/officeart/2005/8/layout/orgChart1"/>
    <dgm:cxn modelId="{9C56E53B-9BE1-4723-97AC-A80A9D1C2530}" type="presParOf" srcId="{F6483C81-E32A-B648-AE53-795AA8044C10}" destId="{A4397167-8927-324E-83E9-553F38D29211}" srcOrd="4" destOrd="0" presId="urn:microsoft.com/office/officeart/2005/8/layout/orgChart1"/>
    <dgm:cxn modelId="{6A2A0231-6784-4FE1-9676-B2A25F3E6B6B}" type="presParOf" srcId="{F6483C81-E32A-B648-AE53-795AA8044C10}" destId="{5029CF88-11F8-2E42-A926-7D761D1B6568}" srcOrd="5" destOrd="0" presId="urn:microsoft.com/office/officeart/2005/8/layout/orgChart1"/>
    <dgm:cxn modelId="{9A9C792F-E6DD-4561-9571-E6D4D5B1F613}" type="presParOf" srcId="{5029CF88-11F8-2E42-A926-7D761D1B6568}" destId="{A65EA44F-FCD5-EF4D-8CE9-040EA90EB654}" srcOrd="0" destOrd="0" presId="urn:microsoft.com/office/officeart/2005/8/layout/orgChart1"/>
    <dgm:cxn modelId="{2A431DDE-8CF7-4F83-AE7B-34BDDD0B1C5B}" type="presParOf" srcId="{A65EA44F-FCD5-EF4D-8CE9-040EA90EB654}" destId="{B4D78BD7-7D8A-FE43-A913-2972F64C4A6D}" srcOrd="0" destOrd="0" presId="urn:microsoft.com/office/officeart/2005/8/layout/orgChart1"/>
    <dgm:cxn modelId="{0227077E-1006-40B4-90CA-FB5E042E0F86}" type="presParOf" srcId="{A65EA44F-FCD5-EF4D-8CE9-040EA90EB654}" destId="{8C1E3A53-A5F0-484A-AFFE-A172FF71E08C}" srcOrd="1" destOrd="0" presId="urn:microsoft.com/office/officeart/2005/8/layout/orgChart1"/>
    <dgm:cxn modelId="{D9959709-4E4C-4802-820A-3469E8BC7217}" type="presParOf" srcId="{5029CF88-11F8-2E42-A926-7D761D1B6568}" destId="{4D7FC49D-86E3-9D45-975B-73492BF48FBB}" srcOrd="1" destOrd="0" presId="urn:microsoft.com/office/officeart/2005/8/layout/orgChart1"/>
    <dgm:cxn modelId="{DEF6CFA2-CE11-4E19-924B-46507332CDE5}" type="presParOf" srcId="{4D7FC49D-86E3-9D45-975B-73492BF48FBB}" destId="{321E9CE6-50BF-3B45-9FFC-F9B459662845}" srcOrd="0" destOrd="0" presId="urn:microsoft.com/office/officeart/2005/8/layout/orgChart1"/>
    <dgm:cxn modelId="{32B4F5C7-4158-40A9-9B97-5841B6AB4D18}" type="presParOf" srcId="{4D7FC49D-86E3-9D45-975B-73492BF48FBB}" destId="{02089F9A-5D61-3A47-8026-229DAF52712C}" srcOrd="1" destOrd="0" presId="urn:microsoft.com/office/officeart/2005/8/layout/orgChart1"/>
    <dgm:cxn modelId="{4F9DF632-255B-4E05-A9D6-B133A683F1E9}" type="presParOf" srcId="{02089F9A-5D61-3A47-8026-229DAF52712C}" destId="{C14958E6-E122-EF45-9F0B-60EA56A8040A}" srcOrd="0" destOrd="0" presId="urn:microsoft.com/office/officeart/2005/8/layout/orgChart1"/>
    <dgm:cxn modelId="{7A6A2BFD-3364-4A02-AA95-2DB568EEB1C8}" type="presParOf" srcId="{C14958E6-E122-EF45-9F0B-60EA56A8040A}" destId="{F7B58E89-0C5B-4D4E-B10A-CCA6536FD4EE}" srcOrd="0" destOrd="0" presId="urn:microsoft.com/office/officeart/2005/8/layout/orgChart1"/>
    <dgm:cxn modelId="{49FA7020-66B9-420B-BD82-08CB2B1BC625}" type="presParOf" srcId="{C14958E6-E122-EF45-9F0B-60EA56A8040A}" destId="{0CD54FA3-D49A-6046-AC84-3D42A715D437}" srcOrd="1" destOrd="0" presId="urn:microsoft.com/office/officeart/2005/8/layout/orgChart1"/>
    <dgm:cxn modelId="{871C6DE6-260F-482C-95EC-FC75E8353CB7}" type="presParOf" srcId="{02089F9A-5D61-3A47-8026-229DAF52712C}" destId="{B9A9FD17-2F30-864E-87C7-A0E544B30062}" srcOrd="1" destOrd="0" presId="urn:microsoft.com/office/officeart/2005/8/layout/orgChart1"/>
    <dgm:cxn modelId="{F6F50EC1-3819-4EF5-BDEE-5E292D0CDDF6}" type="presParOf" srcId="{02089F9A-5D61-3A47-8026-229DAF52712C}" destId="{EA1020EA-23B7-FA40-973A-5C9FF350388D}" srcOrd="2" destOrd="0" presId="urn:microsoft.com/office/officeart/2005/8/layout/orgChart1"/>
    <dgm:cxn modelId="{B0B1EF4F-60AC-4F61-96FF-608F5B831E99}" type="presParOf" srcId="{4D7FC49D-86E3-9D45-975B-73492BF48FBB}" destId="{6E594108-44F4-BF4B-9E8D-CB59E4DAFD82}" srcOrd="2" destOrd="0" presId="urn:microsoft.com/office/officeart/2005/8/layout/orgChart1"/>
    <dgm:cxn modelId="{A507F93F-F747-47B2-ADE6-BA9721EC788E}" type="presParOf" srcId="{4D7FC49D-86E3-9D45-975B-73492BF48FBB}" destId="{C749564F-24C2-E442-B41A-6E413A851025}" srcOrd="3" destOrd="0" presId="urn:microsoft.com/office/officeart/2005/8/layout/orgChart1"/>
    <dgm:cxn modelId="{EBA4730D-F511-4774-B813-D35DDDEB878D}" type="presParOf" srcId="{C749564F-24C2-E442-B41A-6E413A851025}" destId="{4889FE69-C929-1A48-B75E-B8745C89C4AA}" srcOrd="0" destOrd="0" presId="urn:microsoft.com/office/officeart/2005/8/layout/orgChart1"/>
    <dgm:cxn modelId="{1C513E65-155E-483A-B578-59BE0A3367D0}" type="presParOf" srcId="{4889FE69-C929-1A48-B75E-B8745C89C4AA}" destId="{8D30806A-7670-8E40-9650-221FAE93BE90}" srcOrd="0" destOrd="0" presId="urn:microsoft.com/office/officeart/2005/8/layout/orgChart1"/>
    <dgm:cxn modelId="{7E889FBB-0BF3-4A22-A543-B40FF35EE63D}" type="presParOf" srcId="{4889FE69-C929-1A48-B75E-B8745C89C4AA}" destId="{3B997A62-F0F4-384D-AEE3-8B86528A4225}" srcOrd="1" destOrd="0" presId="urn:microsoft.com/office/officeart/2005/8/layout/orgChart1"/>
    <dgm:cxn modelId="{AC551E13-317F-4AE6-A28A-5CA106223A35}" type="presParOf" srcId="{C749564F-24C2-E442-B41A-6E413A851025}" destId="{0D5193BB-0E9F-4D42-9420-482BD59EA340}" srcOrd="1" destOrd="0" presId="urn:microsoft.com/office/officeart/2005/8/layout/orgChart1"/>
    <dgm:cxn modelId="{C80A2B55-A5E5-4641-A034-E4E82E87DB19}" type="presParOf" srcId="{C749564F-24C2-E442-B41A-6E413A851025}" destId="{8F50EFE2-8436-4C4C-A33D-71906CB70241}" srcOrd="2" destOrd="0" presId="urn:microsoft.com/office/officeart/2005/8/layout/orgChart1"/>
    <dgm:cxn modelId="{4BDCD591-E317-418B-9ED4-2D74DF8EAC8D}" type="presParOf" srcId="{5029CF88-11F8-2E42-A926-7D761D1B6568}" destId="{1044698B-F736-6D44-9039-2248C1ACF9BF}" srcOrd="2" destOrd="0" presId="urn:microsoft.com/office/officeart/2005/8/layout/orgChart1"/>
    <dgm:cxn modelId="{21E76816-A505-4981-8FB5-2555FB23F3EE}" type="presParOf" srcId="{F6483C81-E32A-B648-AE53-795AA8044C10}" destId="{3604C806-F723-524D-A2AC-AB54553D73C2}" srcOrd="6" destOrd="0" presId="urn:microsoft.com/office/officeart/2005/8/layout/orgChart1"/>
    <dgm:cxn modelId="{2C9BB7BC-DE12-4CF4-A774-A96B274F482E}" type="presParOf" srcId="{F6483C81-E32A-B648-AE53-795AA8044C10}" destId="{9DCC5A2A-DB41-9946-AC7B-8C4CEBE11A32}" srcOrd="7" destOrd="0" presId="urn:microsoft.com/office/officeart/2005/8/layout/orgChart1"/>
    <dgm:cxn modelId="{438724CC-3E77-484D-97AC-E163A2AA5E83}" type="presParOf" srcId="{9DCC5A2A-DB41-9946-AC7B-8C4CEBE11A32}" destId="{DC2EA326-33E8-064B-9360-1F16F11466A3}" srcOrd="0" destOrd="0" presId="urn:microsoft.com/office/officeart/2005/8/layout/orgChart1"/>
    <dgm:cxn modelId="{85B2E7F0-9F8E-4153-879A-64E61F3C567C}" type="presParOf" srcId="{DC2EA326-33E8-064B-9360-1F16F11466A3}" destId="{1312EA39-EBC1-E346-B46D-32528CDEE232}" srcOrd="0" destOrd="0" presId="urn:microsoft.com/office/officeart/2005/8/layout/orgChart1"/>
    <dgm:cxn modelId="{9744DBC9-6DBF-4F0C-BC3C-52C1451C2E5B}" type="presParOf" srcId="{DC2EA326-33E8-064B-9360-1F16F11466A3}" destId="{7FA022AD-7D23-2247-9347-A4221938FEF3}" srcOrd="1" destOrd="0" presId="urn:microsoft.com/office/officeart/2005/8/layout/orgChart1"/>
    <dgm:cxn modelId="{49E0389B-C8F2-468C-8B6B-CA466EFA9B38}" type="presParOf" srcId="{9DCC5A2A-DB41-9946-AC7B-8C4CEBE11A32}" destId="{71DDB46F-A36C-0043-9145-975AA78DCC95}" srcOrd="1" destOrd="0" presId="urn:microsoft.com/office/officeart/2005/8/layout/orgChart1"/>
    <dgm:cxn modelId="{62236A6D-11D2-417C-B10D-1E96757C9AD6}" type="presParOf" srcId="{71DDB46F-A36C-0043-9145-975AA78DCC95}" destId="{9ADCFD76-4B47-D84D-A957-DDA9B36F119A}" srcOrd="0" destOrd="0" presId="urn:microsoft.com/office/officeart/2005/8/layout/orgChart1"/>
    <dgm:cxn modelId="{542BE33B-DE07-43B5-A778-D9429ED9A84C}" type="presParOf" srcId="{71DDB46F-A36C-0043-9145-975AA78DCC95}" destId="{7911EC38-69EC-0945-8D2A-01D98C8117E2}" srcOrd="1" destOrd="0" presId="urn:microsoft.com/office/officeart/2005/8/layout/orgChart1"/>
    <dgm:cxn modelId="{C3E38C31-39B8-48F4-9C7C-921E030B8F83}" type="presParOf" srcId="{7911EC38-69EC-0945-8D2A-01D98C8117E2}" destId="{ACF979F4-C894-C545-8132-2E402C10EA3E}" srcOrd="0" destOrd="0" presId="urn:microsoft.com/office/officeart/2005/8/layout/orgChart1"/>
    <dgm:cxn modelId="{ABF16323-EF09-4171-9CEE-2BACFA07E410}" type="presParOf" srcId="{ACF979F4-C894-C545-8132-2E402C10EA3E}" destId="{54E0F557-9053-CA48-A0EC-1606CFC1344B}" srcOrd="0" destOrd="0" presId="urn:microsoft.com/office/officeart/2005/8/layout/orgChart1"/>
    <dgm:cxn modelId="{D1DE8A82-C664-49D8-BE43-90E44F77D8D1}" type="presParOf" srcId="{ACF979F4-C894-C545-8132-2E402C10EA3E}" destId="{067B25A4-B1CB-634E-A7E3-0BCF72FD0A9C}" srcOrd="1" destOrd="0" presId="urn:microsoft.com/office/officeart/2005/8/layout/orgChart1"/>
    <dgm:cxn modelId="{07A57283-9E8D-428F-8C73-8EFFECE01393}" type="presParOf" srcId="{7911EC38-69EC-0945-8D2A-01D98C8117E2}" destId="{6BD23DC6-CEC5-F04C-BD7F-7BCBEA004D05}" srcOrd="1" destOrd="0" presId="urn:microsoft.com/office/officeart/2005/8/layout/orgChart1"/>
    <dgm:cxn modelId="{2E9EDFD0-DDB8-45CA-813C-58C00B4D7971}" type="presParOf" srcId="{7911EC38-69EC-0945-8D2A-01D98C8117E2}" destId="{3A0969EF-5B59-B04D-87FD-36549A373C3A}" srcOrd="2" destOrd="0" presId="urn:microsoft.com/office/officeart/2005/8/layout/orgChart1"/>
    <dgm:cxn modelId="{C2DDE0B2-BE38-40B3-AED4-CA8552B35489}" type="presParOf" srcId="{71DDB46F-A36C-0043-9145-975AA78DCC95}" destId="{61312643-F875-9544-8D68-D12E872779AD}" srcOrd="2" destOrd="0" presId="urn:microsoft.com/office/officeart/2005/8/layout/orgChart1"/>
    <dgm:cxn modelId="{C1B6B760-7BD1-4914-A84F-7BD3F40EA523}" type="presParOf" srcId="{71DDB46F-A36C-0043-9145-975AA78DCC95}" destId="{DD0C8457-E0AC-0A45-AC7E-E0F1CDB7AD32}" srcOrd="3" destOrd="0" presId="urn:microsoft.com/office/officeart/2005/8/layout/orgChart1"/>
    <dgm:cxn modelId="{EE8FA75D-CBE8-42C4-90BD-D4FB4BEEB4A7}" type="presParOf" srcId="{DD0C8457-E0AC-0A45-AC7E-E0F1CDB7AD32}" destId="{30F0D92E-4222-3343-88E6-A12A57784968}" srcOrd="0" destOrd="0" presId="urn:microsoft.com/office/officeart/2005/8/layout/orgChart1"/>
    <dgm:cxn modelId="{E21FB159-A9F9-4E73-B157-5B56F540F37F}" type="presParOf" srcId="{30F0D92E-4222-3343-88E6-A12A57784968}" destId="{AF6C94CD-2A36-2240-A678-5CEF507BEBC4}" srcOrd="0" destOrd="0" presId="urn:microsoft.com/office/officeart/2005/8/layout/orgChart1"/>
    <dgm:cxn modelId="{DDE53BF9-8F07-416E-9AD5-BA441E1CC6DE}" type="presParOf" srcId="{30F0D92E-4222-3343-88E6-A12A57784968}" destId="{92674048-16CE-9A40-B532-96D5E4A15625}" srcOrd="1" destOrd="0" presId="urn:microsoft.com/office/officeart/2005/8/layout/orgChart1"/>
    <dgm:cxn modelId="{EDA57D03-D6F2-4B02-87A5-632C60924357}" type="presParOf" srcId="{DD0C8457-E0AC-0A45-AC7E-E0F1CDB7AD32}" destId="{1C77FA6F-0CF3-7546-9A6E-E9A643F617E3}" srcOrd="1" destOrd="0" presId="urn:microsoft.com/office/officeart/2005/8/layout/orgChart1"/>
    <dgm:cxn modelId="{E44A73AE-687F-48DE-A779-C87C108D03EA}" type="presParOf" srcId="{DD0C8457-E0AC-0A45-AC7E-E0F1CDB7AD32}" destId="{FD844734-723F-A346-AF9B-8C865A6FFDC2}" srcOrd="2" destOrd="0" presId="urn:microsoft.com/office/officeart/2005/8/layout/orgChart1"/>
    <dgm:cxn modelId="{83B06CE7-23C7-4ED6-81DD-0FCE43B9CF13}" type="presParOf" srcId="{71DDB46F-A36C-0043-9145-975AA78DCC95}" destId="{84FC3688-0CBB-1C40-856C-67A77EC04AB5}" srcOrd="4" destOrd="0" presId="urn:microsoft.com/office/officeart/2005/8/layout/orgChart1"/>
    <dgm:cxn modelId="{FBCD7A8C-FFBC-471A-87A1-CC10AA22B148}" type="presParOf" srcId="{71DDB46F-A36C-0043-9145-975AA78DCC95}" destId="{8751AB0D-2C51-F74A-9583-412AFD64321B}" srcOrd="5" destOrd="0" presId="urn:microsoft.com/office/officeart/2005/8/layout/orgChart1"/>
    <dgm:cxn modelId="{1A2972CB-B224-42E7-8F33-35A8388BF40D}" type="presParOf" srcId="{8751AB0D-2C51-F74A-9583-412AFD64321B}" destId="{72DE9C8F-9EF6-8946-BD70-1D86D78914A4}" srcOrd="0" destOrd="0" presId="urn:microsoft.com/office/officeart/2005/8/layout/orgChart1"/>
    <dgm:cxn modelId="{25E0D744-ED11-4378-927A-78672247DC61}" type="presParOf" srcId="{72DE9C8F-9EF6-8946-BD70-1D86D78914A4}" destId="{25BB3E6E-4455-034B-A18A-E62E43FDBF4D}" srcOrd="0" destOrd="0" presId="urn:microsoft.com/office/officeart/2005/8/layout/orgChart1"/>
    <dgm:cxn modelId="{F581B30C-B0FA-4A4B-BF2D-6C9F22AEC2A1}" type="presParOf" srcId="{72DE9C8F-9EF6-8946-BD70-1D86D78914A4}" destId="{94BDBAA2-42EC-3940-8499-BCF5BCF0B240}" srcOrd="1" destOrd="0" presId="urn:microsoft.com/office/officeart/2005/8/layout/orgChart1"/>
    <dgm:cxn modelId="{48B30C59-F88D-4580-BF4A-7DC9F7A269B8}" type="presParOf" srcId="{8751AB0D-2C51-F74A-9583-412AFD64321B}" destId="{10365E0D-5392-EE45-B3AB-1BB1FC757043}" srcOrd="1" destOrd="0" presId="urn:microsoft.com/office/officeart/2005/8/layout/orgChart1"/>
    <dgm:cxn modelId="{CCC3FD64-AC9A-473E-A81A-CC4436405B2E}" type="presParOf" srcId="{8751AB0D-2C51-F74A-9583-412AFD64321B}" destId="{9E2ADF71-3C02-CC46-BA24-00037572D88C}" srcOrd="2" destOrd="0" presId="urn:microsoft.com/office/officeart/2005/8/layout/orgChart1"/>
    <dgm:cxn modelId="{52F5C659-C437-41CD-ADA8-BA0BB8DD6461}" type="presParOf" srcId="{9DCC5A2A-DB41-9946-AC7B-8C4CEBE11A32}" destId="{214FD2C4-CABB-254D-93F7-90203A54A6DF}" srcOrd="2" destOrd="0" presId="urn:microsoft.com/office/officeart/2005/8/layout/orgChart1"/>
    <dgm:cxn modelId="{52EDE3C3-BBD1-4E28-9A7D-D6460DA29CBE}" type="presParOf" srcId="{F6483C81-E32A-B648-AE53-795AA8044C10}" destId="{6E5FB869-F442-C243-AD00-61E2F74195E3}" srcOrd="8" destOrd="0" presId="urn:microsoft.com/office/officeart/2005/8/layout/orgChart1"/>
    <dgm:cxn modelId="{C139A9F5-4C7B-4DC3-BBE2-FDA17F8503DA}" type="presParOf" srcId="{F6483C81-E32A-B648-AE53-795AA8044C10}" destId="{37799CB5-A765-954A-B26A-53CF2D3FE289}" srcOrd="9" destOrd="0" presId="urn:microsoft.com/office/officeart/2005/8/layout/orgChart1"/>
    <dgm:cxn modelId="{FD43DC05-412C-477B-B4CB-0B8F0FC893CD}" type="presParOf" srcId="{37799CB5-A765-954A-B26A-53CF2D3FE289}" destId="{999FA66D-C51D-4143-B2EB-48736B7DB9AF}" srcOrd="0" destOrd="0" presId="urn:microsoft.com/office/officeart/2005/8/layout/orgChart1"/>
    <dgm:cxn modelId="{7E3AAF02-6D45-4F98-8F34-6258157C3B6F}" type="presParOf" srcId="{999FA66D-C51D-4143-B2EB-48736B7DB9AF}" destId="{2DDC2A29-0237-734B-B9A8-5695A1A93E01}" srcOrd="0" destOrd="0" presId="urn:microsoft.com/office/officeart/2005/8/layout/orgChart1"/>
    <dgm:cxn modelId="{FE60F67A-5B42-45EC-8B83-51B6DDF6F339}" type="presParOf" srcId="{999FA66D-C51D-4143-B2EB-48736B7DB9AF}" destId="{22AA875D-33AC-B34A-BC2D-7EC59CFC5B9C}" srcOrd="1" destOrd="0" presId="urn:microsoft.com/office/officeart/2005/8/layout/orgChart1"/>
    <dgm:cxn modelId="{D953EEF1-B125-409B-B65C-BF9AA20880E3}" type="presParOf" srcId="{37799CB5-A765-954A-B26A-53CF2D3FE289}" destId="{55EDB01C-B820-F444-86D9-398B82A6758E}" srcOrd="1" destOrd="0" presId="urn:microsoft.com/office/officeart/2005/8/layout/orgChart1"/>
    <dgm:cxn modelId="{6870B727-52B1-48EF-94EE-58C96E6BC007}" type="presParOf" srcId="{55EDB01C-B820-F444-86D9-398B82A6758E}" destId="{2073165D-02D9-6440-8692-A0D106E8A030}" srcOrd="0" destOrd="0" presId="urn:microsoft.com/office/officeart/2005/8/layout/orgChart1"/>
    <dgm:cxn modelId="{7BBD5DFA-F0E1-4771-8FDD-D059DDF64207}" type="presParOf" srcId="{55EDB01C-B820-F444-86D9-398B82A6758E}" destId="{5F908CE2-29E9-BD43-9577-BC86D924E2B0}" srcOrd="1" destOrd="0" presId="urn:microsoft.com/office/officeart/2005/8/layout/orgChart1"/>
    <dgm:cxn modelId="{83D49723-54B5-4371-8CEE-B1A23BA86EF8}" type="presParOf" srcId="{5F908CE2-29E9-BD43-9577-BC86D924E2B0}" destId="{03C29838-E85D-0F47-B48A-9906603600A7}" srcOrd="0" destOrd="0" presId="urn:microsoft.com/office/officeart/2005/8/layout/orgChart1"/>
    <dgm:cxn modelId="{CD47006B-1996-4359-93AA-4BCE2EE2BE55}" type="presParOf" srcId="{03C29838-E85D-0F47-B48A-9906603600A7}" destId="{E4A9D74A-299E-F64C-9403-65D73878B695}" srcOrd="0" destOrd="0" presId="urn:microsoft.com/office/officeart/2005/8/layout/orgChart1"/>
    <dgm:cxn modelId="{411843B4-7743-4302-8DD1-6B32ED544523}" type="presParOf" srcId="{03C29838-E85D-0F47-B48A-9906603600A7}" destId="{2213E6BE-DBCC-F54C-8A0E-452CCB009E5D}" srcOrd="1" destOrd="0" presId="urn:microsoft.com/office/officeart/2005/8/layout/orgChart1"/>
    <dgm:cxn modelId="{7FDB46E6-2229-469F-9EB4-F4EF384DB9EC}" type="presParOf" srcId="{5F908CE2-29E9-BD43-9577-BC86D924E2B0}" destId="{16025682-E1EB-E840-A703-17F6917FB883}" srcOrd="1" destOrd="0" presId="urn:microsoft.com/office/officeart/2005/8/layout/orgChart1"/>
    <dgm:cxn modelId="{0F0AAB8B-F3F2-4FBB-932B-F02E9F24301F}" type="presParOf" srcId="{5F908CE2-29E9-BD43-9577-BC86D924E2B0}" destId="{28DE900E-0FB4-1042-9380-FBFA5586B546}" srcOrd="2" destOrd="0" presId="urn:microsoft.com/office/officeart/2005/8/layout/orgChart1"/>
    <dgm:cxn modelId="{D7E29527-F992-4FB3-875B-162C7EEA9AEC}" type="presParOf" srcId="{55EDB01C-B820-F444-86D9-398B82A6758E}" destId="{E75766AB-851A-F742-9C5D-0CC786C19D85}" srcOrd="2" destOrd="0" presId="urn:microsoft.com/office/officeart/2005/8/layout/orgChart1"/>
    <dgm:cxn modelId="{601B167A-EEBC-46D0-8D63-1DB1A20C43BC}" type="presParOf" srcId="{55EDB01C-B820-F444-86D9-398B82A6758E}" destId="{C34B418D-70D3-A742-9CD2-66346D0107F7}" srcOrd="3" destOrd="0" presId="urn:microsoft.com/office/officeart/2005/8/layout/orgChart1"/>
    <dgm:cxn modelId="{76F5DA34-E32B-427C-B7B1-C39D16D1A297}" type="presParOf" srcId="{C34B418D-70D3-A742-9CD2-66346D0107F7}" destId="{7758CE16-871E-224F-B791-D6E070C467CC}" srcOrd="0" destOrd="0" presId="urn:microsoft.com/office/officeart/2005/8/layout/orgChart1"/>
    <dgm:cxn modelId="{BFD09945-C350-436B-8943-9170B6F047EA}" type="presParOf" srcId="{7758CE16-871E-224F-B791-D6E070C467CC}" destId="{A1B04027-0181-C24A-B100-EBD4F003079D}" srcOrd="0" destOrd="0" presId="urn:microsoft.com/office/officeart/2005/8/layout/orgChart1"/>
    <dgm:cxn modelId="{889451AC-68C0-4097-8B03-6BD1794D8B08}" type="presParOf" srcId="{7758CE16-871E-224F-B791-D6E070C467CC}" destId="{BE20F9FF-844B-AB45-8737-A210E70A6247}" srcOrd="1" destOrd="0" presId="urn:microsoft.com/office/officeart/2005/8/layout/orgChart1"/>
    <dgm:cxn modelId="{2BFC382F-D08D-4530-AD42-4727F618198C}" type="presParOf" srcId="{C34B418D-70D3-A742-9CD2-66346D0107F7}" destId="{BFA3D11A-E08C-7C44-A0AD-EB3BAB982E19}" srcOrd="1" destOrd="0" presId="urn:microsoft.com/office/officeart/2005/8/layout/orgChart1"/>
    <dgm:cxn modelId="{224378BE-D8A5-4753-B335-4BF57E8DEA9D}" type="presParOf" srcId="{C34B418D-70D3-A742-9CD2-66346D0107F7}" destId="{90C800A8-4CBE-EF41-8789-5D1F33EFB7FA}" srcOrd="2" destOrd="0" presId="urn:microsoft.com/office/officeart/2005/8/layout/orgChart1"/>
    <dgm:cxn modelId="{F52A7E3B-DBAB-4B2D-A377-F7D8B7DA0DC4}" type="presParOf" srcId="{55EDB01C-B820-F444-86D9-398B82A6758E}" destId="{8BF3441E-89C5-784A-BA61-2B83E9143296}" srcOrd="4" destOrd="0" presId="urn:microsoft.com/office/officeart/2005/8/layout/orgChart1"/>
    <dgm:cxn modelId="{F298883F-FD9D-4DBC-A578-BFADF6AF1CF6}" type="presParOf" srcId="{55EDB01C-B820-F444-86D9-398B82A6758E}" destId="{8691DCF8-B78C-474E-8ECA-0871F36C3DC1}" srcOrd="5" destOrd="0" presId="urn:microsoft.com/office/officeart/2005/8/layout/orgChart1"/>
    <dgm:cxn modelId="{EADB894A-0501-4813-A2DB-FDAC74E0C027}" type="presParOf" srcId="{8691DCF8-B78C-474E-8ECA-0871F36C3DC1}" destId="{DF51DDDB-1021-2F46-ACB2-ADBA227B6133}" srcOrd="0" destOrd="0" presId="urn:microsoft.com/office/officeart/2005/8/layout/orgChart1"/>
    <dgm:cxn modelId="{D34924F3-75C4-45D6-A2ED-242E38FE0395}" type="presParOf" srcId="{DF51DDDB-1021-2F46-ACB2-ADBA227B6133}" destId="{A29B912C-660E-0744-A367-75848C32D994}" srcOrd="0" destOrd="0" presId="urn:microsoft.com/office/officeart/2005/8/layout/orgChart1"/>
    <dgm:cxn modelId="{D8296066-F761-44D0-941C-95B0D8714EAF}" type="presParOf" srcId="{DF51DDDB-1021-2F46-ACB2-ADBA227B6133}" destId="{E9ACA595-56F8-DC43-99D2-46DD7A0486C4}" srcOrd="1" destOrd="0" presId="urn:microsoft.com/office/officeart/2005/8/layout/orgChart1"/>
    <dgm:cxn modelId="{B419C10D-C57A-4147-A6E4-C36160BF684D}" type="presParOf" srcId="{8691DCF8-B78C-474E-8ECA-0871F36C3DC1}" destId="{9430B88A-62CF-204D-8864-7E22DD0F39D1}" srcOrd="1" destOrd="0" presId="urn:microsoft.com/office/officeart/2005/8/layout/orgChart1"/>
    <dgm:cxn modelId="{6C855984-4F1C-41A6-9C48-5CA98329B002}" type="presParOf" srcId="{8691DCF8-B78C-474E-8ECA-0871F36C3DC1}" destId="{95E85041-5D98-1141-9FFB-ED806BF811C4}" srcOrd="2" destOrd="0" presId="urn:microsoft.com/office/officeart/2005/8/layout/orgChart1"/>
    <dgm:cxn modelId="{D8575F4F-0C8E-479B-8925-F86FF1EB2E1B}" type="presParOf" srcId="{55EDB01C-B820-F444-86D9-398B82A6758E}" destId="{0FDDC443-8D82-C74C-9D5F-5DE06884C377}" srcOrd="6" destOrd="0" presId="urn:microsoft.com/office/officeart/2005/8/layout/orgChart1"/>
    <dgm:cxn modelId="{496A59CE-03EC-4CF4-B3E7-6739181DB02D}" type="presParOf" srcId="{55EDB01C-B820-F444-86D9-398B82A6758E}" destId="{5BA53F83-D8B7-1542-800B-75FE1AF781E9}" srcOrd="7" destOrd="0" presId="urn:microsoft.com/office/officeart/2005/8/layout/orgChart1"/>
    <dgm:cxn modelId="{9ADAB6EA-98C2-4DB0-8FD4-8C2BA90B5306}" type="presParOf" srcId="{5BA53F83-D8B7-1542-800B-75FE1AF781E9}" destId="{22D8434A-CFA5-4643-9A9A-99E0CC3F9467}" srcOrd="0" destOrd="0" presId="urn:microsoft.com/office/officeart/2005/8/layout/orgChart1"/>
    <dgm:cxn modelId="{40D9BB7D-833A-4C2B-BB07-581245D9A4B1}" type="presParOf" srcId="{22D8434A-CFA5-4643-9A9A-99E0CC3F9467}" destId="{DD913B96-FAE8-3C4E-BA1F-C59C531DE29C}" srcOrd="0" destOrd="0" presId="urn:microsoft.com/office/officeart/2005/8/layout/orgChart1"/>
    <dgm:cxn modelId="{89A96A68-7067-4EE6-B13A-37FD15645BD6}" type="presParOf" srcId="{22D8434A-CFA5-4643-9A9A-99E0CC3F9467}" destId="{1975277D-CA2F-5049-A8D2-A879E703A335}" srcOrd="1" destOrd="0" presId="urn:microsoft.com/office/officeart/2005/8/layout/orgChart1"/>
    <dgm:cxn modelId="{0E8E4344-AFEB-4A39-9B3C-7A0EB1F129A2}" type="presParOf" srcId="{5BA53F83-D8B7-1542-800B-75FE1AF781E9}" destId="{04D91239-9F11-F144-9733-224942D26408}" srcOrd="1" destOrd="0" presId="urn:microsoft.com/office/officeart/2005/8/layout/orgChart1"/>
    <dgm:cxn modelId="{C4DF2A6E-A995-4B42-B580-8D0726755F09}" type="presParOf" srcId="{5BA53F83-D8B7-1542-800B-75FE1AF781E9}" destId="{920EA81B-AB01-194A-A578-A47B3CC61A32}" srcOrd="2" destOrd="0" presId="urn:microsoft.com/office/officeart/2005/8/layout/orgChart1"/>
    <dgm:cxn modelId="{C397B306-6D17-4F51-ABB8-CBD6CC68AEA3}" type="presParOf" srcId="{37799CB5-A765-954A-B26A-53CF2D3FE289}" destId="{1F38593E-7D14-1B49-AF8E-AC227F70BD1A}" srcOrd="2" destOrd="0" presId="urn:microsoft.com/office/officeart/2005/8/layout/orgChart1"/>
    <dgm:cxn modelId="{19CCB466-DA90-4471-9C6C-523F51F15E07}" type="presParOf" srcId="{F6483C81-E32A-B648-AE53-795AA8044C10}" destId="{46D6DD71-7470-584B-A96C-2D648D24ECA5}" srcOrd="10" destOrd="0" presId="urn:microsoft.com/office/officeart/2005/8/layout/orgChart1"/>
    <dgm:cxn modelId="{6BEC89CC-E03C-4053-A7D5-47D4F36821F8}" type="presParOf" srcId="{F6483C81-E32A-B648-AE53-795AA8044C10}" destId="{AFDA1189-85B7-9448-A6BF-427E02D95FC4}" srcOrd="11" destOrd="0" presId="urn:microsoft.com/office/officeart/2005/8/layout/orgChart1"/>
    <dgm:cxn modelId="{617F55D8-FCA7-4226-B205-A7B2D3CE359B}" type="presParOf" srcId="{AFDA1189-85B7-9448-A6BF-427E02D95FC4}" destId="{BEA540CA-55A3-2841-8ECE-2DB25D95A3B4}" srcOrd="0" destOrd="0" presId="urn:microsoft.com/office/officeart/2005/8/layout/orgChart1"/>
    <dgm:cxn modelId="{059088FD-51DF-491A-B091-56EEEF43E584}" type="presParOf" srcId="{BEA540CA-55A3-2841-8ECE-2DB25D95A3B4}" destId="{1AAD6C82-C84B-F74C-A5DC-6B98F1A5A8D8}" srcOrd="0" destOrd="0" presId="urn:microsoft.com/office/officeart/2005/8/layout/orgChart1"/>
    <dgm:cxn modelId="{1EAF0BCE-4494-4481-A8F6-3581B7848743}" type="presParOf" srcId="{BEA540CA-55A3-2841-8ECE-2DB25D95A3B4}" destId="{9C21B9B0-1485-2243-80BB-78AC0DC0AC3A}" srcOrd="1" destOrd="0" presId="urn:microsoft.com/office/officeart/2005/8/layout/orgChart1"/>
    <dgm:cxn modelId="{F6FFD1ED-64E8-4800-A769-CE0760E807AC}" type="presParOf" srcId="{AFDA1189-85B7-9448-A6BF-427E02D95FC4}" destId="{D8EE5E22-2E83-924B-9F68-82CCD07B16D1}" srcOrd="1" destOrd="0" presId="urn:microsoft.com/office/officeart/2005/8/layout/orgChart1"/>
    <dgm:cxn modelId="{5B6EE80E-F8F9-4DFA-AC30-24645E6EAEAC}" type="presParOf" srcId="{D8EE5E22-2E83-924B-9F68-82CCD07B16D1}" destId="{5F2E19A4-1270-1847-B270-C413098CA335}" srcOrd="0" destOrd="0" presId="urn:microsoft.com/office/officeart/2005/8/layout/orgChart1"/>
    <dgm:cxn modelId="{3A076790-591A-4482-A028-1F8FB95B1791}" type="presParOf" srcId="{D8EE5E22-2E83-924B-9F68-82CCD07B16D1}" destId="{779C9244-D4D1-7B48-8AAF-E59CE0630E5D}" srcOrd="1" destOrd="0" presId="urn:microsoft.com/office/officeart/2005/8/layout/orgChart1"/>
    <dgm:cxn modelId="{5A866EB6-D2C2-4DDE-AAE4-D8AD7801A4B0}" type="presParOf" srcId="{779C9244-D4D1-7B48-8AAF-E59CE0630E5D}" destId="{C1C223DB-C36D-B743-A133-1EF308FE5823}" srcOrd="0" destOrd="0" presId="urn:microsoft.com/office/officeart/2005/8/layout/orgChart1"/>
    <dgm:cxn modelId="{08B438BD-2192-4FDE-99C0-02D81BCCB9BB}" type="presParOf" srcId="{C1C223DB-C36D-B743-A133-1EF308FE5823}" destId="{283582DC-47AB-EA4F-AD82-E57B7AE8A502}" srcOrd="0" destOrd="0" presId="urn:microsoft.com/office/officeart/2005/8/layout/orgChart1"/>
    <dgm:cxn modelId="{92DED85E-3111-4480-AACB-D191AD34646B}" type="presParOf" srcId="{C1C223DB-C36D-B743-A133-1EF308FE5823}" destId="{70A55A77-E091-D84E-9971-A9AA510C2379}" srcOrd="1" destOrd="0" presId="urn:microsoft.com/office/officeart/2005/8/layout/orgChart1"/>
    <dgm:cxn modelId="{7EDE5B06-3655-405F-BEC5-DDBF06E7436C}" type="presParOf" srcId="{779C9244-D4D1-7B48-8AAF-E59CE0630E5D}" destId="{0E64C03A-3041-4447-B7B7-9C6B0504D30A}" srcOrd="1" destOrd="0" presId="urn:microsoft.com/office/officeart/2005/8/layout/orgChart1"/>
    <dgm:cxn modelId="{C52CD88B-89DF-41C9-98D9-081A920E7037}" type="presParOf" srcId="{779C9244-D4D1-7B48-8AAF-E59CE0630E5D}" destId="{CEA35E93-9633-1441-9717-94EB518C52B0}" srcOrd="2" destOrd="0" presId="urn:microsoft.com/office/officeart/2005/8/layout/orgChart1"/>
    <dgm:cxn modelId="{0B1D5840-AA8A-44B0-88F4-6770C12702DB}" type="presParOf" srcId="{D8EE5E22-2E83-924B-9F68-82CCD07B16D1}" destId="{281D963B-D382-6B49-B4EB-6C51E89FF1B9}" srcOrd="2" destOrd="0" presId="urn:microsoft.com/office/officeart/2005/8/layout/orgChart1"/>
    <dgm:cxn modelId="{94EDEDCC-D030-43D2-814B-084FAB2DAF25}" type="presParOf" srcId="{D8EE5E22-2E83-924B-9F68-82CCD07B16D1}" destId="{87B4760D-4446-E049-BFC5-97A9968A542F}" srcOrd="3" destOrd="0" presId="urn:microsoft.com/office/officeart/2005/8/layout/orgChart1"/>
    <dgm:cxn modelId="{B5E1FB64-A951-4D53-A627-E259FB535329}" type="presParOf" srcId="{87B4760D-4446-E049-BFC5-97A9968A542F}" destId="{0688CB3F-5508-6447-8F0E-B3FB4A5DD03B}" srcOrd="0" destOrd="0" presId="urn:microsoft.com/office/officeart/2005/8/layout/orgChart1"/>
    <dgm:cxn modelId="{9C8DF5AD-B400-4A49-82EC-7FFF41A37BEA}" type="presParOf" srcId="{0688CB3F-5508-6447-8F0E-B3FB4A5DD03B}" destId="{91195604-31C4-1C43-AD7B-A1D0B75A91D4}" srcOrd="0" destOrd="0" presId="urn:microsoft.com/office/officeart/2005/8/layout/orgChart1"/>
    <dgm:cxn modelId="{5335BD46-3168-410D-864A-96C648DF9283}" type="presParOf" srcId="{0688CB3F-5508-6447-8F0E-B3FB4A5DD03B}" destId="{2EB8EC03-B97B-1648-A3C8-7DAC66B9C2FD}" srcOrd="1" destOrd="0" presId="urn:microsoft.com/office/officeart/2005/8/layout/orgChart1"/>
    <dgm:cxn modelId="{2A7D4B64-FB00-476E-9802-D0B0BEBD33F6}" type="presParOf" srcId="{87B4760D-4446-E049-BFC5-97A9968A542F}" destId="{87CCF166-F65A-1D41-993F-CA4DBBA34F25}" srcOrd="1" destOrd="0" presId="urn:microsoft.com/office/officeart/2005/8/layout/orgChart1"/>
    <dgm:cxn modelId="{FDEB83A8-30C7-4E69-8555-B8048EA850F9}" type="presParOf" srcId="{87B4760D-4446-E049-BFC5-97A9968A542F}" destId="{55567E57-95E7-5743-B968-CD461A8E1DD2}" srcOrd="2" destOrd="0" presId="urn:microsoft.com/office/officeart/2005/8/layout/orgChart1"/>
    <dgm:cxn modelId="{E55BE9FB-54C6-4E36-BEB1-682A04382BD2}" type="presParOf" srcId="{D8EE5E22-2E83-924B-9F68-82CCD07B16D1}" destId="{1B364D19-8097-2040-95E2-3910D1C2305B}" srcOrd="4" destOrd="0" presId="urn:microsoft.com/office/officeart/2005/8/layout/orgChart1"/>
    <dgm:cxn modelId="{BFCE4CAF-BDC1-4111-8BB6-2974CC9AAE26}" type="presParOf" srcId="{D8EE5E22-2E83-924B-9F68-82CCD07B16D1}" destId="{99DC667C-8F5D-F242-820B-643FE1B52162}" srcOrd="5" destOrd="0" presId="urn:microsoft.com/office/officeart/2005/8/layout/orgChart1"/>
    <dgm:cxn modelId="{FBF9A396-20BB-4C80-9DC1-DE209295F687}" type="presParOf" srcId="{99DC667C-8F5D-F242-820B-643FE1B52162}" destId="{4244D02C-7ACD-A142-8946-A3F8793FEFFD}" srcOrd="0" destOrd="0" presId="urn:microsoft.com/office/officeart/2005/8/layout/orgChart1"/>
    <dgm:cxn modelId="{3A6572FF-1E1C-43B8-8661-4CB1929E5D84}" type="presParOf" srcId="{4244D02C-7ACD-A142-8946-A3F8793FEFFD}" destId="{B6F890C9-8E1B-BA4F-9375-90B45AFBE926}" srcOrd="0" destOrd="0" presId="urn:microsoft.com/office/officeart/2005/8/layout/orgChart1"/>
    <dgm:cxn modelId="{9109DEF5-C866-442C-BC64-EEAFAA69B9B0}" type="presParOf" srcId="{4244D02C-7ACD-A142-8946-A3F8793FEFFD}" destId="{01EFBC2B-89E3-4B4A-8672-7C0301C1F83D}" srcOrd="1" destOrd="0" presId="urn:microsoft.com/office/officeart/2005/8/layout/orgChart1"/>
    <dgm:cxn modelId="{CDC71FA1-E17B-40E4-9965-D1C2FC5966D1}" type="presParOf" srcId="{99DC667C-8F5D-F242-820B-643FE1B52162}" destId="{C8E9FBB7-AE8E-8545-BEF2-91AA2C4679B9}" srcOrd="1" destOrd="0" presId="urn:microsoft.com/office/officeart/2005/8/layout/orgChart1"/>
    <dgm:cxn modelId="{E5866B2A-5FDF-43C6-9285-E200CE232FED}" type="presParOf" srcId="{99DC667C-8F5D-F242-820B-643FE1B52162}" destId="{70067D2C-35A0-5A4A-A83D-6B53588BFC9A}" srcOrd="2" destOrd="0" presId="urn:microsoft.com/office/officeart/2005/8/layout/orgChart1"/>
    <dgm:cxn modelId="{9B19B545-CA01-418D-9148-12168212D020}" type="presParOf" srcId="{D8EE5E22-2E83-924B-9F68-82CCD07B16D1}" destId="{769F42C5-5B71-2441-B129-D48A8E3BC260}" srcOrd="6" destOrd="0" presId="urn:microsoft.com/office/officeart/2005/8/layout/orgChart1"/>
    <dgm:cxn modelId="{AC63B630-D05E-455C-A98C-DD830CB871F1}" type="presParOf" srcId="{D8EE5E22-2E83-924B-9F68-82CCD07B16D1}" destId="{9E3F6BBE-40E6-F141-8CD4-C359E183F456}" srcOrd="7" destOrd="0" presId="urn:microsoft.com/office/officeart/2005/8/layout/orgChart1"/>
    <dgm:cxn modelId="{9DACDD2D-1E09-4BA2-9EF8-6741E3CDB1A9}" type="presParOf" srcId="{9E3F6BBE-40E6-F141-8CD4-C359E183F456}" destId="{5ACEF565-1F05-C04D-838B-9E7735CB9E4A}" srcOrd="0" destOrd="0" presId="urn:microsoft.com/office/officeart/2005/8/layout/orgChart1"/>
    <dgm:cxn modelId="{1D4B5DE8-69DA-48A3-9764-CAE13F75F389}" type="presParOf" srcId="{5ACEF565-1F05-C04D-838B-9E7735CB9E4A}" destId="{961982EB-D928-8C4B-91FE-EDA56851AE8A}" srcOrd="0" destOrd="0" presId="urn:microsoft.com/office/officeart/2005/8/layout/orgChart1"/>
    <dgm:cxn modelId="{DD1E4C4F-DC89-42B5-8657-A6BB665CC287}" type="presParOf" srcId="{5ACEF565-1F05-C04D-838B-9E7735CB9E4A}" destId="{6EE57160-03F6-9A4A-A031-4822BBDF2E7E}" srcOrd="1" destOrd="0" presId="urn:microsoft.com/office/officeart/2005/8/layout/orgChart1"/>
    <dgm:cxn modelId="{CF83DAA4-D0AC-4082-A157-B366ED6AF8AA}" type="presParOf" srcId="{9E3F6BBE-40E6-F141-8CD4-C359E183F456}" destId="{24905D02-BBC1-7B4F-A218-F2332C91FC8E}" srcOrd="1" destOrd="0" presId="urn:microsoft.com/office/officeart/2005/8/layout/orgChart1"/>
    <dgm:cxn modelId="{14B60423-0A9C-46CB-879F-B56C22657857}" type="presParOf" srcId="{9E3F6BBE-40E6-F141-8CD4-C359E183F456}" destId="{D936CB8A-D841-344C-B279-F2024742A3CB}" srcOrd="2" destOrd="0" presId="urn:microsoft.com/office/officeart/2005/8/layout/orgChart1"/>
    <dgm:cxn modelId="{CB1AB295-B893-4BB5-9DD5-BE2BC010BA1E}" type="presParOf" srcId="{AFDA1189-85B7-9448-A6BF-427E02D95FC4}" destId="{23312B94-6B2F-204F-94A2-EA958D60C527}" srcOrd="2" destOrd="0" presId="urn:microsoft.com/office/officeart/2005/8/layout/orgChart1"/>
    <dgm:cxn modelId="{47AF4402-0E49-49B3-B3FE-8C16D1EAAB1C}" type="presParOf" srcId="{2BCC09C6-1184-AE4E-8FBA-4DD4A8378FB4}" destId="{1D12D694-B674-F042-9CCE-AD0895F2E5C7}" srcOrd="2" destOrd="0" presId="urn:microsoft.com/office/officeart/2005/8/layout/orgChart1"/>
  </dgm:cxnLst>
  <dgm:bg>
    <a:noFill/>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B9AE89-2A78-A049-8082-FBB3C211A2CA}" type="doc">
      <dgm:prSet loTypeId="urn:microsoft.com/office/officeart/2005/8/layout/orgChart1" loCatId="" qsTypeId="urn:microsoft.com/office/officeart/2005/8/quickstyle/simple2" qsCatId="simple" csTypeId="urn:microsoft.com/office/officeart/2005/8/colors/accent3_2" csCatId="accent3" phldr="1"/>
      <dgm:spPr/>
      <dgm:t>
        <a:bodyPr/>
        <a:lstStyle/>
        <a:p>
          <a:endParaRPr lang="pt-BR"/>
        </a:p>
      </dgm:t>
    </dgm:pt>
    <dgm:pt modelId="{DF80EC44-A921-F346-AC90-BEB6F403F14A}">
      <dgm:prSet phldrT="[Texto]" custT="1"/>
      <dgm:spPr>
        <a:noFill/>
        <a:ln>
          <a:solidFill>
            <a:srgbClr val="FF9701"/>
          </a:solidFill>
        </a:ln>
        <a:effectLst/>
      </dgm:spPr>
      <dgm:t>
        <a:bodyPr/>
        <a:lstStyle/>
        <a:p>
          <a:r>
            <a:rPr lang="pt-BR" sz="2500" dirty="0">
              <a:solidFill>
                <a:schemeClr val="tx1"/>
              </a:solidFill>
            </a:rPr>
            <a:t>crit</a:t>
          </a:r>
          <a:r>
            <a:rPr lang="en-US" sz="2500" dirty="0">
              <a:solidFill>
                <a:schemeClr val="tx1"/>
              </a:solidFill>
            </a:rPr>
            <a:t>érios de avaliação</a:t>
          </a:r>
          <a:endParaRPr lang="pt-BR" sz="2500" dirty="0">
            <a:solidFill>
              <a:schemeClr val="tx1"/>
            </a:solidFill>
          </a:endParaRPr>
        </a:p>
      </dgm:t>
    </dgm:pt>
    <dgm:pt modelId="{3A9D19AB-C5DC-6946-BC10-745EC526542C}" type="parTrans" cxnId="{69A6ADB4-1365-8D44-8EB2-9D956E96D851}">
      <dgm:prSet/>
      <dgm:spPr/>
      <dgm:t>
        <a:bodyPr/>
        <a:lstStyle/>
        <a:p>
          <a:endParaRPr lang="pt-BR" sz="2500"/>
        </a:p>
      </dgm:t>
    </dgm:pt>
    <dgm:pt modelId="{017320D5-09B3-A842-A10D-44495B84228E}" type="sibTrans" cxnId="{69A6ADB4-1365-8D44-8EB2-9D956E96D851}">
      <dgm:prSet/>
      <dgm:spPr/>
      <dgm:t>
        <a:bodyPr/>
        <a:lstStyle/>
        <a:p>
          <a:endParaRPr lang="pt-BR" sz="2500"/>
        </a:p>
      </dgm:t>
    </dgm:pt>
    <dgm:pt modelId="{2EDB4D0E-B7BA-4A44-8046-29F2B7D53C64}">
      <dgm:prSet phldrT="[Texto]" custT="1"/>
      <dgm:spPr>
        <a:noFill/>
        <a:ln>
          <a:solidFill>
            <a:srgbClr val="20D6EC"/>
          </a:solidFill>
        </a:ln>
        <a:effectLst/>
      </dgm:spPr>
      <dgm:t>
        <a:bodyPr/>
        <a:lstStyle/>
        <a:p>
          <a:r>
            <a:rPr lang="pt-BR" sz="2500" dirty="0">
              <a:solidFill>
                <a:schemeClr val="tx1"/>
              </a:solidFill>
            </a:rPr>
            <a:t>financeiros</a:t>
          </a:r>
        </a:p>
      </dgm:t>
    </dgm:pt>
    <dgm:pt modelId="{4874E91F-0F5C-6846-AE3D-49669047FD13}" type="parTrans" cxnId="{5FBAE68D-CF73-0347-B9F9-6D3108B1DAF4}">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B9EF7246-FCAA-0C44-B08A-647BFD23D2B6}" type="sibTrans" cxnId="{5FBAE68D-CF73-0347-B9F9-6D3108B1DAF4}">
      <dgm:prSet/>
      <dgm:spPr/>
      <dgm:t>
        <a:bodyPr/>
        <a:lstStyle/>
        <a:p>
          <a:endParaRPr lang="pt-BR" sz="2500"/>
        </a:p>
      </dgm:t>
    </dgm:pt>
    <dgm:pt modelId="{ADE7405B-3B1E-754C-BFC4-9D59978AFC06}">
      <dgm:prSet phldrT="[Texto]" custT="1"/>
      <dgm:spPr>
        <a:noFill/>
        <a:ln>
          <a:solidFill>
            <a:srgbClr val="20D6EC"/>
          </a:solidFill>
        </a:ln>
        <a:effectLst/>
      </dgm:spPr>
      <dgm:t>
        <a:bodyPr/>
        <a:lstStyle/>
        <a:p>
          <a:r>
            <a:rPr lang="pt-BR" sz="2500" dirty="0">
              <a:solidFill>
                <a:schemeClr val="tx1"/>
              </a:solidFill>
            </a:rPr>
            <a:t>aumentar a receita</a:t>
          </a:r>
        </a:p>
      </dgm:t>
    </dgm:pt>
    <dgm:pt modelId="{995D0CDA-CA33-3C4A-8B6C-5CBB144D5776}" type="parTrans" cxnId="{B34B09C7-A11C-B243-9CF5-8E9098AE184D}">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7A79C18B-4DB4-114C-847A-E6C670818186}" type="sibTrans" cxnId="{B34B09C7-A11C-B243-9CF5-8E9098AE184D}">
      <dgm:prSet/>
      <dgm:spPr/>
      <dgm:t>
        <a:bodyPr/>
        <a:lstStyle/>
        <a:p>
          <a:endParaRPr lang="pt-BR" sz="2500"/>
        </a:p>
      </dgm:t>
    </dgm:pt>
    <dgm:pt modelId="{AB99EB8B-BB6D-1E40-BAD3-7585229BD6BE}">
      <dgm:prSet phldrT="[Texto]" custT="1"/>
      <dgm:spPr>
        <a:noFill/>
        <a:ln>
          <a:solidFill>
            <a:srgbClr val="20D6EC"/>
          </a:solidFill>
        </a:ln>
        <a:effectLst/>
      </dgm:spPr>
      <dgm:t>
        <a:bodyPr/>
        <a:lstStyle/>
        <a:p>
          <a:r>
            <a:rPr lang="pt-BR" sz="2400" dirty="0">
              <a:solidFill>
                <a:schemeClr val="tx1"/>
              </a:solidFill>
            </a:rPr>
            <a:t>aumentar a satisfa</a:t>
          </a:r>
          <a:r>
            <a:rPr lang="en-US" sz="2400" dirty="0">
              <a:solidFill>
                <a:schemeClr val="tx1"/>
              </a:solidFill>
            </a:rPr>
            <a:t>ção dos clientes</a:t>
          </a:r>
          <a:endParaRPr lang="pt-BR" sz="2400" dirty="0">
            <a:solidFill>
              <a:schemeClr val="tx1"/>
            </a:solidFill>
          </a:endParaRPr>
        </a:p>
      </dgm:t>
    </dgm:pt>
    <dgm:pt modelId="{15C3EF0F-64D3-3C40-BC44-E7196342BFF9}" type="parTrans" cxnId="{C8CB8F79-7B66-1848-86E9-8508716CC29C}">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92F4844D-14E7-A34D-ADFF-8614B7B14D11}" type="sibTrans" cxnId="{C8CB8F79-7B66-1848-86E9-8508716CC29C}">
      <dgm:prSet/>
      <dgm:spPr/>
      <dgm:t>
        <a:bodyPr/>
        <a:lstStyle/>
        <a:p>
          <a:endParaRPr lang="pt-BR" sz="2500"/>
        </a:p>
      </dgm:t>
    </dgm:pt>
    <dgm:pt modelId="{667BAC05-B59B-2842-96AB-1C9DF40F5D37}">
      <dgm:prSet phldrT="[Texto]" custT="1"/>
      <dgm:spPr>
        <a:noFill/>
        <a:ln>
          <a:solidFill>
            <a:srgbClr val="20D6EC"/>
          </a:solidFill>
        </a:ln>
        <a:effectLst/>
      </dgm:spPr>
      <dgm:t>
        <a:bodyPr/>
        <a:lstStyle/>
        <a:p>
          <a:r>
            <a:rPr lang="pt-BR" sz="2500" dirty="0">
              <a:solidFill>
                <a:schemeClr val="tx1"/>
              </a:solidFill>
            </a:rPr>
            <a:t>VPL</a:t>
          </a:r>
        </a:p>
      </dgm:t>
    </dgm:pt>
    <dgm:pt modelId="{3FD3ADB0-A0B8-CF4F-BE52-524B9F30F03A}" type="parTrans" cxnId="{1BFE1842-798E-E24C-8B4A-67C699AAB08E}">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3B05A6C7-44B5-DC44-99D3-39537692477C}" type="sibTrans" cxnId="{1BFE1842-798E-E24C-8B4A-67C699AAB08E}">
      <dgm:prSet/>
      <dgm:spPr/>
      <dgm:t>
        <a:bodyPr/>
        <a:lstStyle/>
        <a:p>
          <a:endParaRPr lang="pt-BR" sz="2500"/>
        </a:p>
      </dgm:t>
    </dgm:pt>
    <dgm:pt modelId="{AF238596-47FF-D24A-AD38-E1E4E3BA1722}">
      <dgm:prSet phldrT="[Texto]" custT="1"/>
      <dgm:spPr>
        <a:noFill/>
        <a:ln>
          <a:solidFill>
            <a:srgbClr val="20D6EC"/>
          </a:solidFill>
        </a:ln>
        <a:effectLst/>
      </dgm:spPr>
      <dgm:t>
        <a:bodyPr/>
        <a:lstStyle/>
        <a:p>
          <a:r>
            <a:rPr lang="pt-BR" sz="2500" dirty="0">
              <a:solidFill>
                <a:schemeClr val="tx1"/>
              </a:solidFill>
            </a:rPr>
            <a:t>ROI</a:t>
          </a:r>
        </a:p>
      </dgm:t>
    </dgm:pt>
    <dgm:pt modelId="{D1AACFC0-4F71-D348-85E8-D7274B7C8097}" type="parTrans" cxnId="{C3433FE1-1F70-6742-942D-2CE051688A4C}">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1AC5A9A1-858E-2249-AEF0-0B6FE6D90DAE}" type="sibTrans" cxnId="{C3433FE1-1F70-6742-942D-2CE051688A4C}">
      <dgm:prSet/>
      <dgm:spPr/>
      <dgm:t>
        <a:bodyPr/>
        <a:lstStyle/>
        <a:p>
          <a:endParaRPr lang="pt-BR" sz="2500"/>
        </a:p>
      </dgm:t>
    </dgm:pt>
    <dgm:pt modelId="{5C5B10B9-05D4-DC45-BA87-E724AE53C8F0}">
      <dgm:prSet phldrT="[Texto]" custT="1"/>
      <dgm:spPr>
        <a:noFill/>
        <a:ln>
          <a:solidFill>
            <a:srgbClr val="20D6EC"/>
          </a:solidFill>
        </a:ln>
        <a:effectLst/>
      </dgm:spPr>
      <dgm:t>
        <a:bodyPr/>
        <a:lstStyle/>
        <a:p>
          <a:r>
            <a:rPr lang="pt-BR" sz="2500" dirty="0">
              <a:solidFill>
                <a:schemeClr val="tx1"/>
              </a:solidFill>
            </a:rPr>
            <a:t>estrat</a:t>
          </a:r>
          <a:r>
            <a:rPr lang="en-US" sz="2500" dirty="0">
              <a:solidFill>
                <a:schemeClr val="tx1"/>
              </a:solidFill>
            </a:rPr>
            <a:t>égicos</a:t>
          </a:r>
          <a:endParaRPr lang="pt-BR" sz="2500" dirty="0">
            <a:solidFill>
              <a:schemeClr val="tx1"/>
            </a:solidFill>
          </a:endParaRPr>
        </a:p>
      </dgm:t>
    </dgm:pt>
    <dgm:pt modelId="{96F91ED0-E513-0A44-8235-62268A90CA7D}" type="parTrans" cxnId="{4E0E0BC0-D1A3-3741-8D6C-D93070F73252}">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92A54CDA-25E0-664C-833B-DB7996C4E785}" type="sibTrans" cxnId="{4E0E0BC0-D1A3-3741-8D6C-D93070F73252}">
      <dgm:prSet/>
      <dgm:spPr/>
      <dgm:t>
        <a:bodyPr/>
        <a:lstStyle/>
        <a:p>
          <a:endParaRPr lang="pt-BR" sz="2500"/>
        </a:p>
      </dgm:t>
    </dgm:pt>
    <dgm:pt modelId="{5278B037-CCBE-DA43-A58A-16272F395F57}">
      <dgm:prSet phldrT="[Texto]" custT="1"/>
      <dgm:spPr>
        <a:noFill/>
        <a:ln>
          <a:solidFill>
            <a:srgbClr val="20D6EC"/>
          </a:solidFill>
        </a:ln>
        <a:effectLst/>
      </dgm:spPr>
      <dgm:t>
        <a:bodyPr/>
        <a:lstStyle/>
        <a:p>
          <a:r>
            <a:rPr lang="pt-BR" sz="2400" dirty="0">
              <a:solidFill>
                <a:schemeClr val="tx1"/>
              </a:solidFill>
            </a:rPr>
            <a:t>aumentar a lucratividade</a:t>
          </a:r>
        </a:p>
      </dgm:t>
    </dgm:pt>
    <dgm:pt modelId="{F0FB6109-ACE8-C149-AB01-2AF2DAEC781F}" type="parTrans" cxnId="{45A5E5B8-87F7-F942-92B3-DAEA38D1B1DF}">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036032A8-7318-5B47-9B90-CFDB1C7152C5}" type="sibTrans" cxnId="{45A5E5B8-87F7-F942-92B3-DAEA38D1B1DF}">
      <dgm:prSet/>
      <dgm:spPr/>
      <dgm:t>
        <a:bodyPr/>
        <a:lstStyle/>
        <a:p>
          <a:endParaRPr lang="pt-BR" sz="2500"/>
        </a:p>
      </dgm:t>
    </dgm:pt>
    <dgm:pt modelId="{C5D80CCC-8D64-9F49-9A63-361DD0D1E2B7}">
      <dgm:prSet phldrT="[Texto]" custT="1"/>
      <dgm:spPr>
        <a:noFill/>
        <a:ln>
          <a:solidFill>
            <a:srgbClr val="20D6EC"/>
          </a:solidFill>
        </a:ln>
        <a:effectLst/>
      </dgm:spPr>
      <dgm:t>
        <a:bodyPr/>
        <a:lstStyle/>
        <a:p>
          <a:r>
            <a:rPr lang="pt-BR" sz="2400" dirty="0">
              <a:solidFill>
                <a:schemeClr val="tx1"/>
              </a:solidFill>
            </a:rPr>
            <a:t>aumentar a satisfa</a:t>
          </a:r>
          <a:r>
            <a:rPr lang="en-US" sz="2400" dirty="0">
              <a:solidFill>
                <a:schemeClr val="tx1"/>
              </a:solidFill>
            </a:rPr>
            <a:t>ção dos colaboradores</a:t>
          </a:r>
          <a:endParaRPr lang="pt-BR" sz="2400" dirty="0">
            <a:solidFill>
              <a:schemeClr val="tx1"/>
            </a:solidFill>
          </a:endParaRPr>
        </a:p>
      </dgm:t>
    </dgm:pt>
    <dgm:pt modelId="{A5E8D726-0A5F-D646-9D06-2B4B69B1035A}" type="parTrans" cxnId="{A3898DD2-45B9-EE4B-9B8E-21592FFA877C}">
      <dgm:prSet>
        <dgm:style>
          <a:lnRef idx="1">
            <a:schemeClr val="accent6"/>
          </a:lnRef>
          <a:fillRef idx="0">
            <a:schemeClr val="accent6"/>
          </a:fillRef>
          <a:effectRef idx="0">
            <a:schemeClr val="accent6"/>
          </a:effectRef>
          <a:fontRef idx="minor">
            <a:schemeClr val="tx1"/>
          </a:fontRef>
        </dgm:style>
      </dgm:prSet>
      <dgm:spPr>
        <a:ln>
          <a:solidFill>
            <a:schemeClr val="bg1">
              <a:lumMod val="65000"/>
            </a:schemeClr>
          </a:solidFill>
        </a:ln>
      </dgm:spPr>
      <dgm:t>
        <a:bodyPr/>
        <a:lstStyle/>
        <a:p>
          <a:endParaRPr lang="pt-BR" sz="2500"/>
        </a:p>
      </dgm:t>
    </dgm:pt>
    <dgm:pt modelId="{384BDF2B-54BD-2044-9F79-C2E77AC4851C}" type="sibTrans" cxnId="{A3898DD2-45B9-EE4B-9B8E-21592FFA877C}">
      <dgm:prSet/>
      <dgm:spPr/>
      <dgm:t>
        <a:bodyPr/>
        <a:lstStyle/>
        <a:p>
          <a:endParaRPr lang="pt-BR" sz="2500"/>
        </a:p>
      </dgm:t>
    </dgm:pt>
    <dgm:pt modelId="{40058514-B40F-EE4F-A552-038D020B81CB}" type="pres">
      <dgm:prSet presAssocID="{88B9AE89-2A78-A049-8082-FBB3C211A2CA}" presName="hierChild1" presStyleCnt="0">
        <dgm:presLayoutVars>
          <dgm:orgChart val="1"/>
          <dgm:chPref val="1"/>
          <dgm:dir/>
          <dgm:animOne val="branch"/>
          <dgm:animLvl val="lvl"/>
          <dgm:resizeHandles/>
        </dgm:presLayoutVars>
      </dgm:prSet>
      <dgm:spPr/>
    </dgm:pt>
    <dgm:pt modelId="{36C39730-1F96-8D43-B71C-0EF69901CCEC}" type="pres">
      <dgm:prSet presAssocID="{DF80EC44-A921-F346-AC90-BEB6F403F14A}" presName="hierRoot1" presStyleCnt="0">
        <dgm:presLayoutVars>
          <dgm:hierBranch val="init"/>
        </dgm:presLayoutVars>
      </dgm:prSet>
      <dgm:spPr/>
    </dgm:pt>
    <dgm:pt modelId="{5915ED3C-F150-AA47-A952-7BC450235C92}" type="pres">
      <dgm:prSet presAssocID="{DF80EC44-A921-F346-AC90-BEB6F403F14A}" presName="rootComposite1" presStyleCnt="0"/>
      <dgm:spPr/>
    </dgm:pt>
    <dgm:pt modelId="{22CBC851-397F-1E4B-9B7C-2BA5092EB335}" type="pres">
      <dgm:prSet presAssocID="{DF80EC44-A921-F346-AC90-BEB6F403F14A}" presName="rootText1" presStyleLbl="node0" presStyleIdx="0" presStyleCnt="1" custScaleX="177156" custScaleY="194872" custLinFactNeighborY="5407">
        <dgm:presLayoutVars>
          <dgm:chPref val="3"/>
        </dgm:presLayoutVars>
      </dgm:prSet>
      <dgm:spPr>
        <a:prstGeom prst="rect">
          <a:avLst/>
        </a:prstGeom>
      </dgm:spPr>
    </dgm:pt>
    <dgm:pt modelId="{183C0692-BE73-524C-B7CA-4A58B741BEB5}" type="pres">
      <dgm:prSet presAssocID="{DF80EC44-A921-F346-AC90-BEB6F403F14A}" presName="rootConnector1" presStyleLbl="node1" presStyleIdx="0" presStyleCnt="0"/>
      <dgm:spPr/>
    </dgm:pt>
    <dgm:pt modelId="{91CFF311-1080-954A-93F7-5EF524674620}" type="pres">
      <dgm:prSet presAssocID="{DF80EC44-A921-F346-AC90-BEB6F403F14A}" presName="hierChild2" presStyleCnt="0"/>
      <dgm:spPr/>
    </dgm:pt>
    <dgm:pt modelId="{D4F2288C-FAA1-3B45-AA48-F57136CFAFED}" type="pres">
      <dgm:prSet presAssocID="{4874E91F-0F5C-6846-AE3D-49669047FD13}" presName="Name37" presStyleLbl="parChTrans1D2" presStyleIdx="0" presStyleCnt="2"/>
      <dgm:spPr/>
    </dgm:pt>
    <dgm:pt modelId="{BDD8EC69-0925-884A-B96A-99BA9B5CD628}" type="pres">
      <dgm:prSet presAssocID="{2EDB4D0E-B7BA-4A44-8046-29F2B7D53C64}" presName="hierRoot2" presStyleCnt="0">
        <dgm:presLayoutVars>
          <dgm:hierBranch val="init"/>
        </dgm:presLayoutVars>
      </dgm:prSet>
      <dgm:spPr/>
    </dgm:pt>
    <dgm:pt modelId="{495A6AB0-D7B8-3246-8262-17936C159C10}" type="pres">
      <dgm:prSet presAssocID="{2EDB4D0E-B7BA-4A44-8046-29F2B7D53C64}" presName="rootComposite" presStyleCnt="0"/>
      <dgm:spPr/>
    </dgm:pt>
    <dgm:pt modelId="{EEACAE64-0937-9B49-9F62-91597D391BD7}" type="pres">
      <dgm:prSet presAssocID="{2EDB4D0E-B7BA-4A44-8046-29F2B7D53C64}" presName="rootText" presStyleLbl="node2" presStyleIdx="0" presStyleCnt="2" custScaleX="151051" custScaleY="138516" custLinFactNeighborY="5407">
        <dgm:presLayoutVars>
          <dgm:chPref val="3"/>
        </dgm:presLayoutVars>
      </dgm:prSet>
      <dgm:spPr>
        <a:prstGeom prst="rect">
          <a:avLst/>
        </a:prstGeom>
      </dgm:spPr>
    </dgm:pt>
    <dgm:pt modelId="{A6B5E0A6-4A26-FD45-B386-B30A94B1C4EE}" type="pres">
      <dgm:prSet presAssocID="{2EDB4D0E-B7BA-4A44-8046-29F2B7D53C64}" presName="rootConnector" presStyleLbl="node2" presStyleIdx="0" presStyleCnt="2"/>
      <dgm:spPr/>
    </dgm:pt>
    <dgm:pt modelId="{D3BC2260-1B85-234C-AC82-FF26CA57DED9}" type="pres">
      <dgm:prSet presAssocID="{2EDB4D0E-B7BA-4A44-8046-29F2B7D53C64}" presName="hierChild4" presStyleCnt="0"/>
      <dgm:spPr/>
    </dgm:pt>
    <dgm:pt modelId="{4D89C916-5A15-D740-8964-69657E206D42}" type="pres">
      <dgm:prSet presAssocID="{3FD3ADB0-A0B8-CF4F-BE52-524B9F30F03A}" presName="Name37" presStyleLbl="parChTrans1D3" presStyleIdx="0" presStyleCnt="6"/>
      <dgm:spPr/>
    </dgm:pt>
    <dgm:pt modelId="{E19E0AC0-A6E6-E347-B6F7-A1D2143C8A21}" type="pres">
      <dgm:prSet presAssocID="{667BAC05-B59B-2842-96AB-1C9DF40F5D37}" presName="hierRoot2" presStyleCnt="0">
        <dgm:presLayoutVars>
          <dgm:hierBranch val="init"/>
        </dgm:presLayoutVars>
      </dgm:prSet>
      <dgm:spPr/>
    </dgm:pt>
    <dgm:pt modelId="{77D62C5A-4613-ED42-8834-DB687CB0DE56}" type="pres">
      <dgm:prSet presAssocID="{667BAC05-B59B-2842-96AB-1C9DF40F5D37}" presName="rootComposite" presStyleCnt="0"/>
      <dgm:spPr/>
    </dgm:pt>
    <dgm:pt modelId="{E2AABDDD-72E8-3543-9E50-56A7AEBE9644}" type="pres">
      <dgm:prSet presAssocID="{667BAC05-B59B-2842-96AB-1C9DF40F5D37}" presName="rootText" presStyleLbl="node3" presStyleIdx="0" presStyleCnt="6" custScaleX="97051" custScaleY="194872" custLinFactNeighborY="5407">
        <dgm:presLayoutVars>
          <dgm:chPref val="3"/>
        </dgm:presLayoutVars>
      </dgm:prSet>
      <dgm:spPr>
        <a:prstGeom prst="rect">
          <a:avLst/>
        </a:prstGeom>
      </dgm:spPr>
    </dgm:pt>
    <dgm:pt modelId="{BE711B55-1746-4F43-AC68-8328B3A748CA}" type="pres">
      <dgm:prSet presAssocID="{667BAC05-B59B-2842-96AB-1C9DF40F5D37}" presName="rootConnector" presStyleLbl="node3" presStyleIdx="0" presStyleCnt="6"/>
      <dgm:spPr/>
    </dgm:pt>
    <dgm:pt modelId="{89504AD2-5024-8042-BFF6-45A2F6979531}" type="pres">
      <dgm:prSet presAssocID="{667BAC05-B59B-2842-96AB-1C9DF40F5D37}" presName="hierChild4" presStyleCnt="0"/>
      <dgm:spPr/>
    </dgm:pt>
    <dgm:pt modelId="{C15F2059-2EBB-B04C-A393-E1ECBBBAAFEB}" type="pres">
      <dgm:prSet presAssocID="{667BAC05-B59B-2842-96AB-1C9DF40F5D37}" presName="hierChild5" presStyleCnt="0"/>
      <dgm:spPr/>
    </dgm:pt>
    <dgm:pt modelId="{17891E95-6287-0246-B080-2A9222C4089A}" type="pres">
      <dgm:prSet presAssocID="{D1AACFC0-4F71-D348-85E8-D7274B7C8097}" presName="Name37" presStyleLbl="parChTrans1D3" presStyleIdx="1" presStyleCnt="6"/>
      <dgm:spPr/>
    </dgm:pt>
    <dgm:pt modelId="{364FC4FF-A955-DE42-B2B1-894C14B5F262}" type="pres">
      <dgm:prSet presAssocID="{AF238596-47FF-D24A-AD38-E1E4E3BA1722}" presName="hierRoot2" presStyleCnt="0">
        <dgm:presLayoutVars>
          <dgm:hierBranch val="init"/>
        </dgm:presLayoutVars>
      </dgm:prSet>
      <dgm:spPr/>
    </dgm:pt>
    <dgm:pt modelId="{D1972A40-6C2B-C04D-9446-8B7222FB4DE4}" type="pres">
      <dgm:prSet presAssocID="{AF238596-47FF-D24A-AD38-E1E4E3BA1722}" presName="rootComposite" presStyleCnt="0"/>
      <dgm:spPr/>
    </dgm:pt>
    <dgm:pt modelId="{CA92B3CD-3A1F-9E4E-9BA0-EC9EEFDE6E2E}" type="pres">
      <dgm:prSet presAssocID="{AF238596-47FF-D24A-AD38-E1E4E3BA1722}" presName="rootText" presStyleLbl="node3" presStyleIdx="1" presStyleCnt="6" custScaleX="97051" custScaleY="194872" custLinFactNeighborY="5407">
        <dgm:presLayoutVars>
          <dgm:chPref val="3"/>
        </dgm:presLayoutVars>
      </dgm:prSet>
      <dgm:spPr>
        <a:prstGeom prst="rect">
          <a:avLst/>
        </a:prstGeom>
      </dgm:spPr>
    </dgm:pt>
    <dgm:pt modelId="{6AF2EEC6-2E99-5942-A77C-66BBC945935D}" type="pres">
      <dgm:prSet presAssocID="{AF238596-47FF-D24A-AD38-E1E4E3BA1722}" presName="rootConnector" presStyleLbl="node3" presStyleIdx="1" presStyleCnt="6"/>
      <dgm:spPr/>
    </dgm:pt>
    <dgm:pt modelId="{6850DFD3-49C1-A649-821E-8FC21D2A0F6A}" type="pres">
      <dgm:prSet presAssocID="{AF238596-47FF-D24A-AD38-E1E4E3BA1722}" presName="hierChild4" presStyleCnt="0"/>
      <dgm:spPr/>
    </dgm:pt>
    <dgm:pt modelId="{907F81C5-66A4-D543-8052-D8A034FC3062}" type="pres">
      <dgm:prSet presAssocID="{AF238596-47FF-D24A-AD38-E1E4E3BA1722}" presName="hierChild5" presStyleCnt="0"/>
      <dgm:spPr/>
    </dgm:pt>
    <dgm:pt modelId="{685AB591-F760-A745-BC4B-39183A7AC14D}" type="pres">
      <dgm:prSet presAssocID="{2EDB4D0E-B7BA-4A44-8046-29F2B7D53C64}" presName="hierChild5" presStyleCnt="0"/>
      <dgm:spPr/>
    </dgm:pt>
    <dgm:pt modelId="{0F159072-5EE5-F142-95B4-46E74D2E6BD7}" type="pres">
      <dgm:prSet presAssocID="{96F91ED0-E513-0A44-8235-62268A90CA7D}" presName="Name37" presStyleLbl="parChTrans1D2" presStyleIdx="1" presStyleCnt="2"/>
      <dgm:spPr/>
    </dgm:pt>
    <dgm:pt modelId="{FED59985-849C-DB40-8B88-3784A46B0C41}" type="pres">
      <dgm:prSet presAssocID="{5C5B10B9-05D4-DC45-BA87-E724AE53C8F0}" presName="hierRoot2" presStyleCnt="0">
        <dgm:presLayoutVars>
          <dgm:hierBranch val="init"/>
        </dgm:presLayoutVars>
      </dgm:prSet>
      <dgm:spPr/>
    </dgm:pt>
    <dgm:pt modelId="{F0EFC429-452D-2643-9B25-C4E454F1B1A7}" type="pres">
      <dgm:prSet presAssocID="{5C5B10B9-05D4-DC45-BA87-E724AE53C8F0}" presName="rootComposite" presStyleCnt="0"/>
      <dgm:spPr/>
    </dgm:pt>
    <dgm:pt modelId="{642DB7AE-F457-9A4C-8B5D-AC43A9C732A4}" type="pres">
      <dgm:prSet presAssocID="{5C5B10B9-05D4-DC45-BA87-E724AE53C8F0}" presName="rootText" presStyleLbl="node2" presStyleIdx="1" presStyleCnt="2" custScaleX="199343" custScaleY="138516" custLinFactNeighborY="5407">
        <dgm:presLayoutVars>
          <dgm:chPref val="3"/>
        </dgm:presLayoutVars>
      </dgm:prSet>
      <dgm:spPr/>
    </dgm:pt>
    <dgm:pt modelId="{11B5A45A-338F-774B-988C-D7EF07F1586F}" type="pres">
      <dgm:prSet presAssocID="{5C5B10B9-05D4-DC45-BA87-E724AE53C8F0}" presName="rootConnector" presStyleLbl="node2" presStyleIdx="1" presStyleCnt="2"/>
      <dgm:spPr/>
    </dgm:pt>
    <dgm:pt modelId="{D8D6A34A-F8AF-6F4A-9E59-23E812D565D7}" type="pres">
      <dgm:prSet presAssocID="{5C5B10B9-05D4-DC45-BA87-E724AE53C8F0}" presName="hierChild4" presStyleCnt="0"/>
      <dgm:spPr/>
    </dgm:pt>
    <dgm:pt modelId="{7D618311-1AE4-E24A-A50B-C32F047C3E95}" type="pres">
      <dgm:prSet presAssocID="{995D0CDA-CA33-3C4A-8B6C-5CBB144D5776}" presName="Name37" presStyleLbl="parChTrans1D3" presStyleIdx="2" presStyleCnt="6"/>
      <dgm:spPr/>
    </dgm:pt>
    <dgm:pt modelId="{18F582C0-0DA8-0544-B02B-956CBA5C1177}" type="pres">
      <dgm:prSet presAssocID="{ADE7405B-3B1E-754C-BFC4-9D59978AFC06}" presName="hierRoot2" presStyleCnt="0">
        <dgm:presLayoutVars>
          <dgm:hierBranch val="init"/>
        </dgm:presLayoutVars>
      </dgm:prSet>
      <dgm:spPr/>
    </dgm:pt>
    <dgm:pt modelId="{FA2F46A4-3449-444A-A2E6-CB238EC2DD9A}" type="pres">
      <dgm:prSet presAssocID="{ADE7405B-3B1E-754C-BFC4-9D59978AFC06}" presName="rootComposite" presStyleCnt="0"/>
      <dgm:spPr/>
    </dgm:pt>
    <dgm:pt modelId="{371421CD-556A-8843-B53F-ACF9F9801A88}" type="pres">
      <dgm:prSet presAssocID="{ADE7405B-3B1E-754C-BFC4-9D59978AFC06}" presName="rootText" presStyleLbl="node3" presStyleIdx="2" presStyleCnt="6" custScaleX="177156" custScaleY="151232" custLinFactNeighborY="-12095">
        <dgm:presLayoutVars>
          <dgm:chPref val="3"/>
        </dgm:presLayoutVars>
      </dgm:prSet>
      <dgm:spPr>
        <a:prstGeom prst="rect">
          <a:avLst/>
        </a:prstGeom>
      </dgm:spPr>
    </dgm:pt>
    <dgm:pt modelId="{ED8FF0D9-A844-F347-80EB-F7F3C0FA6241}" type="pres">
      <dgm:prSet presAssocID="{ADE7405B-3B1E-754C-BFC4-9D59978AFC06}" presName="rootConnector" presStyleLbl="node3" presStyleIdx="2" presStyleCnt="6"/>
      <dgm:spPr/>
    </dgm:pt>
    <dgm:pt modelId="{EE6FD7EF-8B43-604C-ACAB-20E434A734D2}" type="pres">
      <dgm:prSet presAssocID="{ADE7405B-3B1E-754C-BFC4-9D59978AFC06}" presName="hierChild4" presStyleCnt="0"/>
      <dgm:spPr/>
    </dgm:pt>
    <dgm:pt modelId="{0C6B873F-741D-9A4C-A65B-B5B4BD464B94}" type="pres">
      <dgm:prSet presAssocID="{ADE7405B-3B1E-754C-BFC4-9D59978AFC06}" presName="hierChild5" presStyleCnt="0"/>
      <dgm:spPr/>
    </dgm:pt>
    <dgm:pt modelId="{89A64526-BF24-6D4C-95D5-51EEAA119027}" type="pres">
      <dgm:prSet presAssocID="{F0FB6109-ACE8-C149-AB01-2AF2DAEC781F}" presName="Name37" presStyleLbl="parChTrans1D3" presStyleIdx="3" presStyleCnt="6"/>
      <dgm:spPr/>
    </dgm:pt>
    <dgm:pt modelId="{251E74D5-7151-2B41-927D-DDD5E189040E}" type="pres">
      <dgm:prSet presAssocID="{5278B037-CCBE-DA43-A58A-16272F395F57}" presName="hierRoot2" presStyleCnt="0">
        <dgm:presLayoutVars>
          <dgm:hierBranch val="init"/>
        </dgm:presLayoutVars>
      </dgm:prSet>
      <dgm:spPr/>
    </dgm:pt>
    <dgm:pt modelId="{00D510DA-5F68-E74D-9437-DE63B7584062}" type="pres">
      <dgm:prSet presAssocID="{5278B037-CCBE-DA43-A58A-16272F395F57}" presName="rootComposite" presStyleCnt="0"/>
      <dgm:spPr/>
    </dgm:pt>
    <dgm:pt modelId="{40BCE034-A741-C444-AB3C-A8C05888C26E}" type="pres">
      <dgm:prSet presAssocID="{5278B037-CCBE-DA43-A58A-16272F395F57}" presName="rootText" presStyleLbl="node3" presStyleIdx="3" presStyleCnt="6" custScaleX="177156" custScaleY="151232" custLinFactNeighborX="19" custLinFactNeighborY="-34967">
        <dgm:presLayoutVars>
          <dgm:chPref val="3"/>
        </dgm:presLayoutVars>
      </dgm:prSet>
      <dgm:spPr>
        <a:prstGeom prst="rect">
          <a:avLst/>
        </a:prstGeom>
      </dgm:spPr>
    </dgm:pt>
    <dgm:pt modelId="{967A98EE-865B-1A4E-BADD-AAF6536013D2}" type="pres">
      <dgm:prSet presAssocID="{5278B037-CCBE-DA43-A58A-16272F395F57}" presName="rootConnector" presStyleLbl="node3" presStyleIdx="3" presStyleCnt="6"/>
      <dgm:spPr/>
    </dgm:pt>
    <dgm:pt modelId="{EDD8ECF9-6B7C-8641-A71F-3DAD314B3E05}" type="pres">
      <dgm:prSet presAssocID="{5278B037-CCBE-DA43-A58A-16272F395F57}" presName="hierChild4" presStyleCnt="0"/>
      <dgm:spPr/>
    </dgm:pt>
    <dgm:pt modelId="{99AE3F81-5AD7-5C4F-AB73-271DAE0D8061}" type="pres">
      <dgm:prSet presAssocID="{5278B037-CCBE-DA43-A58A-16272F395F57}" presName="hierChild5" presStyleCnt="0"/>
      <dgm:spPr/>
    </dgm:pt>
    <dgm:pt modelId="{2FAFB58E-084C-9445-92B6-723EFDCB93A1}" type="pres">
      <dgm:prSet presAssocID="{15C3EF0F-64D3-3C40-BC44-E7196342BFF9}" presName="Name37" presStyleLbl="parChTrans1D3" presStyleIdx="4" presStyleCnt="6"/>
      <dgm:spPr/>
    </dgm:pt>
    <dgm:pt modelId="{53B8C76C-17C4-224E-960C-CEBDCA82D158}" type="pres">
      <dgm:prSet presAssocID="{AB99EB8B-BB6D-1E40-BAD3-7585229BD6BE}" presName="hierRoot2" presStyleCnt="0">
        <dgm:presLayoutVars>
          <dgm:hierBranch val="init"/>
        </dgm:presLayoutVars>
      </dgm:prSet>
      <dgm:spPr/>
    </dgm:pt>
    <dgm:pt modelId="{9CE50956-2BA8-2B42-9B46-75D7B01ECA9E}" type="pres">
      <dgm:prSet presAssocID="{AB99EB8B-BB6D-1E40-BAD3-7585229BD6BE}" presName="rootComposite" presStyleCnt="0"/>
      <dgm:spPr/>
    </dgm:pt>
    <dgm:pt modelId="{9FD7DCAC-07B3-7F41-8B49-B9F7955E4BD0}" type="pres">
      <dgm:prSet presAssocID="{AB99EB8B-BB6D-1E40-BAD3-7585229BD6BE}" presName="rootText" presStyleLbl="node3" presStyleIdx="4" presStyleCnt="6" custScaleX="177156" custScaleY="214359" custLinFactNeighborY="-58474">
        <dgm:presLayoutVars>
          <dgm:chPref val="3"/>
        </dgm:presLayoutVars>
      </dgm:prSet>
      <dgm:spPr>
        <a:prstGeom prst="rect">
          <a:avLst/>
        </a:prstGeom>
      </dgm:spPr>
    </dgm:pt>
    <dgm:pt modelId="{D7A5DC96-5D3E-594A-8E75-58177F1C66B9}" type="pres">
      <dgm:prSet presAssocID="{AB99EB8B-BB6D-1E40-BAD3-7585229BD6BE}" presName="rootConnector" presStyleLbl="node3" presStyleIdx="4" presStyleCnt="6"/>
      <dgm:spPr/>
    </dgm:pt>
    <dgm:pt modelId="{14BC64FC-7688-A045-9FF9-1DC4C05DA17D}" type="pres">
      <dgm:prSet presAssocID="{AB99EB8B-BB6D-1E40-BAD3-7585229BD6BE}" presName="hierChild4" presStyleCnt="0"/>
      <dgm:spPr/>
    </dgm:pt>
    <dgm:pt modelId="{B4B09289-37E6-4E44-BAA5-9124BC3A4F0F}" type="pres">
      <dgm:prSet presAssocID="{AB99EB8B-BB6D-1E40-BAD3-7585229BD6BE}" presName="hierChild5" presStyleCnt="0"/>
      <dgm:spPr/>
    </dgm:pt>
    <dgm:pt modelId="{845CA7BD-EC61-D447-8AA1-C4EE9AFA8F54}" type="pres">
      <dgm:prSet presAssocID="{A5E8D726-0A5F-D646-9D06-2B4B69B1035A}" presName="Name37" presStyleLbl="parChTrans1D3" presStyleIdx="5" presStyleCnt="6"/>
      <dgm:spPr/>
    </dgm:pt>
    <dgm:pt modelId="{43602970-F53D-5445-AE14-D73EF9DA784D}" type="pres">
      <dgm:prSet presAssocID="{C5D80CCC-8D64-9F49-9A63-361DD0D1E2B7}" presName="hierRoot2" presStyleCnt="0">
        <dgm:presLayoutVars>
          <dgm:hierBranch val="init"/>
        </dgm:presLayoutVars>
      </dgm:prSet>
      <dgm:spPr/>
    </dgm:pt>
    <dgm:pt modelId="{80636142-4130-F144-B565-024C30C07FBA}" type="pres">
      <dgm:prSet presAssocID="{C5D80CCC-8D64-9F49-9A63-361DD0D1E2B7}" presName="rootComposite" presStyleCnt="0"/>
      <dgm:spPr/>
    </dgm:pt>
    <dgm:pt modelId="{851356E1-84E8-2747-B730-8CF7DC9B33EE}" type="pres">
      <dgm:prSet presAssocID="{C5D80CCC-8D64-9F49-9A63-361DD0D1E2B7}" presName="rootText" presStyleLbl="node3" presStyleIdx="5" presStyleCnt="6" custScaleX="177156" custScaleY="214359" custLinFactNeighborY="-83512">
        <dgm:presLayoutVars>
          <dgm:chPref val="3"/>
        </dgm:presLayoutVars>
      </dgm:prSet>
      <dgm:spPr>
        <a:prstGeom prst="rect">
          <a:avLst/>
        </a:prstGeom>
      </dgm:spPr>
    </dgm:pt>
    <dgm:pt modelId="{ADAC094C-0471-944A-A6DC-84FC1B649FBC}" type="pres">
      <dgm:prSet presAssocID="{C5D80CCC-8D64-9F49-9A63-361DD0D1E2B7}" presName="rootConnector" presStyleLbl="node3" presStyleIdx="5" presStyleCnt="6"/>
      <dgm:spPr/>
    </dgm:pt>
    <dgm:pt modelId="{B9F49E08-6D89-5C4D-8573-73858EC5D199}" type="pres">
      <dgm:prSet presAssocID="{C5D80CCC-8D64-9F49-9A63-361DD0D1E2B7}" presName="hierChild4" presStyleCnt="0"/>
      <dgm:spPr/>
    </dgm:pt>
    <dgm:pt modelId="{7146E793-2D56-1A47-9B9E-323A07E77A5F}" type="pres">
      <dgm:prSet presAssocID="{C5D80CCC-8D64-9F49-9A63-361DD0D1E2B7}" presName="hierChild5" presStyleCnt="0"/>
      <dgm:spPr/>
    </dgm:pt>
    <dgm:pt modelId="{8B184B7D-AE63-AD44-AD75-7AC5653D63A1}" type="pres">
      <dgm:prSet presAssocID="{5C5B10B9-05D4-DC45-BA87-E724AE53C8F0}" presName="hierChild5" presStyleCnt="0"/>
      <dgm:spPr/>
    </dgm:pt>
    <dgm:pt modelId="{5F744E20-C5BE-8847-9FE4-D8055A163878}" type="pres">
      <dgm:prSet presAssocID="{DF80EC44-A921-F346-AC90-BEB6F403F14A}" presName="hierChild3" presStyleCnt="0"/>
      <dgm:spPr/>
    </dgm:pt>
  </dgm:ptLst>
  <dgm:cxnLst>
    <dgm:cxn modelId="{937B1600-2E94-499B-BA7D-48E10557346D}" type="presOf" srcId="{5278B037-CCBE-DA43-A58A-16272F395F57}" destId="{40BCE034-A741-C444-AB3C-A8C05888C26E}" srcOrd="0" destOrd="0" presId="urn:microsoft.com/office/officeart/2005/8/layout/orgChart1"/>
    <dgm:cxn modelId="{2D6C9F0C-2F6B-4740-9D28-33831D4D484D}" type="presOf" srcId="{AF238596-47FF-D24A-AD38-E1E4E3BA1722}" destId="{6AF2EEC6-2E99-5942-A77C-66BBC945935D}" srcOrd="1" destOrd="0" presId="urn:microsoft.com/office/officeart/2005/8/layout/orgChart1"/>
    <dgm:cxn modelId="{1CABED0E-9E42-4560-9EEF-9F0A28F29EFB}" type="presOf" srcId="{5278B037-CCBE-DA43-A58A-16272F395F57}" destId="{967A98EE-865B-1A4E-BADD-AAF6536013D2}" srcOrd="1" destOrd="0" presId="urn:microsoft.com/office/officeart/2005/8/layout/orgChart1"/>
    <dgm:cxn modelId="{A533132D-9C96-4433-B98D-7463704EBF5F}" type="presOf" srcId="{667BAC05-B59B-2842-96AB-1C9DF40F5D37}" destId="{BE711B55-1746-4F43-AC68-8328B3A748CA}" srcOrd="1" destOrd="0" presId="urn:microsoft.com/office/officeart/2005/8/layout/orgChart1"/>
    <dgm:cxn modelId="{C72F872E-0F62-4270-9949-D2F603EA280A}" type="presOf" srcId="{4874E91F-0F5C-6846-AE3D-49669047FD13}" destId="{D4F2288C-FAA1-3B45-AA48-F57136CFAFED}" srcOrd="0" destOrd="0" presId="urn:microsoft.com/office/officeart/2005/8/layout/orgChart1"/>
    <dgm:cxn modelId="{1158942E-EBF3-46C7-BC4C-34F08AB4D3B4}" type="presOf" srcId="{5C5B10B9-05D4-DC45-BA87-E724AE53C8F0}" destId="{642DB7AE-F457-9A4C-8B5D-AC43A9C732A4}" srcOrd="0" destOrd="0" presId="urn:microsoft.com/office/officeart/2005/8/layout/orgChart1"/>
    <dgm:cxn modelId="{3EA74D3C-BC31-4A16-9B9B-D33BFFE5B2AF}" type="presOf" srcId="{ADE7405B-3B1E-754C-BFC4-9D59978AFC06}" destId="{ED8FF0D9-A844-F347-80EB-F7F3C0FA6241}" srcOrd="1" destOrd="0" presId="urn:microsoft.com/office/officeart/2005/8/layout/orgChart1"/>
    <dgm:cxn modelId="{7BBADA5D-4E8F-4B9E-BFA5-35955AA87A0E}" type="presOf" srcId="{15C3EF0F-64D3-3C40-BC44-E7196342BFF9}" destId="{2FAFB58E-084C-9445-92B6-723EFDCB93A1}" srcOrd="0" destOrd="0" presId="urn:microsoft.com/office/officeart/2005/8/layout/orgChart1"/>
    <dgm:cxn modelId="{1BFE1842-798E-E24C-8B4A-67C699AAB08E}" srcId="{2EDB4D0E-B7BA-4A44-8046-29F2B7D53C64}" destId="{667BAC05-B59B-2842-96AB-1C9DF40F5D37}" srcOrd="0" destOrd="0" parTransId="{3FD3ADB0-A0B8-CF4F-BE52-524B9F30F03A}" sibTransId="{3B05A6C7-44B5-DC44-99D3-39537692477C}"/>
    <dgm:cxn modelId="{182AE665-8D32-4320-B089-21E24A6B3D45}" type="presOf" srcId="{AB99EB8B-BB6D-1E40-BAD3-7585229BD6BE}" destId="{D7A5DC96-5D3E-594A-8E75-58177F1C66B9}" srcOrd="1" destOrd="0" presId="urn:microsoft.com/office/officeart/2005/8/layout/orgChart1"/>
    <dgm:cxn modelId="{C5203D68-E044-4BF7-B3C7-0A0A5BCCF190}" type="presOf" srcId="{C5D80CCC-8D64-9F49-9A63-361DD0D1E2B7}" destId="{851356E1-84E8-2747-B730-8CF7DC9B33EE}" srcOrd="0" destOrd="0" presId="urn:microsoft.com/office/officeart/2005/8/layout/orgChart1"/>
    <dgm:cxn modelId="{15C99169-0692-4772-A66A-59DD9D3EE631}" type="presOf" srcId="{667BAC05-B59B-2842-96AB-1C9DF40F5D37}" destId="{E2AABDDD-72E8-3543-9E50-56A7AEBE9644}" srcOrd="0" destOrd="0" presId="urn:microsoft.com/office/officeart/2005/8/layout/orgChart1"/>
    <dgm:cxn modelId="{3BF1FA6A-FA1B-49C1-8F94-C032FBECF746}" type="presOf" srcId="{ADE7405B-3B1E-754C-BFC4-9D59978AFC06}" destId="{371421CD-556A-8843-B53F-ACF9F9801A88}" srcOrd="0" destOrd="0" presId="urn:microsoft.com/office/officeart/2005/8/layout/orgChart1"/>
    <dgm:cxn modelId="{E67B4170-6855-4308-9D17-C6A746B90657}" type="presOf" srcId="{C5D80CCC-8D64-9F49-9A63-361DD0D1E2B7}" destId="{ADAC094C-0471-944A-A6DC-84FC1B649FBC}" srcOrd="1" destOrd="0" presId="urn:microsoft.com/office/officeart/2005/8/layout/orgChart1"/>
    <dgm:cxn modelId="{596C3752-6D11-4838-A998-274A5B932CAC}" type="presOf" srcId="{F0FB6109-ACE8-C149-AB01-2AF2DAEC781F}" destId="{89A64526-BF24-6D4C-95D5-51EEAA119027}" srcOrd="0" destOrd="0" presId="urn:microsoft.com/office/officeart/2005/8/layout/orgChart1"/>
    <dgm:cxn modelId="{C8CB8F79-7B66-1848-86E9-8508716CC29C}" srcId="{5C5B10B9-05D4-DC45-BA87-E724AE53C8F0}" destId="{AB99EB8B-BB6D-1E40-BAD3-7585229BD6BE}" srcOrd="2" destOrd="0" parTransId="{15C3EF0F-64D3-3C40-BC44-E7196342BFF9}" sibTransId="{92F4844D-14E7-A34D-ADFF-8614B7B14D11}"/>
    <dgm:cxn modelId="{78DF537F-699D-4230-B101-B47443109A94}" type="presOf" srcId="{3FD3ADB0-A0B8-CF4F-BE52-524B9F30F03A}" destId="{4D89C916-5A15-D740-8964-69657E206D42}" srcOrd="0" destOrd="0" presId="urn:microsoft.com/office/officeart/2005/8/layout/orgChart1"/>
    <dgm:cxn modelId="{C09F5989-22CA-45A1-A89C-2405C38F3331}" type="presOf" srcId="{A5E8D726-0A5F-D646-9D06-2B4B69B1035A}" destId="{845CA7BD-EC61-D447-8AA1-C4EE9AFA8F54}" srcOrd="0" destOrd="0" presId="urn:microsoft.com/office/officeart/2005/8/layout/orgChart1"/>
    <dgm:cxn modelId="{5FBAE68D-CF73-0347-B9F9-6D3108B1DAF4}" srcId="{DF80EC44-A921-F346-AC90-BEB6F403F14A}" destId="{2EDB4D0E-B7BA-4A44-8046-29F2B7D53C64}" srcOrd="0" destOrd="0" parTransId="{4874E91F-0F5C-6846-AE3D-49669047FD13}" sibTransId="{B9EF7246-FCAA-0C44-B08A-647BFD23D2B6}"/>
    <dgm:cxn modelId="{C643288E-EF36-444C-AC45-5E9A5050FB00}" type="presOf" srcId="{AB99EB8B-BB6D-1E40-BAD3-7585229BD6BE}" destId="{9FD7DCAC-07B3-7F41-8B49-B9F7955E4BD0}" srcOrd="0" destOrd="0" presId="urn:microsoft.com/office/officeart/2005/8/layout/orgChart1"/>
    <dgm:cxn modelId="{028003A7-B74A-44F7-BA4B-A1D0A9D93E71}" type="presOf" srcId="{88B9AE89-2A78-A049-8082-FBB3C211A2CA}" destId="{40058514-B40F-EE4F-A552-038D020B81CB}" srcOrd="0" destOrd="0" presId="urn:microsoft.com/office/officeart/2005/8/layout/orgChart1"/>
    <dgm:cxn modelId="{69A6ADB4-1365-8D44-8EB2-9D956E96D851}" srcId="{88B9AE89-2A78-A049-8082-FBB3C211A2CA}" destId="{DF80EC44-A921-F346-AC90-BEB6F403F14A}" srcOrd="0" destOrd="0" parTransId="{3A9D19AB-C5DC-6946-BC10-745EC526542C}" sibTransId="{017320D5-09B3-A842-A10D-44495B84228E}"/>
    <dgm:cxn modelId="{8B25F3B6-D099-4323-8212-9A06D0C15BAF}" type="presOf" srcId="{5C5B10B9-05D4-DC45-BA87-E724AE53C8F0}" destId="{11B5A45A-338F-774B-988C-D7EF07F1586F}" srcOrd="1" destOrd="0" presId="urn:microsoft.com/office/officeart/2005/8/layout/orgChart1"/>
    <dgm:cxn modelId="{45A5E5B8-87F7-F942-92B3-DAEA38D1B1DF}" srcId="{5C5B10B9-05D4-DC45-BA87-E724AE53C8F0}" destId="{5278B037-CCBE-DA43-A58A-16272F395F57}" srcOrd="1" destOrd="0" parTransId="{F0FB6109-ACE8-C149-AB01-2AF2DAEC781F}" sibTransId="{036032A8-7318-5B47-9B90-CFDB1C7152C5}"/>
    <dgm:cxn modelId="{4E0E0BC0-D1A3-3741-8D6C-D93070F73252}" srcId="{DF80EC44-A921-F346-AC90-BEB6F403F14A}" destId="{5C5B10B9-05D4-DC45-BA87-E724AE53C8F0}" srcOrd="1" destOrd="0" parTransId="{96F91ED0-E513-0A44-8235-62268A90CA7D}" sibTransId="{92A54CDA-25E0-664C-833B-DB7996C4E785}"/>
    <dgm:cxn modelId="{B34B09C7-A11C-B243-9CF5-8E9098AE184D}" srcId="{5C5B10B9-05D4-DC45-BA87-E724AE53C8F0}" destId="{ADE7405B-3B1E-754C-BFC4-9D59978AFC06}" srcOrd="0" destOrd="0" parTransId="{995D0CDA-CA33-3C4A-8B6C-5CBB144D5776}" sibTransId="{7A79C18B-4DB4-114C-847A-E6C670818186}"/>
    <dgm:cxn modelId="{FC2429D1-92EB-4597-95FD-A886DAD68D33}" type="presOf" srcId="{DF80EC44-A921-F346-AC90-BEB6F403F14A}" destId="{183C0692-BE73-524C-B7CA-4A58B741BEB5}" srcOrd="1" destOrd="0" presId="urn:microsoft.com/office/officeart/2005/8/layout/orgChart1"/>
    <dgm:cxn modelId="{A3898DD2-45B9-EE4B-9B8E-21592FFA877C}" srcId="{5C5B10B9-05D4-DC45-BA87-E724AE53C8F0}" destId="{C5D80CCC-8D64-9F49-9A63-361DD0D1E2B7}" srcOrd="3" destOrd="0" parTransId="{A5E8D726-0A5F-D646-9D06-2B4B69B1035A}" sibTransId="{384BDF2B-54BD-2044-9F79-C2E77AC4851C}"/>
    <dgm:cxn modelId="{F2B1E3D2-3D7D-4739-BCCC-3BF3002F04A5}" type="presOf" srcId="{2EDB4D0E-B7BA-4A44-8046-29F2B7D53C64}" destId="{A6B5E0A6-4A26-FD45-B386-B30A94B1C4EE}" srcOrd="1" destOrd="0" presId="urn:microsoft.com/office/officeart/2005/8/layout/orgChart1"/>
    <dgm:cxn modelId="{4AD174D4-11C6-499B-AD7F-C23A5F3B463A}" type="presOf" srcId="{995D0CDA-CA33-3C4A-8B6C-5CBB144D5776}" destId="{7D618311-1AE4-E24A-A50B-C32F047C3E95}" srcOrd="0" destOrd="0" presId="urn:microsoft.com/office/officeart/2005/8/layout/orgChart1"/>
    <dgm:cxn modelId="{F9DF9AD6-92CB-494A-9403-25025BC22A20}" type="presOf" srcId="{AF238596-47FF-D24A-AD38-E1E4E3BA1722}" destId="{CA92B3CD-3A1F-9E4E-9BA0-EC9EEFDE6E2E}" srcOrd="0" destOrd="0" presId="urn:microsoft.com/office/officeart/2005/8/layout/orgChart1"/>
    <dgm:cxn modelId="{C3433FE1-1F70-6742-942D-2CE051688A4C}" srcId="{2EDB4D0E-B7BA-4A44-8046-29F2B7D53C64}" destId="{AF238596-47FF-D24A-AD38-E1E4E3BA1722}" srcOrd="1" destOrd="0" parTransId="{D1AACFC0-4F71-D348-85E8-D7274B7C8097}" sibTransId="{1AC5A9A1-858E-2249-AEF0-0B6FE6D90DAE}"/>
    <dgm:cxn modelId="{6A9AD9F1-FA04-4A05-80D3-448D0C9332AC}" type="presOf" srcId="{D1AACFC0-4F71-D348-85E8-D7274B7C8097}" destId="{17891E95-6287-0246-B080-2A9222C4089A}" srcOrd="0" destOrd="0" presId="urn:microsoft.com/office/officeart/2005/8/layout/orgChart1"/>
    <dgm:cxn modelId="{D7D7E8F6-6B46-47CF-9D8B-E5852FA6F1C3}" type="presOf" srcId="{96F91ED0-E513-0A44-8235-62268A90CA7D}" destId="{0F159072-5EE5-F142-95B4-46E74D2E6BD7}" srcOrd="0" destOrd="0" presId="urn:microsoft.com/office/officeart/2005/8/layout/orgChart1"/>
    <dgm:cxn modelId="{93F805FB-248D-4256-9134-534F45301C65}" type="presOf" srcId="{DF80EC44-A921-F346-AC90-BEB6F403F14A}" destId="{22CBC851-397F-1E4B-9B7C-2BA5092EB335}" srcOrd="0" destOrd="0" presId="urn:microsoft.com/office/officeart/2005/8/layout/orgChart1"/>
    <dgm:cxn modelId="{7AB0EBFE-2389-4EC4-97CE-3BDF818E115E}" type="presOf" srcId="{2EDB4D0E-B7BA-4A44-8046-29F2B7D53C64}" destId="{EEACAE64-0937-9B49-9F62-91597D391BD7}" srcOrd="0" destOrd="0" presId="urn:microsoft.com/office/officeart/2005/8/layout/orgChart1"/>
    <dgm:cxn modelId="{698B153C-1A49-45D2-BF8D-16589607F3F6}" type="presParOf" srcId="{40058514-B40F-EE4F-A552-038D020B81CB}" destId="{36C39730-1F96-8D43-B71C-0EF69901CCEC}" srcOrd="0" destOrd="0" presId="urn:microsoft.com/office/officeart/2005/8/layout/orgChart1"/>
    <dgm:cxn modelId="{2365E629-8EA5-4A1E-835D-1BB0B109F2A0}" type="presParOf" srcId="{36C39730-1F96-8D43-B71C-0EF69901CCEC}" destId="{5915ED3C-F150-AA47-A952-7BC450235C92}" srcOrd="0" destOrd="0" presId="urn:microsoft.com/office/officeart/2005/8/layout/orgChart1"/>
    <dgm:cxn modelId="{B7CA1DE8-8AE3-4B1C-AFD8-FE10670250BC}" type="presParOf" srcId="{5915ED3C-F150-AA47-A952-7BC450235C92}" destId="{22CBC851-397F-1E4B-9B7C-2BA5092EB335}" srcOrd="0" destOrd="0" presId="urn:microsoft.com/office/officeart/2005/8/layout/orgChart1"/>
    <dgm:cxn modelId="{A4D1E942-0FB8-4B09-BC24-D9425D45485D}" type="presParOf" srcId="{5915ED3C-F150-AA47-A952-7BC450235C92}" destId="{183C0692-BE73-524C-B7CA-4A58B741BEB5}" srcOrd="1" destOrd="0" presId="urn:microsoft.com/office/officeart/2005/8/layout/orgChart1"/>
    <dgm:cxn modelId="{5C103974-D56A-4708-A118-7A849212C796}" type="presParOf" srcId="{36C39730-1F96-8D43-B71C-0EF69901CCEC}" destId="{91CFF311-1080-954A-93F7-5EF524674620}" srcOrd="1" destOrd="0" presId="urn:microsoft.com/office/officeart/2005/8/layout/orgChart1"/>
    <dgm:cxn modelId="{E13309D3-55F2-4CA7-B72B-8356A52A349E}" type="presParOf" srcId="{91CFF311-1080-954A-93F7-5EF524674620}" destId="{D4F2288C-FAA1-3B45-AA48-F57136CFAFED}" srcOrd="0" destOrd="0" presId="urn:microsoft.com/office/officeart/2005/8/layout/orgChart1"/>
    <dgm:cxn modelId="{914B5D53-FC34-4CE3-A8C3-7C0A4175BA1D}" type="presParOf" srcId="{91CFF311-1080-954A-93F7-5EF524674620}" destId="{BDD8EC69-0925-884A-B96A-99BA9B5CD628}" srcOrd="1" destOrd="0" presId="urn:microsoft.com/office/officeart/2005/8/layout/orgChart1"/>
    <dgm:cxn modelId="{D0FB265A-CFF1-4A01-B4C2-B3F955150F35}" type="presParOf" srcId="{BDD8EC69-0925-884A-B96A-99BA9B5CD628}" destId="{495A6AB0-D7B8-3246-8262-17936C159C10}" srcOrd="0" destOrd="0" presId="urn:microsoft.com/office/officeart/2005/8/layout/orgChart1"/>
    <dgm:cxn modelId="{DE8780BB-D4FB-4D55-85E9-6561FA8124AD}" type="presParOf" srcId="{495A6AB0-D7B8-3246-8262-17936C159C10}" destId="{EEACAE64-0937-9B49-9F62-91597D391BD7}" srcOrd="0" destOrd="0" presId="urn:microsoft.com/office/officeart/2005/8/layout/orgChart1"/>
    <dgm:cxn modelId="{B9B6F427-FF28-4401-83FD-7AF2830DB6D1}" type="presParOf" srcId="{495A6AB0-D7B8-3246-8262-17936C159C10}" destId="{A6B5E0A6-4A26-FD45-B386-B30A94B1C4EE}" srcOrd="1" destOrd="0" presId="urn:microsoft.com/office/officeart/2005/8/layout/orgChart1"/>
    <dgm:cxn modelId="{01DA53DF-9A47-4389-ADE9-1091EAFFA422}" type="presParOf" srcId="{BDD8EC69-0925-884A-B96A-99BA9B5CD628}" destId="{D3BC2260-1B85-234C-AC82-FF26CA57DED9}" srcOrd="1" destOrd="0" presId="urn:microsoft.com/office/officeart/2005/8/layout/orgChart1"/>
    <dgm:cxn modelId="{F9C9311B-9A88-44C6-AF93-A5C440F8E110}" type="presParOf" srcId="{D3BC2260-1B85-234C-AC82-FF26CA57DED9}" destId="{4D89C916-5A15-D740-8964-69657E206D42}" srcOrd="0" destOrd="0" presId="urn:microsoft.com/office/officeart/2005/8/layout/orgChart1"/>
    <dgm:cxn modelId="{DA8A143D-35D3-482E-97BD-828531E0BB81}" type="presParOf" srcId="{D3BC2260-1B85-234C-AC82-FF26CA57DED9}" destId="{E19E0AC0-A6E6-E347-B6F7-A1D2143C8A21}" srcOrd="1" destOrd="0" presId="urn:microsoft.com/office/officeart/2005/8/layout/orgChart1"/>
    <dgm:cxn modelId="{1123541C-E6E0-4647-9837-6D51D96FE0F4}" type="presParOf" srcId="{E19E0AC0-A6E6-E347-B6F7-A1D2143C8A21}" destId="{77D62C5A-4613-ED42-8834-DB687CB0DE56}" srcOrd="0" destOrd="0" presId="urn:microsoft.com/office/officeart/2005/8/layout/orgChart1"/>
    <dgm:cxn modelId="{6CCFAC5B-DF12-4353-825E-20CD95433980}" type="presParOf" srcId="{77D62C5A-4613-ED42-8834-DB687CB0DE56}" destId="{E2AABDDD-72E8-3543-9E50-56A7AEBE9644}" srcOrd="0" destOrd="0" presId="urn:microsoft.com/office/officeart/2005/8/layout/orgChart1"/>
    <dgm:cxn modelId="{10E6281A-46B8-4A9F-81CF-FA0B6465975C}" type="presParOf" srcId="{77D62C5A-4613-ED42-8834-DB687CB0DE56}" destId="{BE711B55-1746-4F43-AC68-8328B3A748CA}" srcOrd="1" destOrd="0" presId="urn:microsoft.com/office/officeart/2005/8/layout/orgChart1"/>
    <dgm:cxn modelId="{4A16D220-ADD3-4692-9B92-261AD86C8FA8}" type="presParOf" srcId="{E19E0AC0-A6E6-E347-B6F7-A1D2143C8A21}" destId="{89504AD2-5024-8042-BFF6-45A2F6979531}" srcOrd="1" destOrd="0" presId="urn:microsoft.com/office/officeart/2005/8/layout/orgChart1"/>
    <dgm:cxn modelId="{60F26E5E-3188-46AB-81A5-1CDCFDD717C8}" type="presParOf" srcId="{E19E0AC0-A6E6-E347-B6F7-A1D2143C8A21}" destId="{C15F2059-2EBB-B04C-A393-E1ECBBBAAFEB}" srcOrd="2" destOrd="0" presId="urn:microsoft.com/office/officeart/2005/8/layout/orgChart1"/>
    <dgm:cxn modelId="{3D6D7073-B97E-4247-A0A4-36E82DCE4E64}" type="presParOf" srcId="{D3BC2260-1B85-234C-AC82-FF26CA57DED9}" destId="{17891E95-6287-0246-B080-2A9222C4089A}" srcOrd="2" destOrd="0" presId="urn:microsoft.com/office/officeart/2005/8/layout/orgChart1"/>
    <dgm:cxn modelId="{DE995B4F-38A1-4F74-88C0-9CC5791770F8}" type="presParOf" srcId="{D3BC2260-1B85-234C-AC82-FF26CA57DED9}" destId="{364FC4FF-A955-DE42-B2B1-894C14B5F262}" srcOrd="3" destOrd="0" presId="urn:microsoft.com/office/officeart/2005/8/layout/orgChart1"/>
    <dgm:cxn modelId="{BABDBD20-FAD8-4B01-AE75-98824C8FEF40}" type="presParOf" srcId="{364FC4FF-A955-DE42-B2B1-894C14B5F262}" destId="{D1972A40-6C2B-C04D-9446-8B7222FB4DE4}" srcOrd="0" destOrd="0" presId="urn:microsoft.com/office/officeart/2005/8/layout/orgChart1"/>
    <dgm:cxn modelId="{1730EC8F-3006-43A0-B459-72DBE6B572F0}" type="presParOf" srcId="{D1972A40-6C2B-C04D-9446-8B7222FB4DE4}" destId="{CA92B3CD-3A1F-9E4E-9BA0-EC9EEFDE6E2E}" srcOrd="0" destOrd="0" presId="urn:microsoft.com/office/officeart/2005/8/layout/orgChart1"/>
    <dgm:cxn modelId="{B70BA938-DEE6-42FA-9C1E-47A80F8DD7C8}" type="presParOf" srcId="{D1972A40-6C2B-C04D-9446-8B7222FB4DE4}" destId="{6AF2EEC6-2E99-5942-A77C-66BBC945935D}" srcOrd="1" destOrd="0" presId="urn:microsoft.com/office/officeart/2005/8/layout/orgChart1"/>
    <dgm:cxn modelId="{5DDD9B13-2C02-4D6B-BA21-8EDC3348300D}" type="presParOf" srcId="{364FC4FF-A955-DE42-B2B1-894C14B5F262}" destId="{6850DFD3-49C1-A649-821E-8FC21D2A0F6A}" srcOrd="1" destOrd="0" presId="urn:microsoft.com/office/officeart/2005/8/layout/orgChart1"/>
    <dgm:cxn modelId="{41AB0C8F-9D26-46E5-B156-081971E9A425}" type="presParOf" srcId="{364FC4FF-A955-DE42-B2B1-894C14B5F262}" destId="{907F81C5-66A4-D543-8052-D8A034FC3062}" srcOrd="2" destOrd="0" presId="urn:microsoft.com/office/officeart/2005/8/layout/orgChart1"/>
    <dgm:cxn modelId="{3E5BF8DF-C100-45A3-BBC1-F675DEEC3634}" type="presParOf" srcId="{BDD8EC69-0925-884A-B96A-99BA9B5CD628}" destId="{685AB591-F760-A745-BC4B-39183A7AC14D}" srcOrd="2" destOrd="0" presId="urn:microsoft.com/office/officeart/2005/8/layout/orgChart1"/>
    <dgm:cxn modelId="{036F3DF7-3301-4CA2-BF14-1AA7E770FB33}" type="presParOf" srcId="{91CFF311-1080-954A-93F7-5EF524674620}" destId="{0F159072-5EE5-F142-95B4-46E74D2E6BD7}" srcOrd="2" destOrd="0" presId="urn:microsoft.com/office/officeart/2005/8/layout/orgChart1"/>
    <dgm:cxn modelId="{722214F3-8919-4238-9561-AE3C2B969211}" type="presParOf" srcId="{91CFF311-1080-954A-93F7-5EF524674620}" destId="{FED59985-849C-DB40-8B88-3784A46B0C41}" srcOrd="3" destOrd="0" presId="urn:microsoft.com/office/officeart/2005/8/layout/orgChart1"/>
    <dgm:cxn modelId="{FDCFCDBC-50CF-47E5-B12D-417F015D1796}" type="presParOf" srcId="{FED59985-849C-DB40-8B88-3784A46B0C41}" destId="{F0EFC429-452D-2643-9B25-C4E454F1B1A7}" srcOrd="0" destOrd="0" presId="urn:microsoft.com/office/officeart/2005/8/layout/orgChart1"/>
    <dgm:cxn modelId="{56202C13-793F-4B1C-907E-675B5E5C0808}" type="presParOf" srcId="{F0EFC429-452D-2643-9B25-C4E454F1B1A7}" destId="{642DB7AE-F457-9A4C-8B5D-AC43A9C732A4}" srcOrd="0" destOrd="0" presId="urn:microsoft.com/office/officeart/2005/8/layout/orgChart1"/>
    <dgm:cxn modelId="{CB93012E-732B-4C3E-AE29-AE467AF052AD}" type="presParOf" srcId="{F0EFC429-452D-2643-9B25-C4E454F1B1A7}" destId="{11B5A45A-338F-774B-988C-D7EF07F1586F}" srcOrd="1" destOrd="0" presId="urn:microsoft.com/office/officeart/2005/8/layout/orgChart1"/>
    <dgm:cxn modelId="{63F00577-3670-4EF5-8E2B-A06AE210223E}" type="presParOf" srcId="{FED59985-849C-DB40-8B88-3784A46B0C41}" destId="{D8D6A34A-F8AF-6F4A-9E59-23E812D565D7}" srcOrd="1" destOrd="0" presId="urn:microsoft.com/office/officeart/2005/8/layout/orgChart1"/>
    <dgm:cxn modelId="{02FD29AD-CA7C-46E9-AACB-DD5ECD002B88}" type="presParOf" srcId="{D8D6A34A-F8AF-6F4A-9E59-23E812D565D7}" destId="{7D618311-1AE4-E24A-A50B-C32F047C3E95}" srcOrd="0" destOrd="0" presId="urn:microsoft.com/office/officeart/2005/8/layout/orgChart1"/>
    <dgm:cxn modelId="{528B1569-ACF8-494C-861D-F677CBA7AA75}" type="presParOf" srcId="{D8D6A34A-F8AF-6F4A-9E59-23E812D565D7}" destId="{18F582C0-0DA8-0544-B02B-956CBA5C1177}" srcOrd="1" destOrd="0" presId="urn:microsoft.com/office/officeart/2005/8/layout/orgChart1"/>
    <dgm:cxn modelId="{D054001A-8450-4285-A85A-E11586B9E1A6}" type="presParOf" srcId="{18F582C0-0DA8-0544-B02B-956CBA5C1177}" destId="{FA2F46A4-3449-444A-A2E6-CB238EC2DD9A}" srcOrd="0" destOrd="0" presId="urn:microsoft.com/office/officeart/2005/8/layout/orgChart1"/>
    <dgm:cxn modelId="{4E7402A5-27D8-4FED-98F5-44D3AC93182E}" type="presParOf" srcId="{FA2F46A4-3449-444A-A2E6-CB238EC2DD9A}" destId="{371421CD-556A-8843-B53F-ACF9F9801A88}" srcOrd="0" destOrd="0" presId="urn:microsoft.com/office/officeart/2005/8/layout/orgChart1"/>
    <dgm:cxn modelId="{DAAF7EF4-0346-4FC5-8E01-57AC2A151666}" type="presParOf" srcId="{FA2F46A4-3449-444A-A2E6-CB238EC2DD9A}" destId="{ED8FF0D9-A844-F347-80EB-F7F3C0FA6241}" srcOrd="1" destOrd="0" presId="urn:microsoft.com/office/officeart/2005/8/layout/orgChart1"/>
    <dgm:cxn modelId="{ACBED996-7767-4C82-9308-7DFCB2CA67FB}" type="presParOf" srcId="{18F582C0-0DA8-0544-B02B-956CBA5C1177}" destId="{EE6FD7EF-8B43-604C-ACAB-20E434A734D2}" srcOrd="1" destOrd="0" presId="urn:microsoft.com/office/officeart/2005/8/layout/orgChart1"/>
    <dgm:cxn modelId="{60653EAE-A170-4A3E-8AC4-8BD3998301D4}" type="presParOf" srcId="{18F582C0-0DA8-0544-B02B-956CBA5C1177}" destId="{0C6B873F-741D-9A4C-A65B-B5B4BD464B94}" srcOrd="2" destOrd="0" presId="urn:microsoft.com/office/officeart/2005/8/layout/orgChart1"/>
    <dgm:cxn modelId="{60FC856C-6D30-43DB-8D8B-26D8395CC190}" type="presParOf" srcId="{D8D6A34A-F8AF-6F4A-9E59-23E812D565D7}" destId="{89A64526-BF24-6D4C-95D5-51EEAA119027}" srcOrd="2" destOrd="0" presId="urn:microsoft.com/office/officeart/2005/8/layout/orgChart1"/>
    <dgm:cxn modelId="{E1A4193B-5FA0-4382-94DB-580A01714F03}" type="presParOf" srcId="{D8D6A34A-F8AF-6F4A-9E59-23E812D565D7}" destId="{251E74D5-7151-2B41-927D-DDD5E189040E}" srcOrd="3" destOrd="0" presId="urn:microsoft.com/office/officeart/2005/8/layout/orgChart1"/>
    <dgm:cxn modelId="{28E47BB3-0A40-49A6-B836-81FAA45B2EAB}" type="presParOf" srcId="{251E74D5-7151-2B41-927D-DDD5E189040E}" destId="{00D510DA-5F68-E74D-9437-DE63B7584062}" srcOrd="0" destOrd="0" presId="urn:microsoft.com/office/officeart/2005/8/layout/orgChart1"/>
    <dgm:cxn modelId="{63DB262A-37BA-4A57-A402-D95B33BF5A31}" type="presParOf" srcId="{00D510DA-5F68-E74D-9437-DE63B7584062}" destId="{40BCE034-A741-C444-AB3C-A8C05888C26E}" srcOrd="0" destOrd="0" presId="urn:microsoft.com/office/officeart/2005/8/layout/orgChart1"/>
    <dgm:cxn modelId="{E1878C85-9AA1-47F7-A854-5278564B9C01}" type="presParOf" srcId="{00D510DA-5F68-E74D-9437-DE63B7584062}" destId="{967A98EE-865B-1A4E-BADD-AAF6536013D2}" srcOrd="1" destOrd="0" presId="urn:microsoft.com/office/officeart/2005/8/layout/orgChart1"/>
    <dgm:cxn modelId="{D69F6531-47BD-43C5-A7EC-E0F653EAA00E}" type="presParOf" srcId="{251E74D5-7151-2B41-927D-DDD5E189040E}" destId="{EDD8ECF9-6B7C-8641-A71F-3DAD314B3E05}" srcOrd="1" destOrd="0" presId="urn:microsoft.com/office/officeart/2005/8/layout/orgChart1"/>
    <dgm:cxn modelId="{F2CC718A-421D-4757-8714-21DD944FECF3}" type="presParOf" srcId="{251E74D5-7151-2B41-927D-DDD5E189040E}" destId="{99AE3F81-5AD7-5C4F-AB73-271DAE0D8061}" srcOrd="2" destOrd="0" presId="urn:microsoft.com/office/officeart/2005/8/layout/orgChart1"/>
    <dgm:cxn modelId="{9D9826D0-61C6-4FA8-A9C4-F9C1B97F6A73}" type="presParOf" srcId="{D8D6A34A-F8AF-6F4A-9E59-23E812D565D7}" destId="{2FAFB58E-084C-9445-92B6-723EFDCB93A1}" srcOrd="4" destOrd="0" presId="urn:microsoft.com/office/officeart/2005/8/layout/orgChart1"/>
    <dgm:cxn modelId="{DBB071E9-6D1B-4B5F-AF45-99FE65FE64FE}" type="presParOf" srcId="{D8D6A34A-F8AF-6F4A-9E59-23E812D565D7}" destId="{53B8C76C-17C4-224E-960C-CEBDCA82D158}" srcOrd="5" destOrd="0" presId="urn:microsoft.com/office/officeart/2005/8/layout/orgChart1"/>
    <dgm:cxn modelId="{6D78FE56-BD4A-4D12-9985-32D32D67F4C6}" type="presParOf" srcId="{53B8C76C-17C4-224E-960C-CEBDCA82D158}" destId="{9CE50956-2BA8-2B42-9B46-75D7B01ECA9E}" srcOrd="0" destOrd="0" presId="urn:microsoft.com/office/officeart/2005/8/layout/orgChart1"/>
    <dgm:cxn modelId="{86A957D5-B6EC-46E5-807A-1C3EF09C3F0D}" type="presParOf" srcId="{9CE50956-2BA8-2B42-9B46-75D7B01ECA9E}" destId="{9FD7DCAC-07B3-7F41-8B49-B9F7955E4BD0}" srcOrd="0" destOrd="0" presId="urn:microsoft.com/office/officeart/2005/8/layout/orgChart1"/>
    <dgm:cxn modelId="{9375B47C-B635-4282-9715-E0B2ED3EB3D9}" type="presParOf" srcId="{9CE50956-2BA8-2B42-9B46-75D7B01ECA9E}" destId="{D7A5DC96-5D3E-594A-8E75-58177F1C66B9}" srcOrd="1" destOrd="0" presId="urn:microsoft.com/office/officeart/2005/8/layout/orgChart1"/>
    <dgm:cxn modelId="{CC6C362E-C664-4FEA-97F1-0EC8DF772989}" type="presParOf" srcId="{53B8C76C-17C4-224E-960C-CEBDCA82D158}" destId="{14BC64FC-7688-A045-9FF9-1DC4C05DA17D}" srcOrd="1" destOrd="0" presId="urn:microsoft.com/office/officeart/2005/8/layout/orgChart1"/>
    <dgm:cxn modelId="{2FEFBCE1-6B6A-441D-A787-DFBAEB8BDD46}" type="presParOf" srcId="{53B8C76C-17C4-224E-960C-CEBDCA82D158}" destId="{B4B09289-37E6-4E44-BAA5-9124BC3A4F0F}" srcOrd="2" destOrd="0" presId="urn:microsoft.com/office/officeart/2005/8/layout/orgChart1"/>
    <dgm:cxn modelId="{3EF1120B-36E5-4EEE-AD84-7F9512D45EFC}" type="presParOf" srcId="{D8D6A34A-F8AF-6F4A-9E59-23E812D565D7}" destId="{845CA7BD-EC61-D447-8AA1-C4EE9AFA8F54}" srcOrd="6" destOrd="0" presId="urn:microsoft.com/office/officeart/2005/8/layout/orgChart1"/>
    <dgm:cxn modelId="{FA37AC57-CD8D-4E8D-AD0C-3E14414B3988}" type="presParOf" srcId="{D8D6A34A-F8AF-6F4A-9E59-23E812D565D7}" destId="{43602970-F53D-5445-AE14-D73EF9DA784D}" srcOrd="7" destOrd="0" presId="urn:microsoft.com/office/officeart/2005/8/layout/orgChart1"/>
    <dgm:cxn modelId="{014117DE-725B-4C10-BDFE-4D0F9E48C67B}" type="presParOf" srcId="{43602970-F53D-5445-AE14-D73EF9DA784D}" destId="{80636142-4130-F144-B565-024C30C07FBA}" srcOrd="0" destOrd="0" presId="urn:microsoft.com/office/officeart/2005/8/layout/orgChart1"/>
    <dgm:cxn modelId="{C701A6EC-3069-4A53-9201-F851A2E9B36C}" type="presParOf" srcId="{80636142-4130-F144-B565-024C30C07FBA}" destId="{851356E1-84E8-2747-B730-8CF7DC9B33EE}" srcOrd="0" destOrd="0" presId="urn:microsoft.com/office/officeart/2005/8/layout/orgChart1"/>
    <dgm:cxn modelId="{F4333DCA-9B3B-4281-8C18-A954525C595D}" type="presParOf" srcId="{80636142-4130-F144-B565-024C30C07FBA}" destId="{ADAC094C-0471-944A-A6DC-84FC1B649FBC}" srcOrd="1" destOrd="0" presId="urn:microsoft.com/office/officeart/2005/8/layout/orgChart1"/>
    <dgm:cxn modelId="{D91183C6-0EBD-49EE-9FF7-6996585239F5}" type="presParOf" srcId="{43602970-F53D-5445-AE14-D73EF9DA784D}" destId="{B9F49E08-6D89-5C4D-8573-73858EC5D199}" srcOrd="1" destOrd="0" presId="urn:microsoft.com/office/officeart/2005/8/layout/orgChart1"/>
    <dgm:cxn modelId="{1C22012D-CBC1-42A0-ACF8-9BE67B325388}" type="presParOf" srcId="{43602970-F53D-5445-AE14-D73EF9DA784D}" destId="{7146E793-2D56-1A47-9B9E-323A07E77A5F}" srcOrd="2" destOrd="0" presId="urn:microsoft.com/office/officeart/2005/8/layout/orgChart1"/>
    <dgm:cxn modelId="{69C6242A-0EC1-47E1-959F-E146A61F16DB}" type="presParOf" srcId="{FED59985-849C-DB40-8B88-3784A46B0C41}" destId="{8B184B7D-AE63-AD44-AD75-7AC5653D63A1}" srcOrd="2" destOrd="0" presId="urn:microsoft.com/office/officeart/2005/8/layout/orgChart1"/>
    <dgm:cxn modelId="{0F741D4F-E03D-44DD-9A3D-49CB86D5AFBD}" type="presParOf" srcId="{36C39730-1F96-8D43-B71C-0EF69901CCEC}" destId="{5F744E20-C5BE-8847-9FE4-D8055A163878}"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9F42C5-5B71-2441-B129-D48A8E3BC260}">
      <dsp:nvSpPr>
        <dsp:cNvPr id="0" name=""/>
        <dsp:cNvSpPr/>
      </dsp:nvSpPr>
      <dsp:spPr>
        <a:xfrm>
          <a:off x="11045273" y="1724872"/>
          <a:ext cx="278765" cy="4288155"/>
        </a:xfrm>
        <a:custGeom>
          <a:avLst/>
          <a:gdLst/>
          <a:ahLst/>
          <a:cxnLst/>
          <a:rect l="0" t="0" r="0" b="0"/>
          <a:pathLst>
            <a:path>
              <a:moveTo>
                <a:pt x="0" y="0"/>
              </a:moveTo>
              <a:lnTo>
                <a:pt x="0" y="4288155"/>
              </a:lnTo>
              <a:lnTo>
                <a:pt x="278765" y="428815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B364D19-8097-2040-95E2-3910D1C2305B}">
      <dsp:nvSpPr>
        <dsp:cNvPr id="0" name=""/>
        <dsp:cNvSpPr/>
      </dsp:nvSpPr>
      <dsp:spPr>
        <a:xfrm>
          <a:off x="11045273" y="1724872"/>
          <a:ext cx="278765" cy="2997779"/>
        </a:xfrm>
        <a:custGeom>
          <a:avLst/>
          <a:gdLst/>
          <a:ahLst/>
          <a:cxnLst/>
          <a:rect l="0" t="0" r="0" b="0"/>
          <a:pathLst>
            <a:path>
              <a:moveTo>
                <a:pt x="0" y="0"/>
              </a:moveTo>
              <a:lnTo>
                <a:pt x="0" y="2997779"/>
              </a:lnTo>
              <a:lnTo>
                <a:pt x="278765" y="2997779"/>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281D963B-D382-6B49-B4EB-6C51E89FF1B9}">
      <dsp:nvSpPr>
        <dsp:cNvPr id="0" name=""/>
        <dsp:cNvSpPr/>
      </dsp:nvSpPr>
      <dsp:spPr>
        <a:xfrm>
          <a:off x="11045273" y="1724872"/>
          <a:ext cx="278765" cy="1744687"/>
        </a:xfrm>
        <a:custGeom>
          <a:avLst/>
          <a:gdLst/>
          <a:ahLst/>
          <a:cxnLst/>
          <a:rect l="0" t="0" r="0" b="0"/>
          <a:pathLst>
            <a:path>
              <a:moveTo>
                <a:pt x="0" y="0"/>
              </a:moveTo>
              <a:lnTo>
                <a:pt x="0" y="1744687"/>
              </a:lnTo>
              <a:lnTo>
                <a:pt x="278765" y="1744687"/>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5F2E19A4-1270-1847-B270-C413098CA335}">
      <dsp:nvSpPr>
        <dsp:cNvPr id="0" name=""/>
        <dsp:cNvSpPr/>
      </dsp:nvSpPr>
      <dsp:spPr>
        <a:xfrm>
          <a:off x="11045273" y="1724872"/>
          <a:ext cx="278765" cy="685945"/>
        </a:xfrm>
        <a:custGeom>
          <a:avLst/>
          <a:gdLst/>
          <a:ahLst/>
          <a:cxnLst/>
          <a:rect l="0" t="0" r="0" b="0"/>
          <a:pathLst>
            <a:path>
              <a:moveTo>
                <a:pt x="0" y="0"/>
              </a:moveTo>
              <a:lnTo>
                <a:pt x="0" y="685945"/>
              </a:lnTo>
              <a:lnTo>
                <a:pt x="278765" y="68594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46D6DD71-7470-584B-A96C-2D648D24ECA5}">
      <dsp:nvSpPr>
        <dsp:cNvPr id="0" name=""/>
        <dsp:cNvSpPr/>
      </dsp:nvSpPr>
      <dsp:spPr>
        <a:xfrm>
          <a:off x="6359687" y="493336"/>
          <a:ext cx="5428960" cy="357678"/>
        </a:xfrm>
        <a:custGeom>
          <a:avLst/>
          <a:gdLst/>
          <a:ahLst/>
          <a:cxnLst/>
          <a:rect l="0" t="0" r="0" b="0"/>
          <a:pathLst>
            <a:path>
              <a:moveTo>
                <a:pt x="0" y="0"/>
              </a:moveTo>
              <a:lnTo>
                <a:pt x="0" y="201104"/>
              </a:lnTo>
              <a:lnTo>
                <a:pt x="5428960" y="201104"/>
              </a:lnTo>
              <a:lnTo>
                <a:pt x="5428960"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0FDDC443-8D82-C74C-9D5F-5DE06884C377}">
      <dsp:nvSpPr>
        <dsp:cNvPr id="0" name=""/>
        <dsp:cNvSpPr/>
      </dsp:nvSpPr>
      <dsp:spPr>
        <a:xfrm>
          <a:off x="8873689" y="1596608"/>
          <a:ext cx="278765" cy="3862171"/>
        </a:xfrm>
        <a:custGeom>
          <a:avLst/>
          <a:gdLst/>
          <a:ahLst/>
          <a:cxnLst/>
          <a:rect l="0" t="0" r="0" b="0"/>
          <a:pathLst>
            <a:path>
              <a:moveTo>
                <a:pt x="0" y="0"/>
              </a:moveTo>
              <a:lnTo>
                <a:pt x="0" y="3862171"/>
              </a:lnTo>
              <a:lnTo>
                <a:pt x="278765" y="3862171"/>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8BF3441E-89C5-784A-BA61-2B83E9143296}">
      <dsp:nvSpPr>
        <dsp:cNvPr id="0" name=""/>
        <dsp:cNvSpPr/>
      </dsp:nvSpPr>
      <dsp:spPr>
        <a:xfrm>
          <a:off x="8873689" y="1596608"/>
          <a:ext cx="278765" cy="2803429"/>
        </a:xfrm>
        <a:custGeom>
          <a:avLst/>
          <a:gdLst/>
          <a:ahLst/>
          <a:cxnLst/>
          <a:rect l="0" t="0" r="0" b="0"/>
          <a:pathLst>
            <a:path>
              <a:moveTo>
                <a:pt x="0" y="0"/>
              </a:moveTo>
              <a:lnTo>
                <a:pt x="0" y="2803429"/>
              </a:lnTo>
              <a:lnTo>
                <a:pt x="278765" y="2803429"/>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E75766AB-851A-F742-9C5D-0CC786C19D85}">
      <dsp:nvSpPr>
        <dsp:cNvPr id="0" name=""/>
        <dsp:cNvSpPr/>
      </dsp:nvSpPr>
      <dsp:spPr>
        <a:xfrm>
          <a:off x="8873689" y="1596608"/>
          <a:ext cx="278765" cy="1744687"/>
        </a:xfrm>
        <a:custGeom>
          <a:avLst/>
          <a:gdLst/>
          <a:ahLst/>
          <a:cxnLst/>
          <a:rect l="0" t="0" r="0" b="0"/>
          <a:pathLst>
            <a:path>
              <a:moveTo>
                <a:pt x="0" y="0"/>
              </a:moveTo>
              <a:lnTo>
                <a:pt x="0" y="1744687"/>
              </a:lnTo>
              <a:lnTo>
                <a:pt x="278765" y="1744687"/>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2073165D-02D9-6440-8692-A0D106E8A030}">
      <dsp:nvSpPr>
        <dsp:cNvPr id="0" name=""/>
        <dsp:cNvSpPr/>
      </dsp:nvSpPr>
      <dsp:spPr>
        <a:xfrm>
          <a:off x="8873689" y="1596608"/>
          <a:ext cx="278765" cy="685945"/>
        </a:xfrm>
        <a:custGeom>
          <a:avLst/>
          <a:gdLst/>
          <a:ahLst/>
          <a:cxnLst/>
          <a:rect l="0" t="0" r="0" b="0"/>
          <a:pathLst>
            <a:path>
              <a:moveTo>
                <a:pt x="0" y="0"/>
              </a:moveTo>
              <a:lnTo>
                <a:pt x="0" y="685945"/>
              </a:lnTo>
              <a:lnTo>
                <a:pt x="278765" y="68594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6E5FB869-F442-C243-AD00-61E2F74195E3}">
      <dsp:nvSpPr>
        <dsp:cNvPr id="0" name=""/>
        <dsp:cNvSpPr/>
      </dsp:nvSpPr>
      <dsp:spPr>
        <a:xfrm>
          <a:off x="6359687" y="493336"/>
          <a:ext cx="3257376" cy="357678"/>
        </a:xfrm>
        <a:custGeom>
          <a:avLst/>
          <a:gdLst/>
          <a:ahLst/>
          <a:cxnLst/>
          <a:rect l="0" t="0" r="0" b="0"/>
          <a:pathLst>
            <a:path>
              <a:moveTo>
                <a:pt x="0" y="0"/>
              </a:moveTo>
              <a:lnTo>
                <a:pt x="0" y="201104"/>
              </a:lnTo>
              <a:lnTo>
                <a:pt x="3257376" y="201104"/>
              </a:lnTo>
              <a:lnTo>
                <a:pt x="3257376"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84FC3688-0CBB-1C40-856C-67A77EC04AB5}">
      <dsp:nvSpPr>
        <dsp:cNvPr id="0" name=""/>
        <dsp:cNvSpPr/>
      </dsp:nvSpPr>
      <dsp:spPr>
        <a:xfrm>
          <a:off x="6702105" y="1596608"/>
          <a:ext cx="278765" cy="2803429"/>
        </a:xfrm>
        <a:custGeom>
          <a:avLst/>
          <a:gdLst/>
          <a:ahLst/>
          <a:cxnLst/>
          <a:rect l="0" t="0" r="0" b="0"/>
          <a:pathLst>
            <a:path>
              <a:moveTo>
                <a:pt x="0" y="0"/>
              </a:moveTo>
              <a:lnTo>
                <a:pt x="0" y="2803429"/>
              </a:lnTo>
              <a:lnTo>
                <a:pt x="278765" y="2803429"/>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61312643-F875-9544-8D68-D12E872779AD}">
      <dsp:nvSpPr>
        <dsp:cNvPr id="0" name=""/>
        <dsp:cNvSpPr/>
      </dsp:nvSpPr>
      <dsp:spPr>
        <a:xfrm>
          <a:off x="6702105" y="1596608"/>
          <a:ext cx="278765" cy="1744687"/>
        </a:xfrm>
        <a:custGeom>
          <a:avLst/>
          <a:gdLst/>
          <a:ahLst/>
          <a:cxnLst/>
          <a:rect l="0" t="0" r="0" b="0"/>
          <a:pathLst>
            <a:path>
              <a:moveTo>
                <a:pt x="0" y="0"/>
              </a:moveTo>
              <a:lnTo>
                <a:pt x="0" y="1744687"/>
              </a:lnTo>
              <a:lnTo>
                <a:pt x="278765" y="1744687"/>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9ADCFD76-4B47-D84D-A957-DDA9B36F119A}">
      <dsp:nvSpPr>
        <dsp:cNvPr id="0" name=""/>
        <dsp:cNvSpPr/>
      </dsp:nvSpPr>
      <dsp:spPr>
        <a:xfrm>
          <a:off x="6702105" y="1596608"/>
          <a:ext cx="278765" cy="685945"/>
        </a:xfrm>
        <a:custGeom>
          <a:avLst/>
          <a:gdLst/>
          <a:ahLst/>
          <a:cxnLst/>
          <a:rect l="0" t="0" r="0" b="0"/>
          <a:pathLst>
            <a:path>
              <a:moveTo>
                <a:pt x="0" y="0"/>
              </a:moveTo>
              <a:lnTo>
                <a:pt x="0" y="685945"/>
              </a:lnTo>
              <a:lnTo>
                <a:pt x="278765" y="68594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3604C806-F723-524D-A2AC-AB54553D73C2}">
      <dsp:nvSpPr>
        <dsp:cNvPr id="0" name=""/>
        <dsp:cNvSpPr/>
      </dsp:nvSpPr>
      <dsp:spPr>
        <a:xfrm>
          <a:off x="6359687" y="493336"/>
          <a:ext cx="1085792" cy="357678"/>
        </a:xfrm>
        <a:custGeom>
          <a:avLst/>
          <a:gdLst/>
          <a:ahLst/>
          <a:cxnLst/>
          <a:rect l="0" t="0" r="0" b="0"/>
          <a:pathLst>
            <a:path>
              <a:moveTo>
                <a:pt x="0" y="0"/>
              </a:moveTo>
              <a:lnTo>
                <a:pt x="0" y="201104"/>
              </a:lnTo>
              <a:lnTo>
                <a:pt x="1085792" y="201104"/>
              </a:lnTo>
              <a:lnTo>
                <a:pt x="1085792"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6E594108-44F4-BF4B-9E8D-CB59E4DAFD82}">
      <dsp:nvSpPr>
        <dsp:cNvPr id="0" name=""/>
        <dsp:cNvSpPr/>
      </dsp:nvSpPr>
      <dsp:spPr>
        <a:xfrm>
          <a:off x="4530520" y="1596608"/>
          <a:ext cx="278765" cy="1744687"/>
        </a:xfrm>
        <a:custGeom>
          <a:avLst/>
          <a:gdLst/>
          <a:ahLst/>
          <a:cxnLst/>
          <a:rect l="0" t="0" r="0" b="0"/>
          <a:pathLst>
            <a:path>
              <a:moveTo>
                <a:pt x="0" y="0"/>
              </a:moveTo>
              <a:lnTo>
                <a:pt x="0" y="1744687"/>
              </a:lnTo>
              <a:lnTo>
                <a:pt x="278765" y="1744687"/>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321E9CE6-50BF-3B45-9FFC-F9B459662845}">
      <dsp:nvSpPr>
        <dsp:cNvPr id="0" name=""/>
        <dsp:cNvSpPr/>
      </dsp:nvSpPr>
      <dsp:spPr>
        <a:xfrm>
          <a:off x="4530520" y="1596608"/>
          <a:ext cx="278765" cy="685945"/>
        </a:xfrm>
        <a:custGeom>
          <a:avLst/>
          <a:gdLst/>
          <a:ahLst/>
          <a:cxnLst/>
          <a:rect l="0" t="0" r="0" b="0"/>
          <a:pathLst>
            <a:path>
              <a:moveTo>
                <a:pt x="0" y="0"/>
              </a:moveTo>
              <a:lnTo>
                <a:pt x="0" y="685945"/>
              </a:lnTo>
              <a:lnTo>
                <a:pt x="278765" y="68594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A4397167-8927-324E-83E9-553F38D29211}">
      <dsp:nvSpPr>
        <dsp:cNvPr id="0" name=""/>
        <dsp:cNvSpPr/>
      </dsp:nvSpPr>
      <dsp:spPr>
        <a:xfrm>
          <a:off x="5273894" y="493336"/>
          <a:ext cx="1085792" cy="357678"/>
        </a:xfrm>
        <a:custGeom>
          <a:avLst/>
          <a:gdLst/>
          <a:ahLst/>
          <a:cxnLst/>
          <a:rect l="0" t="0" r="0" b="0"/>
          <a:pathLst>
            <a:path>
              <a:moveTo>
                <a:pt x="1085792" y="0"/>
              </a:moveTo>
              <a:lnTo>
                <a:pt x="1085792" y="201104"/>
              </a:lnTo>
              <a:lnTo>
                <a:pt x="0" y="201104"/>
              </a:lnTo>
              <a:lnTo>
                <a:pt x="0"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01092C98-C538-5941-B969-09DF528EBD84}">
      <dsp:nvSpPr>
        <dsp:cNvPr id="0" name=""/>
        <dsp:cNvSpPr/>
      </dsp:nvSpPr>
      <dsp:spPr>
        <a:xfrm>
          <a:off x="2358936" y="1596608"/>
          <a:ext cx="278765" cy="3227209"/>
        </a:xfrm>
        <a:custGeom>
          <a:avLst/>
          <a:gdLst/>
          <a:ahLst/>
          <a:cxnLst/>
          <a:rect l="0" t="0" r="0" b="0"/>
          <a:pathLst>
            <a:path>
              <a:moveTo>
                <a:pt x="0" y="0"/>
              </a:moveTo>
              <a:lnTo>
                <a:pt x="0" y="3227209"/>
              </a:lnTo>
              <a:lnTo>
                <a:pt x="278765" y="3227209"/>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A7D1AF0-0B25-0346-ABA6-A1D012A49125}">
      <dsp:nvSpPr>
        <dsp:cNvPr id="0" name=""/>
        <dsp:cNvSpPr/>
      </dsp:nvSpPr>
      <dsp:spPr>
        <a:xfrm>
          <a:off x="2358936" y="1596608"/>
          <a:ext cx="278765" cy="2131184"/>
        </a:xfrm>
        <a:custGeom>
          <a:avLst/>
          <a:gdLst/>
          <a:ahLst/>
          <a:cxnLst/>
          <a:rect l="0" t="0" r="0" b="0"/>
          <a:pathLst>
            <a:path>
              <a:moveTo>
                <a:pt x="0" y="0"/>
              </a:moveTo>
              <a:lnTo>
                <a:pt x="0" y="2131184"/>
              </a:lnTo>
              <a:lnTo>
                <a:pt x="278765" y="2131184"/>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97B378AB-53B0-9247-8832-CB1FA46EE6CC}">
      <dsp:nvSpPr>
        <dsp:cNvPr id="0" name=""/>
        <dsp:cNvSpPr/>
      </dsp:nvSpPr>
      <dsp:spPr>
        <a:xfrm>
          <a:off x="2358936" y="1596608"/>
          <a:ext cx="278765" cy="860552"/>
        </a:xfrm>
        <a:custGeom>
          <a:avLst/>
          <a:gdLst/>
          <a:ahLst/>
          <a:cxnLst/>
          <a:rect l="0" t="0" r="0" b="0"/>
          <a:pathLst>
            <a:path>
              <a:moveTo>
                <a:pt x="0" y="0"/>
              </a:moveTo>
              <a:lnTo>
                <a:pt x="0" y="860552"/>
              </a:lnTo>
              <a:lnTo>
                <a:pt x="278765" y="860552"/>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DC738067-ACC0-DC4B-87E8-CE7417B89343}">
      <dsp:nvSpPr>
        <dsp:cNvPr id="0" name=""/>
        <dsp:cNvSpPr/>
      </dsp:nvSpPr>
      <dsp:spPr>
        <a:xfrm>
          <a:off x="3102310" y="493336"/>
          <a:ext cx="3257376" cy="357678"/>
        </a:xfrm>
        <a:custGeom>
          <a:avLst/>
          <a:gdLst/>
          <a:ahLst/>
          <a:cxnLst/>
          <a:rect l="0" t="0" r="0" b="0"/>
          <a:pathLst>
            <a:path>
              <a:moveTo>
                <a:pt x="3257376" y="0"/>
              </a:moveTo>
              <a:lnTo>
                <a:pt x="3257376" y="201104"/>
              </a:lnTo>
              <a:lnTo>
                <a:pt x="0" y="201104"/>
              </a:lnTo>
              <a:lnTo>
                <a:pt x="0"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CA284B0A-7BCA-AC41-B995-F7250AA6BC6F}">
      <dsp:nvSpPr>
        <dsp:cNvPr id="0" name=""/>
        <dsp:cNvSpPr/>
      </dsp:nvSpPr>
      <dsp:spPr>
        <a:xfrm>
          <a:off x="187352" y="1596608"/>
          <a:ext cx="278765" cy="3936738"/>
        </a:xfrm>
        <a:custGeom>
          <a:avLst/>
          <a:gdLst/>
          <a:ahLst/>
          <a:cxnLst/>
          <a:rect l="0" t="0" r="0" b="0"/>
          <a:pathLst>
            <a:path>
              <a:moveTo>
                <a:pt x="0" y="0"/>
              </a:moveTo>
              <a:lnTo>
                <a:pt x="0" y="3936738"/>
              </a:lnTo>
              <a:lnTo>
                <a:pt x="278765" y="393673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9E99F7A-7F6A-BA47-9D9C-19700511A85E}">
      <dsp:nvSpPr>
        <dsp:cNvPr id="0" name=""/>
        <dsp:cNvSpPr/>
      </dsp:nvSpPr>
      <dsp:spPr>
        <a:xfrm>
          <a:off x="187352" y="1596608"/>
          <a:ext cx="278765" cy="2840713"/>
        </a:xfrm>
        <a:custGeom>
          <a:avLst/>
          <a:gdLst/>
          <a:ahLst/>
          <a:cxnLst/>
          <a:rect l="0" t="0" r="0" b="0"/>
          <a:pathLst>
            <a:path>
              <a:moveTo>
                <a:pt x="0" y="0"/>
              </a:moveTo>
              <a:lnTo>
                <a:pt x="0" y="2840713"/>
              </a:lnTo>
              <a:lnTo>
                <a:pt x="278765" y="2840713"/>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2DAC0E7-47A7-AB40-8A6D-9F6193F51A24}">
      <dsp:nvSpPr>
        <dsp:cNvPr id="0" name=""/>
        <dsp:cNvSpPr/>
      </dsp:nvSpPr>
      <dsp:spPr>
        <a:xfrm>
          <a:off x="187352" y="1596608"/>
          <a:ext cx="278765" cy="1744687"/>
        </a:xfrm>
        <a:custGeom>
          <a:avLst/>
          <a:gdLst/>
          <a:ahLst/>
          <a:cxnLst/>
          <a:rect l="0" t="0" r="0" b="0"/>
          <a:pathLst>
            <a:path>
              <a:moveTo>
                <a:pt x="0" y="0"/>
              </a:moveTo>
              <a:lnTo>
                <a:pt x="0" y="1744687"/>
              </a:lnTo>
              <a:lnTo>
                <a:pt x="278765" y="1744687"/>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675FC6CC-A4E0-224A-9983-899CD2904726}">
      <dsp:nvSpPr>
        <dsp:cNvPr id="0" name=""/>
        <dsp:cNvSpPr/>
      </dsp:nvSpPr>
      <dsp:spPr>
        <a:xfrm>
          <a:off x="187352" y="1596608"/>
          <a:ext cx="278765" cy="685945"/>
        </a:xfrm>
        <a:custGeom>
          <a:avLst/>
          <a:gdLst/>
          <a:ahLst/>
          <a:cxnLst/>
          <a:rect l="0" t="0" r="0" b="0"/>
          <a:pathLst>
            <a:path>
              <a:moveTo>
                <a:pt x="0" y="0"/>
              </a:moveTo>
              <a:lnTo>
                <a:pt x="0" y="685945"/>
              </a:lnTo>
              <a:lnTo>
                <a:pt x="278765" y="685945"/>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CBAFD70-8FC7-BE46-94D6-E581D737F315}">
      <dsp:nvSpPr>
        <dsp:cNvPr id="0" name=""/>
        <dsp:cNvSpPr/>
      </dsp:nvSpPr>
      <dsp:spPr>
        <a:xfrm>
          <a:off x="930726" y="493336"/>
          <a:ext cx="5428960" cy="357678"/>
        </a:xfrm>
        <a:custGeom>
          <a:avLst/>
          <a:gdLst/>
          <a:ahLst/>
          <a:cxnLst/>
          <a:rect l="0" t="0" r="0" b="0"/>
          <a:pathLst>
            <a:path>
              <a:moveTo>
                <a:pt x="5428960" y="0"/>
              </a:moveTo>
              <a:lnTo>
                <a:pt x="5428960" y="201104"/>
              </a:lnTo>
              <a:lnTo>
                <a:pt x="0" y="201104"/>
              </a:lnTo>
              <a:lnTo>
                <a:pt x="0" y="357678"/>
              </a:lnTo>
            </a:path>
          </a:pathLst>
        </a:custGeom>
        <a:noFill/>
        <a:ln w="9525" cap="flat" cmpd="sng" algn="ctr">
          <a:solidFill>
            <a:schemeClr val="bg1">
              <a:lumMod val="7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51504BC8-E2F6-8A40-8047-FE51F82DAFC3}">
      <dsp:nvSpPr>
        <dsp:cNvPr id="0" name=""/>
        <dsp:cNvSpPr/>
      </dsp:nvSpPr>
      <dsp:spPr>
        <a:xfrm>
          <a:off x="5029675" y="0"/>
          <a:ext cx="2660022" cy="493336"/>
        </a:xfrm>
        <a:prstGeom prst="roundRect">
          <a:avLst/>
        </a:prstGeom>
        <a:solidFill>
          <a:schemeClr val="lt1"/>
        </a:solidFill>
        <a:ln w="38100" cap="flat" cmpd="sng" algn="ctr">
          <a:solidFill>
            <a:srgbClr val="20D6EC"/>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pt-BR" sz="2000" b="1" kern="1200" dirty="0">
              <a:latin typeface="+mj-lt"/>
            </a:rPr>
            <a:t>1. Projeto PMO - EGP</a:t>
          </a:r>
        </a:p>
      </dsp:txBody>
      <dsp:txXfrm>
        <a:off x="5053758" y="24083"/>
        <a:ext cx="2611856" cy="445170"/>
      </dsp:txXfrm>
    </dsp:sp>
    <dsp:sp modelId="{EBA01F24-15EE-9C4F-8EFA-9119F6DCC6B9}">
      <dsp:nvSpPr>
        <dsp:cNvPr id="0" name=""/>
        <dsp:cNvSpPr/>
      </dsp:nvSpPr>
      <dsp:spPr>
        <a:xfrm>
          <a:off x="1508" y="851015"/>
          <a:ext cx="1858435"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1 gerenciamento  do projeto</a:t>
          </a:r>
        </a:p>
      </dsp:txBody>
      <dsp:txXfrm>
        <a:off x="37905" y="887412"/>
        <a:ext cx="1785641" cy="672798"/>
      </dsp:txXfrm>
    </dsp:sp>
    <dsp:sp modelId="{EADEF8E4-20C1-7949-A728-D7F5A64081BB}">
      <dsp:nvSpPr>
        <dsp:cNvPr id="0" name=""/>
        <dsp:cNvSpPr/>
      </dsp:nvSpPr>
      <dsp:spPr>
        <a:xfrm>
          <a:off x="466117" y="1909757"/>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1.1 abertura</a:t>
          </a:r>
        </a:p>
      </dsp:txBody>
      <dsp:txXfrm>
        <a:off x="502514" y="1946154"/>
        <a:ext cx="1631840" cy="672798"/>
      </dsp:txXfrm>
    </dsp:sp>
    <dsp:sp modelId="{9CE777C7-C4DF-564B-B993-CED54A3B12B5}">
      <dsp:nvSpPr>
        <dsp:cNvPr id="0" name=""/>
        <dsp:cNvSpPr/>
      </dsp:nvSpPr>
      <dsp:spPr>
        <a:xfrm>
          <a:off x="466117" y="2968499"/>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1.2 planejamento</a:t>
          </a:r>
        </a:p>
      </dsp:txBody>
      <dsp:txXfrm>
        <a:off x="502514" y="3004896"/>
        <a:ext cx="1631840" cy="672798"/>
      </dsp:txXfrm>
    </dsp:sp>
    <dsp:sp modelId="{FE77B062-EB70-9949-80B4-8D69637E320D}">
      <dsp:nvSpPr>
        <dsp:cNvPr id="0" name=""/>
        <dsp:cNvSpPr/>
      </dsp:nvSpPr>
      <dsp:spPr>
        <a:xfrm>
          <a:off x="466117" y="4027241"/>
          <a:ext cx="1704634" cy="820159"/>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1.3</a:t>
          </a:r>
          <a:r>
            <a:rPr lang="pt-BR" sz="1800" kern="1200" baseline="0" dirty="0">
              <a:solidFill>
                <a:schemeClr val="tx1"/>
              </a:solidFill>
              <a:latin typeface="+mj-lt"/>
            </a:rPr>
            <a:t> </a:t>
          </a:r>
          <a:r>
            <a:rPr lang="pt-BR" sz="1800" kern="1200" dirty="0">
              <a:solidFill>
                <a:schemeClr val="tx1"/>
              </a:solidFill>
              <a:latin typeface="+mj-lt"/>
            </a:rPr>
            <a:t>reuni</a:t>
          </a:r>
          <a:r>
            <a:rPr lang="en-US" sz="1800" kern="1200" dirty="0" err="1">
              <a:solidFill>
                <a:schemeClr val="tx1"/>
              </a:solidFill>
              <a:latin typeface="+mj-lt"/>
            </a:rPr>
            <a:t>ões</a:t>
          </a:r>
          <a:br>
            <a:rPr lang="en-US" sz="1800" kern="1200" dirty="0">
              <a:solidFill>
                <a:schemeClr val="tx1"/>
              </a:solidFill>
              <a:latin typeface="+mj-lt"/>
            </a:rPr>
          </a:br>
          <a:r>
            <a:rPr lang="en-US" sz="1800" kern="1200" dirty="0">
              <a:solidFill>
                <a:schemeClr val="tx1"/>
              </a:solidFill>
              <a:latin typeface="+mj-lt"/>
            </a:rPr>
            <a:t>e apresentações de gestão</a:t>
          </a:r>
          <a:endParaRPr lang="pt-BR" sz="1800" kern="1200" dirty="0">
            <a:solidFill>
              <a:schemeClr val="tx1"/>
            </a:solidFill>
            <a:latin typeface="+mj-lt"/>
          </a:endParaRPr>
        </a:p>
      </dsp:txBody>
      <dsp:txXfrm>
        <a:off x="506154" y="4067278"/>
        <a:ext cx="1624560" cy="740085"/>
      </dsp:txXfrm>
    </dsp:sp>
    <dsp:sp modelId="{6CA59EEF-489F-BA42-A850-785B6A5B5B63}">
      <dsp:nvSpPr>
        <dsp:cNvPr id="0" name=""/>
        <dsp:cNvSpPr/>
      </dsp:nvSpPr>
      <dsp:spPr>
        <a:xfrm>
          <a:off x="466117" y="5160550"/>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1.4 </a:t>
          </a:r>
          <a:r>
            <a:rPr lang="pt-BR" sz="1800" kern="1200" dirty="0" err="1">
              <a:solidFill>
                <a:schemeClr val="tx1"/>
              </a:solidFill>
              <a:latin typeface="+mj-lt"/>
            </a:rPr>
            <a:t>relat</a:t>
          </a:r>
          <a:r>
            <a:rPr lang="en-US" sz="1800" kern="1200" dirty="0">
              <a:solidFill>
                <a:schemeClr val="tx1"/>
              </a:solidFill>
              <a:latin typeface="+mj-lt"/>
            </a:rPr>
            <a:t>órios de desempenho</a:t>
          </a:r>
          <a:endParaRPr lang="pt-BR" sz="1800" kern="1200" dirty="0">
            <a:solidFill>
              <a:schemeClr val="tx1"/>
            </a:solidFill>
            <a:latin typeface="+mj-lt"/>
          </a:endParaRPr>
        </a:p>
      </dsp:txBody>
      <dsp:txXfrm>
        <a:off x="502514" y="5196947"/>
        <a:ext cx="1631840" cy="672798"/>
      </dsp:txXfrm>
    </dsp:sp>
    <dsp:sp modelId="{C2D83C95-216F-604E-8802-064277EFACC1}">
      <dsp:nvSpPr>
        <dsp:cNvPr id="0" name=""/>
        <dsp:cNvSpPr/>
      </dsp:nvSpPr>
      <dsp:spPr>
        <a:xfrm>
          <a:off x="2173092" y="851015"/>
          <a:ext cx="1858435"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2 </a:t>
          </a:r>
          <a:r>
            <a:rPr lang="pt-BR" sz="1800" kern="1200" dirty="0" err="1">
              <a:solidFill>
                <a:schemeClr val="tx1"/>
              </a:solidFill>
              <a:latin typeface="+mj-lt"/>
            </a:rPr>
            <a:t>diagn</a:t>
          </a:r>
          <a:r>
            <a:rPr lang="en-US" sz="1800" kern="1200" dirty="0" err="1">
              <a:solidFill>
                <a:schemeClr val="tx1"/>
              </a:solidFill>
              <a:latin typeface="+mj-lt"/>
            </a:rPr>
            <a:t>óstico</a:t>
          </a:r>
          <a:endParaRPr lang="pt-BR" sz="1800" kern="1200" dirty="0">
            <a:solidFill>
              <a:schemeClr val="tx1"/>
            </a:solidFill>
            <a:latin typeface="+mj-lt"/>
          </a:endParaRPr>
        </a:p>
      </dsp:txBody>
      <dsp:txXfrm>
        <a:off x="2209489" y="887412"/>
        <a:ext cx="1785641" cy="672798"/>
      </dsp:txXfrm>
    </dsp:sp>
    <dsp:sp modelId="{36A78186-21BD-EF42-8435-5D79D6B1B0EE}">
      <dsp:nvSpPr>
        <dsp:cNvPr id="0" name=""/>
        <dsp:cNvSpPr/>
      </dsp:nvSpPr>
      <dsp:spPr>
        <a:xfrm>
          <a:off x="2637701" y="1909757"/>
          <a:ext cx="1704634" cy="1094806"/>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2.1 avalia</a:t>
          </a:r>
          <a:r>
            <a:rPr lang="en-US" sz="1800" kern="1200" dirty="0" err="1">
              <a:solidFill>
                <a:schemeClr val="tx1"/>
              </a:solidFill>
              <a:latin typeface="+mj-lt"/>
            </a:rPr>
            <a:t>ção</a:t>
          </a:r>
          <a:br>
            <a:rPr lang="en-US" sz="1800" kern="1200" dirty="0">
              <a:solidFill>
                <a:schemeClr val="tx1"/>
              </a:solidFill>
              <a:latin typeface="+mj-lt"/>
            </a:rPr>
          </a:br>
          <a:r>
            <a:rPr lang="en-US" sz="1800" kern="1200" dirty="0">
              <a:solidFill>
                <a:schemeClr val="tx1"/>
              </a:solidFill>
              <a:latin typeface="+mj-lt"/>
            </a:rPr>
            <a:t>da maturidade </a:t>
          </a:r>
          <a:r>
            <a:rPr lang="en-US" sz="1800" kern="1200" dirty="0" err="1">
              <a:solidFill>
                <a:schemeClr val="tx1"/>
              </a:solidFill>
              <a:latin typeface="+mj-lt"/>
            </a:rPr>
            <a:t>em</a:t>
          </a:r>
          <a:r>
            <a:rPr lang="en-US" sz="1800" kern="1200" dirty="0">
              <a:solidFill>
                <a:schemeClr val="tx1"/>
              </a:solidFill>
              <a:latin typeface="+mj-lt"/>
            </a:rPr>
            <a:t> GP dos </a:t>
          </a:r>
          <a:r>
            <a:rPr lang="en-US" sz="1800" kern="1200" dirty="0" err="1">
              <a:solidFill>
                <a:schemeClr val="tx1"/>
              </a:solidFill>
              <a:latin typeface="+mj-lt"/>
            </a:rPr>
            <a:t>recursos</a:t>
          </a:r>
          <a:endParaRPr lang="pt-BR" sz="1800" kern="1200" dirty="0">
            <a:solidFill>
              <a:schemeClr val="tx1"/>
            </a:solidFill>
            <a:latin typeface="+mj-lt"/>
          </a:endParaRPr>
        </a:p>
      </dsp:txBody>
      <dsp:txXfrm>
        <a:off x="2691145" y="1963201"/>
        <a:ext cx="1597746" cy="987918"/>
      </dsp:txXfrm>
    </dsp:sp>
    <dsp:sp modelId="{2AB428A9-FC48-0741-9C42-0904E97E27CD}">
      <dsp:nvSpPr>
        <dsp:cNvPr id="0" name=""/>
        <dsp:cNvSpPr/>
      </dsp:nvSpPr>
      <dsp:spPr>
        <a:xfrm>
          <a:off x="2637701" y="3317712"/>
          <a:ext cx="1704634" cy="820159"/>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2.2 avalia</a:t>
          </a:r>
          <a:r>
            <a:rPr lang="en-US" sz="1800" kern="1200" dirty="0" err="1">
              <a:solidFill>
                <a:schemeClr val="tx1"/>
              </a:solidFill>
              <a:latin typeface="+mj-lt"/>
            </a:rPr>
            <a:t>ção</a:t>
          </a:r>
          <a:br>
            <a:rPr lang="en-US" sz="1800" kern="1200" dirty="0">
              <a:solidFill>
                <a:schemeClr val="tx1"/>
              </a:solidFill>
              <a:latin typeface="+mj-lt"/>
            </a:rPr>
          </a:br>
          <a:r>
            <a:rPr lang="en-US" sz="1800" kern="1200" dirty="0">
              <a:solidFill>
                <a:schemeClr val="tx1"/>
              </a:solidFill>
              <a:latin typeface="+mj-lt"/>
            </a:rPr>
            <a:t>da </a:t>
          </a:r>
          <a:r>
            <a:rPr lang="en-US" sz="1800" kern="1200" dirty="0" err="1">
              <a:solidFill>
                <a:schemeClr val="tx1"/>
              </a:solidFill>
              <a:latin typeface="+mj-lt"/>
            </a:rPr>
            <a:t>maturidade</a:t>
          </a:r>
          <a:br>
            <a:rPr lang="en-US" sz="1800" kern="1200" dirty="0">
              <a:solidFill>
                <a:schemeClr val="tx1"/>
              </a:solidFill>
              <a:latin typeface="+mj-lt"/>
            </a:rPr>
          </a:br>
          <a:r>
            <a:rPr lang="en-US" sz="1800" kern="1200" dirty="0">
              <a:solidFill>
                <a:schemeClr val="tx1"/>
              </a:solidFill>
              <a:latin typeface="+mj-lt"/>
            </a:rPr>
            <a:t>do PMO</a:t>
          </a:r>
          <a:endParaRPr lang="pt-BR" sz="1800" kern="1200" dirty="0">
            <a:solidFill>
              <a:schemeClr val="tx1"/>
            </a:solidFill>
            <a:latin typeface="+mj-lt"/>
          </a:endParaRPr>
        </a:p>
      </dsp:txBody>
      <dsp:txXfrm>
        <a:off x="2677738" y="3357749"/>
        <a:ext cx="1624560" cy="740085"/>
      </dsp:txXfrm>
    </dsp:sp>
    <dsp:sp modelId="{3CBCECA8-B45B-C945-BF11-292AAFCA14D8}">
      <dsp:nvSpPr>
        <dsp:cNvPr id="0" name=""/>
        <dsp:cNvSpPr/>
      </dsp:nvSpPr>
      <dsp:spPr>
        <a:xfrm>
          <a:off x="2637701" y="4451021"/>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2.3 relat</a:t>
          </a:r>
          <a:r>
            <a:rPr lang="en-US" sz="1800" kern="1200" dirty="0">
              <a:solidFill>
                <a:schemeClr val="tx1"/>
              </a:solidFill>
              <a:latin typeface="+mj-lt"/>
            </a:rPr>
            <a:t>ório da avaliação</a:t>
          </a:r>
          <a:endParaRPr lang="pt-BR" sz="1800" kern="1200" dirty="0">
            <a:solidFill>
              <a:schemeClr val="tx1"/>
            </a:solidFill>
            <a:latin typeface="+mj-lt"/>
          </a:endParaRPr>
        </a:p>
      </dsp:txBody>
      <dsp:txXfrm>
        <a:off x="2674098" y="4487418"/>
        <a:ext cx="1631840" cy="672798"/>
      </dsp:txXfrm>
    </dsp:sp>
    <dsp:sp modelId="{B4D78BD7-7D8A-FE43-A913-2972F64C4A6D}">
      <dsp:nvSpPr>
        <dsp:cNvPr id="0" name=""/>
        <dsp:cNvSpPr/>
      </dsp:nvSpPr>
      <dsp:spPr>
        <a:xfrm>
          <a:off x="4344677" y="851015"/>
          <a:ext cx="1858435"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3 estrutura do PMO</a:t>
          </a:r>
        </a:p>
      </dsp:txBody>
      <dsp:txXfrm>
        <a:off x="4381074" y="887412"/>
        <a:ext cx="1785641" cy="672798"/>
      </dsp:txXfrm>
    </dsp:sp>
    <dsp:sp modelId="{F7B58E89-0C5B-4D4E-B10A-CCA6536FD4EE}">
      <dsp:nvSpPr>
        <dsp:cNvPr id="0" name=""/>
        <dsp:cNvSpPr/>
      </dsp:nvSpPr>
      <dsp:spPr>
        <a:xfrm>
          <a:off x="4809286" y="1909757"/>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3.1 estrutura f</a:t>
          </a:r>
          <a:r>
            <a:rPr lang="en-US" sz="1800" kern="1200" dirty="0" err="1">
              <a:solidFill>
                <a:schemeClr val="tx1"/>
              </a:solidFill>
              <a:latin typeface="+mj-lt"/>
            </a:rPr>
            <a:t>ísica</a:t>
          </a:r>
          <a:endParaRPr lang="pt-BR" sz="1800" kern="1200" dirty="0">
            <a:solidFill>
              <a:schemeClr val="tx1"/>
            </a:solidFill>
            <a:latin typeface="+mj-lt"/>
          </a:endParaRPr>
        </a:p>
      </dsp:txBody>
      <dsp:txXfrm>
        <a:off x="4845683" y="1946154"/>
        <a:ext cx="1631840" cy="672798"/>
      </dsp:txXfrm>
    </dsp:sp>
    <dsp:sp modelId="{8D30806A-7670-8E40-9650-221FAE93BE90}">
      <dsp:nvSpPr>
        <dsp:cNvPr id="0" name=""/>
        <dsp:cNvSpPr/>
      </dsp:nvSpPr>
      <dsp:spPr>
        <a:xfrm>
          <a:off x="4809286" y="2968499"/>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3.2 equipe</a:t>
          </a:r>
        </a:p>
      </dsp:txBody>
      <dsp:txXfrm>
        <a:off x="4845683" y="3004896"/>
        <a:ext cx="1631840" cy="672798"/>
      </dsp:txXfrm>
    </dsp:sp>
    <dsp:sp modelId="{1312EA39-EBC1-E346-B46D-32528CDEE232}">
      <dsp:nvSpPr>
        <dsp:cNvPr id="0" name=""/>
        <dsp:cNvSpPr/>
      </dsp:nvSpPr>
      <dsp:spPr>
        <a:xfrm>
          <a:off x="6516261" y="851015"/>
          <a:ext cx="1858435"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4 metodologias e ferramentas</a:t>
          </a:r>
        </a:p>
      </dsp:txBody>
      <dsp:txXfrm>
        <a:off x="6552658" y="887412"/>
        <a:ext cx="1785641" cy="672798"/>
      </dsp:txXfrm>
    </dsp:sp>
    <dsp:sp modelId="{54E0F557-9053-CA48-A0EC-1606CFC1344B}">
      <dsp:nvSpPr>
        <dsp:cNvPr id="0" name=""/>
        <dsp:cNvSpPr/>
      </dsp:nvSpPr>
      <dsp:spPr>
        <a:xfrm>
          <a:off x="6980870" y="1909757"/>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4.1 metodologias </a:t>
          </a:r>
        </a:p>
      </dsp:txBody>
      <dsp:txXfrm>
        <a:off x="7017267" y="1946154"/>
        <a:ext cx="1631840" cy="672798"/>
      </dsp:txXfrm>
    </dsp:sp>
    <dsp:sp modelId="{AF6C94CD-2A36-2240-A678-5CEF507BEBC4}">
      <dsp:nvSpPr>
        <dsp:cNvPr id="0" name=""/>
        <dsp:cNvSpPr/>
      </dsp:nvSpPr>
      <dsp:spPr>
        <a:xfrm>
          <a:off x="6980870" y="2968499"/>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4.2 f</a:t>
          </a:r>
          <a:r>
            <a:rPr lang="en-US" sz="1800" kern="1200" dirty="0">
              <a:solidFill>
                <a:schemeClr val="tx1"/>
              </a:solidFill>
              <a:latin typeface="+mj-lt"/>
            </a:rPr>
            <a:t>erramentas </a:t>
          </a:r>
          <a:endParaRPr lang="pt-BR" sz="1800" kern="1200" dirty="0">
            <a:solidFill>
              <a:schemeClr val="tx1"/>
            </a:solidFill>
            <a:latin typeface="+mj-lt"/>
          </a:endParaRPr>
        </a:p>
      </dsp:txBody>
      <dsp:txXfrm>
        <a:off x="7017267" y="3004896"/>
        <a:ext cx="1631840" cy="672798"/>
      </dsp:txXfrm>
    </dsp:sp>
    <dsp:sp modelId="{25BB3E6E-4455-034B-A18A-E62E43FDBF4D}">
      <dsp:nvSpPr>
        <dsp:cNvPr id="0" name=""/>
        <dsp:cNvSpPr/>
      </dsp:nvSpPr>
      <dsp:spPr>
        <a:xfrm>
          <a:off x="6980870" y="4027241"/>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4.3 treinamentos</a:t>
          </a:r>
        </a:p>
      </dsp:txBody>
      <dsp:txXfrm>
        <a:off x="7017267" y="4063638"/>
        <a:ext cx="1631840" cy="672798"/>
      </dsp:txXfrm>
    </dsp:sp>
    <dsp:sp modelId="{2DDC2A29-0237-734B-B9A8-5695A1A93E01}">
      <dsp:nvSpPr>
        <dsp:cNvPr id="0" name=""/>
        <dsp:cNvSpPr/>
      </dsp:nvSpPr>
      <dsp:spPr>
        <a:xfrm>
          <a:off x="8687845" y="851015"/>
          <a:ext cx="1858435"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5 </a:t>
          </a:r>
        </a:p>
        <a:p>
          <a:pPr marL="0" lvl="0" indent="0" algn="ctr" defTabSz="800100">
            <a:lnSpc>
              <a:spcPct val="90000"/>
            </a:lnSpc>
            <a:spcBef>
              <a:spcPct val="0"/>
            </a:spcBef>
            <a:spcAft>
              <a:spcPct val="35000"/>
            </a:spcAft>
            <a:buNone/>
          </a:pPr>
          <a:r>
            <a:rPr lang="pt-BR" sz="1800" kern="1200" dirty="0">
              <a:solidFill>
                <a:schemeClr val="tx1"/>
              </a:solidFill>
              <a:latin typeface="+mj-lt"/>
            </a:rPr>
            <a:t>projeto piloto</a:t>
          </a:r>
        </a:p>
      </dsp:txBody>
      <dsp:txXfrm>
        <a:off x="8724242" y="887412"/>
        <a:ext cx="1785641" cy="672798"/>
      </dsp:txXfrm>
    </dsp:sp>
    <dsp:sp modelId="{E4A9D74A-299E-F64C-9403-65D73878B695}">
      <dsp:nvSpPr>
        <dsp:cNvPr id="0" name=""/>
        <dsp:cNvSpPr/>
      </dsp:nvSpPr>
      <dsp:spPr>
        <a:xfrm>
          <a:off x="9152454" y="1909757"/>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5.1 defini</a:t>
          </a:r>
          <a:r>
            <a:rPr lang="en-US" sz="1800" kern="1200" dirty="0">
              <a:solidFill>
                <a:schemeClr val="tx1"/>
              </a:solidFill>
              <a:latin typeface="+mj-lt"/>
            </a:rPr>
            <a:t>ção</a:t>
          </a:r>
          <a:endParaRPr lang="pt-BR" sz="1800" kern="1200" dirty="0">
            <a:solidFill>
              <a:schemeClr val="tx1"/>
            </a:solidFill>
            <a:latin typeface="+mj-lt"/>
          </a:endParaRPr>
        </a:p>
      </dsp:txBody>
      <dsp:txXfrm>
        <a:off x="9188851" y="1946154"/>
        <a:ext cx="1631840" cy="672798"/>
      </dsp:txXfrm>
    </dsp:sp>
    <dsp:sp modelId="{A1B04027-0181-C24A-B100-EBD4F003079D}">
      <dsp:nvSpPr>
        <dsp:cNvPr id="0" name=""/>
        <dsp:cNvSpPr/>
      </dsp:nvSpPr>
      <dsp:spPr>
        <a:xfrm>
          <a:off x="9152454" y="2968499"/>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5.2 desenvolvimento</a:t>
          </a:r>
        </a:p>
      </dsp:txBody>
      <dsp:txXfrm>
        <a:off x="9188851" y="3004896"/>
        <a:ext cx="1631840" cy="672798"/>
      </dsp:txXfrm>
    </dsp:sp>
    <dsp:sp modelId="{A29B912C-660E-0744-A367-75848C32D994}">
      <dsp:nvSpPr>
        <dsp:cNvPr id="0" name=""/>
        <dsp:cNvSpPr/>
      </dsp:nvSpPr>
      <dsp:spPr>
        <a:xfrm>
          <a:off x="9152454" y="4027241"/>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5.3 </a:t>
          </a:r>
          <a:r>
            <a:rPr lang="pt-BR" sz="1800" kern="1200" dirty="0" err="1">
              <a:solidFill>
                <a:schemeClr val="tx1"/>
              </a:solidFill>
              <a:latin typeface="+mj-lt"/>
            </a:rPr>
            <a:t>relat</a:t>
          </a:r>
          <a:r>
            <a:rPr lang="en-US" sz="1800" kern="1200" dirty="0" err="1">
              <a:solidFill>
                <a:schemeClr val="tx1"/>
              </a:solidFill>
              <a:latin typeface="+mj-lt"/>
            </a:rPr>
            <a:t>órios</a:t>
          </a:r>
          <a:br>
            <a:rPr lang="en-US" sz="1800" kern="1200" dirty="0">
              <a:solidFill>
                <a:schemeClr val="tx1"/>
              </a:solidFill>
              <a:latin typeface="+mj-lt"/>
            </a:rPr>
          </a:br>
          <a:r>
            <a:rPr lang="en-US" sz="1800" kern="1200" dirty="0">
              <a:solidFill>
                <a:schemeClr val="tx1"/>
              </a:solidFill>
              <a:latin typeface="+mj-lt"/>
            </a:rPr>
            <a:t>de diagnóstico</a:t>
          </a:r>
          <a:endParaRPr lang="pt-BR" sz="1800" kern="1200" dirty="0">
            <a:solidFill>
              <a:schemeClr val="tx1"/>
            </a:solidFill>
            <a:latin typeface="+mj-lt"/>
          </a:endParaRPr>
        </a:p>
      </dsp:txBody>
      <dsp:txXfrm>
        <a:off x="9188851" y="4063638"/>
        <a:ext cx="1631840" cy="672798"/>
      </dsp:txXfrm>
    </dsp:sp>
    <dsp:sp modelId="{DD913B96-FAE8-3C4E-BA1F-C59C531DE29C}">
      <dsp:nvSpPr>
        <dsp:cNvPr id="0" name=""/>
        <dsp:cNvSpPr/>
      </dsp:nvSpPr>
      <dsp:spPr>
        <a:xfrm>
          <a:off x="9152454" y="5085983"/>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5.4 ajustes e melhorias</a:t>
          </a:r>
        </a:p>
      </dsp:txBody>
      <dsp:txXfrm>
        <a:off x="9188851" y="5122380"/>
        <a:ext cx="1631840" cy="672798"/>
      </dsp:txXfrm>
    </dsp:sp>
    <dsp:sp modelId="{1AAD6C82-C84B-F74C-A5DC-6B98F1A5A8D8}">
      <dsp:nvSpPr>
        <dsp:cNvPr id="0" name=""/>
        <dsp:cNvSpPr/>
      </dsp:nvSpPr>
      <dsp:spPr>
        <a:xfrm>
          <a:off x="10859430" y="851015"/>
          <a:ext cx="1858435" cy="873857"/>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6 </a:t>
          </a:r>
        </a:p>
        <a:p>
          <a:pPr marL="0" lvl="0" indent="0" algn="ctr" defTabSz="800100">
            <a:lnSpc>
              <a:spcPct val="90000"/>
            </a:lnSpc>
            <a:spcBef>
              <a:spcPct val="0"/>
            </a:spcBef>
            <a:spcAft>
              <a:spcPct val="35000"/>
            </a:spcAft>
            <a:buNone/>
          </a:pPr>
          <a:r>
            <a:rPr lang="pt-BR" sz="1800" kern="1200" dirty="0">
              <a:solidFill>
                <a:schemeClr val="tx1"/>
              </a:solidFill>
              <a:latin typeface="+mj-lt"/>
            </a:rPr>
            <a:t>encerramento do projeto</a:t>
          </a:r>
        </a:p>
      </dsp:txBody>
      <dsp:txXfrm>
        <a:off x="10902088" y="893673"/>
        <a:ext cx="1773119" cy="788541"/>
      </dsp:txXfrm>
    </dsp:sp>
    <dsp:sp modelId="{283582DC-47AB-EA4F-AD82-E57B7AE8A502}">
      <dsp:nvSpPr>
        <dsp:cNvPr id="0" name=""/>
        <dsp:cNvSpPr/>
      </dsp:nvSpPr>
      <dsp:spPr>
        <a:xfrm>
          <a:off x="11324039" y="2038021"/>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6.1 avalia</a:t>
          </a:r>
          <a:r>
            <a:rPr lang="en-US" sz="1800" kern="1200" dirty="0">
              <a:solidFill>
                <a:schemeClr val="tx1"/>
              </a:solidFill>
              <a:latin typeface="+mj-lt"/>
            </a:rPr>
            <a:t>ção final</a:t>
          </a:r>
          <a:endParaRPr lang="pt-BR" sz="1800" kern="1200" dirty="0">
            <a:solidFill>
              <a:schemeClr val="tx1"/>
            </a:solidFill>
            <a:latin typeface="+mj-lt"/>
          </a:endParaRPr>
        </a:p>
      </dsp:txBody>
      <dsp:txXfrm>
        <a:off x="11360436" y="2074418"/>
        <a:ext cx="1631840" cy="672798"/>
      </dsp:txXfrm>
    </dsp:sp>
    <dsp:sp modelId="{91195604-31C4-1C43-AD7B-A1D0B75A91D4}">
      <dsp:nvSpPr>
        <dsp:cNvPr id="0" name=""/>
        <dsp:cNvSpPr/>
      </dsp:nvSpPr>
      <dsp:spPr>
        <a:xfrm>
          <a:off x="11324039" y="3096763"/>
          <a:ext cx="1704634" cy="7455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6.2 li</a:t>
          </a:r>
          <a:r>
            <a:rPr lang="en-US" sz="1800" kern="1200" dirty="0">
              <a:solidFill>
                <a:schemeClr val="tx1"/>
              </a:solidFill>
              <a:latin typeface="+mj-lt"/>
            </a:rPr>
            <a:t>ções aprendidas</a:t>
          </a:r>
          <a:endParaRPr lang="pt-BR" sz="1800" kern="1200" dirty="0">
            <a:solidFill>
              <a:schemeClr val="tx1"/>
            </a:solidFill>
            <a:latin typeface="+mj-lt"/>
          </a:endParaRPr>
        </a:p>
      </dsp:txBody>
      <dsp:txXfrm>
        <a:off x="11360436" y="3133160"/>
        <a:ext cx="1631840" cy="672798"/>
      </dsp:txXfrm>
    </dsp:sp>
    <dsp:sp modelId="{B6F890C9-8E1B-BA4F-9375-90B45AFBE926}">
      <dsp:nvSpPr>
        <dsp:cNvPr id="0" name=""/>
        <dsp:cNvSpPr/>
      </dsp:nvSpPr>
      <dsp:spPr>
        <a:xfrm>
          <a:off x="11324039" y="4155505"/>
          <a:ext cx="1704634" cy="1134292"/>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6.3 fechamento administrativo e</a:t>
          </a:r>
          <a:r>
            <a:rPr lang="pt-BR" sz="1800" kern="1200" baseline="0" dirty="0">
              <a:solidFill>
                <a:schemeClr val="tx1"/>
              </a:solidFill>
              <a:latin typeface="+mj-lt"/>
            </a:rPr>
            <a:t> </a:t>
          </a:r>
          <a:r>
            <a:rPr lang="pt-BR" sz="1800" kern="1200" dirty="0">
              <a:solidFill>
                <a:schemeClr val="tx1"/>
              </a:solidFill>
              <a:latin typeface="+mj-lt"/>
            </a:rPr>
            <a:t>financeiro</a:t>
          </a:r>
        </a:p>
      </dsp:txBody>
      <dsp:txXfrm>
        <a:off x="11379411" y="4210877"/>
        <a:ext cx="1593890" cy="1023548"/>
      </dsp:txXfrm>
    </dsp:sp>
    <dsp:sp modelId="{961982EB-D928-8C4B-91FE-EDA56851AE8A}">
      <dsp:nvSpPr>
        <dsp:cNvPr id="0" name=""/>
        <dsp:cNvSpPr/>
      </dsp:nvSpPr>
      <dsp:spPr>
        <a:xfrm>
          <a:off x="11324039" y="5602947"/>
          <a:ext cx="1704634" cy="820159"/>
        </a:xfrm>
        <a:prstGeom prst="roundRect">
          <a:avLst/>
        </a:prstGeom>
        <a:noFill/>
        <a:ln w="38100" cap="flat" cmpd="sng" algn="ctr">
          <a:solidFill>
            <a:srgbClr val="FF970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t-BR" sz="1800" kern="1200" dirty="0">
              <a:solidFill>
                <a:schemeClr val="tx1"/>
              </a:solidFill>
              <a:latin typeface="+mj-lt"/>
            </a:rPr>
            <a:t>1.6.4 desmobiliza</a:t>
          </a:r>
          <a:r>
            <a:rPr lang="en-US" sz="1800" kern="1200" dirty="0">
              <a:solidFill>
                <a:schemeClr val="tx1"/>
              </a:solidFill>
              <a:latin typeface="+mj-lt"/>
            </a:rPr>
            <a:t>ção da equipe</a:t>
          </a:r>
          <a:endParaRPr lang="pt-BR" sz="1800" kern="1200" dirty="0">
            <a:solidFill>
              <a:schemeClr val="tx1"/>
            </a:solidFill>
            <a:latin typeface="+mj-lt"/>
          </a:endParaRPr>
        </a:p>
      </dsp:txBody>
      <dsp:txXfrm>
        <a:off x="11364076" y="5642984"/>
        <a:ext cx="1624560" cy="7400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CA7BD-EC61-D447-8AA1-C4EE9AFA8F54}">
      <dsp:nvSpPr>
        <dsp:cNvPr id="0" name=""/>
        <dsp:cNvSpPr/>
      </dsp:nvSpPr>
      <dsp:spPr>
        <a:xfrm>
          <a:off x="2270270" y="1997960"/>
          <a:ext cx="313415" cy="3684729"/>
        </a:xfrm>
        <a:custGeom>
          <a:avLst/>
          <a:gdLst/>
          <a:ahLst/>
          <a:cxnLst/>
          <a:rect l="0" t="0" r="0" b="0"/>
          <a:pathLst>
            <a:path>
              <a:moveTo>
                <a:pt x="0" y="0"/>
              </a:moveTo>
              <a:lnTo>
                <a:pt x="0" y="3684729"/>
              </a:lnTo>
              <a:lnTo>
                <a:pt x="313415" y="3684729"/>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2FAFB58E-084C-9445-92B6-723EFDCB93A1}">
      <dsp:nvSpPr>
        <dsp:cNvPr id="0" name=""/>
        <dsp:cNvSpPr/>
      </dsp:nvSpPr>
      <dsp:spPr>
        <a:xfrm>
          <a:off x="2270270" y="1997960"/>
          <a:ext cx="313415" cy="2472419"/>
        </a:xfrm>
        <a:custGeom>
          <a:avLst/>
          <a:gdLst/>
          <a:ahLst/>
          <a:cxnLst/>
          <a:rect l="0" t="0" r="0" b="0"/>
          <a:pathLst>
            <a:path>
              <a:moveTo>
                <a:pt x="0" y="0"/>
              </a:moveTo>
              <a:lnTo>
                <a:pt x="0" y="2472419"/>
              </a:lnTo>
              <a:lnTo>
                <a:pt x="313415" y="2472419"/>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89A64526-BF24-6D4C-95D5-51EEAA119027}">
      <dsp:nvSpPr>
        <dsp:cNvPr id="0" name=""/>
        <dsp:cNvSpPr/>
      </dsp:nvSpPr>
      <dsp:spPr>
        <a:xfrm>
          <a:off x="2270270" y="1997960"/>
          <a:ext cx="313615" cy="1417503"/>
        </a:xfrm>
        <a:custGeom>
          <a:avLst/>
          <a:gdLst/>
          <a:ahLst/>
          <a:cxnLst/>
          <a:rect l="0" t="0" r="0" b="0"/>
          <a:pathLst>
            <a:path>
              <a:moveTo>
                <a:pt x="0" y="0"/>
              </a:moveTo>
              <a:lnTo>
                <a:pt x="0" y="1417503"/>
              </a:lnTo>
              <a:lnTo>
                <a:pt x="313615" y="1417503"/>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7D618311-1AE4-E24A-A50B-C32F047C3E95}">
      <dsp:nvSpPr>
        <dsp:cNvPr id="0" name=""/>
        <dsp:cNvSpPr/>
      </dsp:nvSpPr>
      <dsp:spPr>
        <a:xfrm>
          <a:off x="2270270" y="1997960"/>
          <a:ext cx="313415" cy="524678"/>
        </a:xfrm>
        <a:custGeom>
          <a:avLst/>
          <a:gdLst/>
          <a:ahLst/>
          <a:cxnLst/>
          <a:rect l="0" t="0" r="0" b="0"/>
          <a:pathLst>
            <a:path>
              <a:moveTo>
                <a:pt x="0" y="0"/>
              </a:moveTo>
              <a:lnTo>
                <a:pt x="0" y="524678"/>
              </a:lnTo>
              <a:lnTo>
                <a:pt x="313415" y="524678"/>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0F159072-5EE5-F142-95B4-46E74D2E6BD7}">
      <dsp:nvSpPr>
        <dsp:cNvPr id="0" name=""/>
        <dsp:cNvSpPr/>
      </dsp:nvSpPr>
      <dsp:spPr>
        <a:xfrm>
          <a:off x="2204359" y="1051909"/>
          <a:ext cx="901687" cy="220114"/>
        </a:xfrm>
        <a:custGeom>
          <a:avLst/>
          <a:gdLst/>
          <a:ahLst/>
          <a:cxnLst/>
          <a:rect l="0" t="0" r="0" b="0"/>
          <a:pathLst>
            <a:path>
              <a:moveTo>
                <a:pt x="0" y="0"/>
              </a:moveTo>
              <a:lnTo>
                <a:pt x="0" y="110057"/>
              </a:lnTo>
              <a:lnTo>
                <a:pt x="901687" y="110057"/>
              </a:lnTo>
              <a:lnTo>
                <a:pt x="901687" y="220114"/>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17891E95-6287-0246-B080-2A9222C4089A}">
      <dsp:nvSpPr>
        <dsp:cNvPr id="0" name=""/>
        <dsp:cNvSpPr/>
      </dsp:nvSpPr>
      <dsp:spPr>
        <a:xfrm>
          <a:off x="416278" y="1997960"/>
          <a:ext cx="237489" cy="1972160"/>
        </a:xfrm>
        <a:custGeom>
          <a:avLst/>
          <a:gdLst/>
          <a:ahLst/>
          <a:cxnLst/>
          <a:rect l="0" t="0" r="0" b="0"/>
          <a:pathLst>
            <a:path>
              <a:moveTo>
                <a:pt x="0" y="0"/>
              </a:moveTo>
              <a:lnTo>
                <a:pt x="0" y="1972160"/>
              </a:lnTo>
              <a:lnTo>
                <a:pt x="237489" y="1972160"/>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4D89C916-5A15-D740-8964-69657E206D42}">
      <dsp:nvSpPr>
        <dsp:cNvPr id="0" name=""/>
        <dsp:cNvSpPr/>
      </dsp:nvSpPr>
      <dsp:spPr>
        <a:xfrm>
          <a:off x="416278" y="1997960"/>
          <a:ext cx="237489" cy="730758"/>
        </a:xfrm>
        <a:custGeom>
          <a:avLst/>
          <a:gdLst/>
          <a:ahLst/>
          <a:cxnLst/>
          <a:rect l="0" t="0" r="0" b="0"/>
          <a:pathLst>
            <a:path>
              <a:moveTo>
                <a:pt x="0" y="0"/>
              </a:moveTo>
              <a:lnTo>
                <a:pt x="0" y="730758"/>
              </a:lnTo>
              <a:lnTo>
                <a:pt x="237489" y="730758"/>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D4F2288C-FAA1-3B45-AA48-F57136CFAFED}">
      <dsp:nvSpPr>
        <dsp:cNvPr id="0" name=""/>
        <dsp:cNvSpPr/>
      </dsp:nvSpPr>
      <dsp:spPr>
        <a:xfrm>
          <a:off x="1049582" y="1051909"/>
          <a:ext cx="1154776" cy="220114"/>
        </a:xfrm>
        <a:custGeom>
          <a:avLst/>
          <a:gdLst/>
          <a:ahLst/>
          <a:cxnLst/>
          <a:rect l="0" t="0" r="0" b="0"/>
          <a:pathLst>
            <a:path>
              <a:moveTo>
                <a:pt x="1154776" y="0"/>
              </a:moveTo>
              <a:lnTo>
                <a:pt x="1154776" y="110057"/>
              </a:lnTo>
              <a:lnTo>
                <a:pt x="0" y="110057"/>
              </a:lnTo>
              <a:lnTo>
                <a:pt x="0" y="220114"/>
              </a:lnTo>
            </a:path>
          </a:pathLst>
        </a:custGeom>
        <a:noFill/>
        <a:ln w="9525" cap="flat" cmpd="sng" algn="ctr">
          <a:solidFill>
            <a:schemeClr val="bg1">
              <a:lumMod val="65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22CBC851-397F-1E4B-9B7C-2BA5092EB335}">
      <dsp:nvSpPr>
        <dsp:cNvPr id="0" name=""/>
        <dsp:cNvSpPr/>
      </dsp:nvSpPr>
      <dsp:spPr>
        <a:xfrm>
          <a:off x="1275917" y="30621"/>
          <a:ext cx="1856883" cy="1021287"/>
        </a:xfrm>
        <a:prstGeom prst="rect">
          <a:avLst/>
        </a:prstGeom>
        <a:noFill/>
        <a:ln w="38100" cap="flat" cmpd="sng" algn="ctr">
          <a:solidFill>
            <a:srgbClr val="FF9701"/>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crit</a:t>
          </a:r>
          <a:r>
            <a:rPr lang="en-US" sz="2500" kern="1200" dirty="0">
              <a:solidFill>
                <a:schemeClr val="tx1"/>
              </a:solidFill>
            </a:rPr>
            <a:t>érios de avaliação</a:t>
          </a:r>
          <a:endParaRPr lang="pt-BR" sz="2500" kern="1200" dirty="0">
            <a:solidFill>
              <a:schemeClr val="tx1"/>
            </a:solidFill>
          </a:endParaRPr>
        </a:p>
      </dsp:txBody>
      <dsp:txXfrm>
        <a:off x="1275917" y="30621"/>
        <a:ext cx="1856883" cy="1021287"/>
      </dsp:txXfrm>
    </dsp:sp>
    <dsp:sp modelId="{EEACAE64-0937-9B49-9F62-91597D391BD7}">
      <dsp:nvSpPr>
        <dsp:cNvPr id="0" name=""/>
        <dsp:cNvSpPr/>
      </dsp:nvSpPr>
      <dsp:spPr>
        <a:xfrm>
          <a:off x="257952" y="1272023"/>
          <a:ext cx="1583260" cy="725936"/>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financeiros</a:t>
          </a:r>
        </a:p>
      </dsp:txBody>
      <dsp:txXfrm>
        <a:off x="257952" y="1272023"/>
        <a:ext cx="1583260" cy="725936"/>
      </dsp:txXfrm>
    </dsp:sp>
    <dsp:sp modelId="{E2AABDDD-72E8-3543-9E50-56A7AEBE9644}">
      <dsp:nvSpPr>
        <dsp:cNvPr id="0" name=""/>
        <dsp:cNvSpPr/>
      </dsp:nvSpPr>
      <dsp:spPr>
        <a:xfrm>
          <a:off x="653767" y="2218074"/>
          <a:ext cx="1017252" cy="1021287"/>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VPL</a:t>
          </a:r>
        </a:p>
      </dsp:txBody>
      <dsp:txXfrm>
        <a:off x="653767" y="2218074"/>
        <a:ext cx="1017252" cy="1021287"/>
      </dsp:txXfrm>
    </dsp:sp>
    <dsp:sp modelId="{CA92B3CD-3A1F-9E4E-9BA0-EC9EEFDE6E2E}">
      <dsp:nvSpPr>
        <dsp:cNvPr id="0" name=""/>
        <dsp:cNvSpPr/>
      </dsp:nvSpPr>
      <dsp:spPr>
        <a:xfrm>
          <a:off x="653767" y="3459476"/>
          <a:ext cx="1017252" cy="1021287"/>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ROI</a:t>
          </a:r>
        </a:p>
      </dsp:txBody>
      <dsp:txXfrm>
        <a:off x="653767" y="3459476"/>
        <a:ext cx="1017252" cy="1021287"/>
      </dsp:txXfrm>
    </dsp:sp>
    <dsp:sp modelId="{642DB7AE-F457-9A4C-8B5D-AC43A9C732A4}">
      <dsp:nvSpPr>
        <dsp:cNvPr id="0" name=""/>
        <dsp:cNvSpPr/>
      </dsp:nvSpPr>
      <dsp:spPr>
        <a:xfrm>
          <a:off x="2061326" y="1272023"/>
          <a:ext cx="2089438" cy="725936"/>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estrat</a:t>
          </a:r>
          <a:r>
            <a:rPr lang="en-US" sz="2500" kern="1200" dirty="0">
              <a:solidFill>
                <a:schemeClr val="tx1"/>
              </a:solidFill>
            </a:rPr>
            <a:t>égicos</a:t>
          </a:r>
          <a:endParaRPr lang="pt-BR" sz="2500" kern="1200" dirty="0">
            <a:solidFill>
              <a:schemeClr val="tx1"/>
            </a:solidFill>
          </a:endParaRPr>
        </a:p>
      </dsp:txBody>
      <dsp:txXfrm>
        <a:off x="2061326" y="1272023"/>
        <a:ext cx="2089438" cy="725936"/>
      </dsp:txXfrm>
    </dsp:sp>
    <dsp:sp modelId="{371421CD-556A-8843-B53F-ACF9F9801A88}">
      <dsp:nvSpPr>
        <dsp:cNvPr id="0" name=""/>
        <dsp:cNvSpPr/>
      </dsp:nvSpPr>
      <dsp:spPr>
        <a:xfrm>
          <a:off x="2583686" y="2126349"/>
          <a:ext cx="1856883" cy="792578"/>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pt-BR" sz="2500" kern="1200" dirty="0">
              <a:solidFill>
                <a:schemeClr val="tx1"/>
              </a:solidFill>
            </a:rPr>
            <a:t>aumentar a receita</a:t>
          </a:r>
        </a:p>
      </dsp:txBody>
      <dsp:txXfrm>
        <a:off x="2583686" y="2126349"/>
        <a:ext cx="1856883" cy="792578"/>
      </dsp:txXfrm>
    </dsp:sp>
    <dsp:sp modelId="{40BCE034-A741-C444-AB3C-A8C05888C26E}">
      <dsp:nvSpPr>
        <dsp:cNvPr id="0" name=""/>
        <dsp:cNvSpPr/>
      </dsp:nvSpPr>
      <dsp:spPr>
        <a:xfrm>
          <a:off x="2583885" y="3019174"/>
          <a:ext cx="1856883" cy="792578"/>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pt-BR" sz="2400" kern="1200" dirty="0">
              <a:solidFill>
                <a:schemeClr val="tx1"/>
              </a:solidFill>
            </a:rPr>
            <a:t>aumentar a lucratividade</a:t>
          </a:r>
        </a:p>
      </dsp:txBody>
      <dsp:txXfrm>
        <a:off x="2583885" y="3019174"/>
        <a:ext cx="1856883" cy="792578"/>
      </dsp:txXfrm>
    </dsp:sp>
    <dsp:sp modelId="{9FD7DCAC-07B3-7F41-8B49-B9F7955E4BD0}">
      <dsp:nvSpPr>
        <dsp:cNvPr id="0" name=""/>
        <dsp:cNvSpPr/>
      </dsp:nvSpPr>
      <dsp:spPr>
        <a:xfrm>
          <a:off x="2583686" y="3908671"/>
          <a:ext cx="1856883" cy="1123415"/>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pt-BR" sz="2400" kern="1200" dirty="0">
              <a:solidFill>
                <a:schemeClr val="tx1"/>
              </a:solidFill>
            </a:rPr>
            <a:t>aumentar a satisfa</a:t>
          </a:r>
          <a:r>
            <a:rPr lang="en-US" sz="2400" kern="1200" dirty="0">
              <a:solidFill>
                <a:schemeClr val="tx1"/>
              </a:solidFill>
            </a:rPr>
            <a:t>ção dos clientes</a:t>
          </a:r>
          <a:endParaRPr lang="pt-BR" sz="2400" kern="1200" dirty="0">
            <a:solidFill>
              <a:schemeClr val="tx1"/>
            </a:solidFill>
          </a:endParaRPr>
        </a:p>
      </dsp:txBody>
      <dsp:txXfrm>
        <a:off x="2583686" y="3908671"/>
        <a:ext cx="1856883" cy="1123415"/>
      </dsp:txXfrm>
    </dsp:sp>
    <dsp:sp modelId="{851356E1-84E8-2747-B730-8CF7DC9B33EE}">
      <dsp:nvSpPr>
        <dsp:cNvPr id="0" name=""/>
        <dsp:cNvSpPr/>
      </dsp:nvSpPr>
      <dsp:spPr>
        <a:xfrm>
          <a:off x="2583686" y="5120981"/>
          <a:ext cx="1856883" cy="1123415"/>
        </a:xfrm>
        <a:prstGeom prst="rect">
          <a:avLst/>
        </a:prstGeom>
        <a:noFill/>
        <a:ln w="38100" cap="flat" cmpd="sng" algn="ctr">
          <a:solidFill>
            <a:srgbClr val="20D6EC"/>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pt-BR" sz="2400" kern="1200" dirty="0">
              <a:solidFill>
                <a:schemeClr val="tx1"/>
              </a:solidFill>
            </a:rPr>
            <a:t>aumentar a satisfa</a:t>
          </a:r>
          <a:r>
            <a:rPr lang="en-US" sz="2400" kern="1200" dirty="0">
              <a:solidFill>
                <a:schemeClr val="tx1"/>
              </a:solidFill>
            </a:rPr>
            <a:t>ção dos colaboradores</a:t>
          </a:r>
          <a:endParaRPr lang="pt-BR" sz="2400" kern="1200" dirty="0">
            <a:solidFill>
              <a:schemeClr val="tx1"/>
            </a:solidFill>
          </a:endParaRPr>
        </a:p>
      </dsp:txBody>
      <dsp:txXfrm>
        <a:off x="2583686" y="5120981"/>
        <a:ext cx="1856883" cy="112341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cs typeface="+mn-cs"/>
              </a:defRPr>
            </a:lvl1pPr>
          </a:lstStyle>
          <a:p>
            <a:pPr>
              <a:defRPr/>
            </a:pPr>
            <a:endParaRPr lang="pt-BR"/>
          </a:p>
        </p:txBody>
      </p:sp>
      <p:sp>
        <p:nvSpPr>
          <p:cNvPr id="3" name="Espaço Reservado para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charset="0"/>
                <a:cs typeface="+mn-cs"/>
              </a:defRPr>
            </a:lvl1pPr>
          </a:lstStyle>
          <a:p>
            <a:pPr>
              <a:defRPr/>
            </a:pPr>
            <a:fld id="{09D3BAD1-04B5-4EEE-A8EB-0A8F5F6AB81D}" type="datetimeFigureOut">
              <a:rPr lang="pt-BR"/>
              <a:pPr>
                <a:defRPr/>
              </a:pPr>
              <a:t>22/06/2023</a:t>
            </a:fld>
            <a:endParaRPr lang="pt-BR" dirty="0"/>
          </a:p>
        </p:txBody>
      </p:sp>
      <p:sp>
        <p:nvSpPr>
          <p:cNvPr id="4" name="Espaço Reservado para Rodapé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pt-BR"/>
          </a:p>
        </p:txBody>
      </p:sp>
      <p:sp>
        <p:nvSpPr>
          <p:cNvPr id="5" name="Espaço Reservado para Número de Slide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6D25ECD6-F5DB-4F3E-9689-E133323AC37E}" type="slidenum">
              <a:rPr lang="pt-BR" altLang="pt-BR"/>
              <a:pPr/>
              <a:t>‹nº›</a:t>
            </a:fld>
            <a:endParaRPr lang="pt-BR" altLang="pt-BR"/>
          </a:p>
        </p:txBody>
      </p:sp>
    </p:spTree>
    <p:extLst>
      <p:ext uri="{BB962C8B-B14F-4D97-AF65-F5344CB8AC3E}">
        <p14:creationId xmlns:p14="http://schemas.microsoft.com/office/powerpoint/2010/main" val="32897262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555B27D2-8001-409F-9786-9B08DAA3F560}" type="datetimeFigureOut">
              <a:rPr lang="pt-BR"/>
              <a:pPr>
                <a:defRPr/>
              </a:pPr>
              <a:t>22/06/2023</a:t>
            </a:fld>
            <a:endParaRPr lang="pt-BR" dirty="0"/>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pt-BR" noProof="0" dirty="0"/>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BR" noProof="0"/>
              <a:t>Clique para editar os estilos do texto mestre</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CAC094A0-DBFF-4992-80E8-A859C9DC321E}" type="slidenum">
              <a:rPr lang="pt-BR" altLang="pt-BR"/>
              <a:pPr/>
              <a:t>‹nº›</a:t>
            </a:fld>
            <a:endParaRPr lang="pt-BR" altLang="pt-BR"/>
          </a:p>
        </p:txBody>
      </p:sp>
    </p:spTree>
    <p:extLst>
      <p:ext uri="{BB962C8B-B14F-4D97-AF65-F5344CB8AC3E}">
        <p14:creationId xmlns:p14="http://schemas.microsoft.com/office/powerpoint/2010/main" val="25340755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800" kern="1200">
        <a:solidFill>
          <a:schemeClr val="tx1"/>
        </a:solidFill>
        <a:latin typeface="+mn-lt"/>
        <a:ea typeface="+mn-ea"/>
        <a:cs typeface="+mn-cs"/>
      </a:defRPr>
    </a:lvl1pPr>
    <a:lvl2pPr marL="685619" algn="l" rtl="0" eaLnBrk="0" fontAlgn="base" hangingPunct="0">
      <a:spcBef>
        <a:spcPct val="30000"/>
      </a:spcBef>
      <a:spcAft>
        <a:spcPct val="0"/>
      </a:spcAft>
      <a:defRPr sz="1800" kern="1200">
        <a:solidFill>
          <a:schemeClr val="tx1"/>
        </a:solidFill>
        <a:latin typeface="+mn-lt"/>
        <a:ea typeface="+mn-ea"/>
        <a:cs typeface="+mn-cs"/>
      </a:defRPr>
    </a:lvl2pPr>
    <a:lvl3pPr marL="1371239" algn="l" rtl="0" eaLnBrk="0" fontAlgn="base" hangingPunct="0">
      <a:spcBef>
        <a:spcPct val="30000"/>
      </a:spcBef>
      <a:spcAft>
        <a:spcPct val="0"/>
      </a:spcAft>
      <a:defRPr sz="1800" kern="1200">
        <a:solidFill>
          <a:schemeClr val="tx1"/>
        </a:solidFill>
        <a:latin typeface="+mn-lt"/>
        <a:ea typeface="+mn-ea"/>
        <a:cs typeface="+mn-cs"/>
      </a:defRPr>
    </a:lvl3pPr>
    <a:lvl4pPr marL="2056856" algn="l" rtl="0" eaLnBrk="0" fontAlgn="base" hangingPunct="0">
      <a:spcBef>
        <a:spcPct val="30000"/>
      </a:spcBef>
      <a:spcAft>
        <a:spcPct val="0"/>
      </a:spcAft>
      <a:defRPr sz="1800" kern="1200">
        <a:solidFill>
          <a:schemeClr val="tx1"/>
        </a:solidFill>
        <a:latin typeface="+mn-lt"/>
        <a:ea typeface="+mn-ea"/>
        <a:cs typeface="+mn-cs"/>
      </a:defRPr>
    </a:lvl4pPr>
    <a:lvl5pPr marL="2742473" algn="l" rtl="0" eaLnBrk="0" fontAlgn="base" hangingPunct="0">
      <a:spcBef>
        <a:spcPct val="30000"/>
      </a:spcBef>
      <a:spcAft>
        <a:spcPct val="0"/>
      </a:spcAft>
      <a:defRPr sz="1800" kern="1200">
        <a:solidFill>
          <a:schemeClr val="tx1"/>
        </a:solidFill>
        <a:latin typeface="+mn-lt"/>
        <a:ea typeface="+mn-ea"/>
        <a:cs typeface="+mn-cs"/>
      </a:defRPr>
    </a:lvl5pPr>
    <a:lvl6pPr marL="3428091" algn="l" defTabSz="1371239" rtl="0" eaLnBrk="1" latinLnBrk="0" hangingPunct="1">
      <a:defRPr sz="1800" kern="1200">
        <a:solidFill>
          <a:schemeClr val="tx1"/>
        </a:solidFill>
        <a:latin typeface="+mn-lt"/>
        <a:ea typeface="+mn-ea"/>
        <a:cs typeface="+mn-cs"/>
      </a:defRPr>
    </a:lvl6pPr>
    <a:lvl7pPr marL="4113710" algn="l" defTabSz="1371239" rtl="0" eaLnBrk="1" latinLnBrk="0" hangingPunct="1">
      <a:defRPr sz="1800" kern="1200">
        <a:solidFill>
          <a:schemeClr val="tx1"/>
        </a:solidFill>
        <a:latin typeface="+mn-lt"/>
        <a:ea typeface="+mn-ea"/>
        <a:cs typeface="+mn-cs"/>
      </a:defRPr>
    </a:lvl7pPr>
    <a:lvl8pPr marL="4799328" algn="l" defTabSz="1371239" rtl="0" eaLnBrk="1" latinLnBrk="0" hangingPunct="1">
      <a:defRPr sz="1800" kern="1200">
        <a:solidFill>
          <a:schemeClr val="tx1"/>
        </a:solidFill>
        <a:latin typeface="+mn-lt"/>
        <a:ea typeface="+mn-ea"/>
        <a:cs typeface="+mn-cs"/>
      </a:defRPr>
    </a:lvl8pPr>
    <a:lvl9pPr marL="5484947" algn="l" defTabSz="1371239"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ço Reservado para Imagem de Slide 1"/>
          <p:cNvSpPr>
            <a:spLocks noGrp="1" noRot="1" noChangeAspect="1" noTextEdit="1"/>
          </p:cNvSpPr>
          <p:nvPr>
            <p:ph type="sldImg"/>
          </p:nvPr>
        </p:nvSpPr>
        <p:spPr>
          <a:xfrm>
            <a:off x="992188" y="768350"/>
            <a:ext cx="5114925" cy="3836988"/>
          </a:xfrm>
          <a:ln/>
        </p:spPr>
      </p:sp>
      <p:sp>
        <p:nvSpPr>
          <p:cNvPr id="16387"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6388"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buSzPct val="25000"/>
            </a:pPr>
            <a:fld id="{DF939CBD-4839-4471-A076-4B901446D395}" type="slidenum">
              <a:rPr lang="en-US" altLang="pt-BR" sz="1300" b="0" smtClean="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rPr>
              <a:pPr>
                <a:buSzPct val="25000"/>
              </a:pPr>
              <a:t>5</a:t>
            </a:fld>
            <a:endParaRPr lang="en-US" altLang="pt-BR" sz="1300" b="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1510666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fld id="{C6A9216E-BECE-453D-AA0B-8C201BFEB6BC}" type="slidenum">
              <a:rPr lang="pt-BR" altLang="pt-BR" sz="1200"/>
              <a:pPr algn="r" eaLnBrk="1" hangingPunct="1"/>
              <a:t>56</a:t>
            </a:fld>
            <a:endParaRPr lang="pt-BR" altLang="pt-BR" sz="1200"/>
          </a:p>
        </p:txBody>
      </p:sp>
      <p:sp>
        <p:nvSpPr>
          <p:cNvPr id="73731" name="Rectangle 2"/>
          <p:cNvSpPr>
            <a:spLocks noGrp="1" noRot="1" noChangeAspect="1" noChangeArrowheads="1" noTextEdit="1"/>
          </p:cNvSpPr>
          <p:nvPr>
            <p:ph type="sldImg"/>
          </p:nvPr>
        </p:nvSpPr>
        <p:spPr>
          <a:xfrm>
            <a:off x="1144588" y="685800"/>
            <a:ext cx="4570412" cy="3429000"/>
          </a:xfrm>
          <a:ln/>
        </p:spPr>
      </p:sp>
      <p:sp>
        <p:nvSpPr>
          <p:cNvPr id="73732" name="Rectangle 3"/>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2280908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fld id="{E8F24A93-5154-4FF0-87ED-F88A78941F5E}" type="slidenum">
              <a:rPr lang="pt-BR" altLang="pt-BR" sz="1200"/>
              <a:pPr algn="r" eaLnBrk="1" hangingPunct="1"/>
              <a:t>58</a:t>
            </a:fld>
            <a:endParaRPr lang="pt-BR" altLang="pt-BR" sz="1200"/>
          </a:p>
        </p:txBody>
      </p:sp>
      <p:sp>
        <p:nvSpPr>
          <p:cNvPr id="75779" name="Rectangle 2"/>
          <p:cNvSpPr>
            <a:spLocks noGrp="1" noRot="1" noChangeAspect="1" noChangeArrowheads="1" noTextEdit="1"/>
          </p:cNvSpPr>
          <p:nvPr>
            <p:ph type="sldImg"/>
          </p:nvPr>
        </p:nvSpPr>
        <p:spPr>
          <a:xfrm>
            <a:off x="1144588" y="685800"/>
            <a:ext cx="4570412" cy="3429000"/>
          </a:xfrm>
          <a:ln/>
        </p:spPr>
      </p:sp>
      <p:sp>
        <p:nvSpPr>
          <p:cNvPr id="75780" name="Rectangle 3"/>
          <p:cNvSpPr>
            <a:spLocks noGrp="1" noChangeArrowheads="1"/>
          </p:cNvSpPr>
          <p:nvPr>
            <p:ph type="body" idx="1"/>
          </p:nvPr>
        </p:nvSpPr>
        <p:spPr>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1810545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Espaço Reservado para Imagem de Slide 1"/>
          <p:cNvSpPr>
            <a:spLocks noGrp="1" noRot="1" noChangeAspect="1" noTextEdit="1"/>
          </p:cNvSpPr>
          <p:nvPr>
            <p:ph type="sldImg"/>
          </p:nvPr>
        </p:nvSpPr>
        <p:spPr>
          <a:ln/>
        </p:spPr>
      </p:sp>
      <p:sp>
        <p:nvSpPr>
          <p:cNvPr id="78851"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78852"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09B161A4-B7E1-45A5-8908-97D0D9752177}" type="slidenum">
              <a:rPr lang="en-US" altLang="pt-BR" b="0" smtClean="0">
                <a:latin typeface="Times New Roman" panose="02020603050405020304" pitchFamily="18" charset="0"/>
              </a:rPr>
              <a:pPr/>
              <a:t>61</a:t>
            </a:fld>
            <a:endParaRPr lang="en-US" altLang="pt-BR" b="0">
              <a:latin typeface="Times New Roman" panose="02020603050405020304" pitchFamily="18" charset="0"/>
            </a:endParaRPr>
          </a:p>
        </p:txBody>
      </p:sp>
    </p:spTree>
    <p:extLst>
      <p:ext uri="{BB962C8B-B14F-4D97-AF65-F5344CB8AC3E}">
        <p14:creationId xmlns:p14="http://schemas.microsoft.com/office/powerpoint/2010/main" val="19178947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fld id="{D2701BE7-1E8B-4D69-A928-8CE5E8E02451}" type="slidenum">
              <a:rPr lang="en-US" altLang="pt-BR" b="0" smtClean="0">
                <a:latin typeface="Times New Roman" panose="02020603050405020304" pitchFamily="18" charset="0"/>
              </a:rPr>
              <a:pPr eaLnBrk="1" hangingPunct="1"/>
              <a:t>73</a:t>
            </a:fld>
            <a:endParaRPr lang="en-US" altLang="pt-BR" b="0">
              <a:latin typeface="Times New Roman" panose="02020603050405020304" pitchFamily="18" charset="0"/>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p>
        </p:txBody>
      </p:sp>
    </p:spTree>
    <p:extLst>
      <p:ext uri="{BB962C8B-B14F-4D97-AF65-F5344CB8AC3E}">
        <p14:creationId xmlns:p14="http://schemas.microsoft.com/office/powerpoint/2010/main" val="4168861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Espaço Reservado para Imagem de Slide 1"/>
          <p:cNvSpPr>
            <a:spLocks noGrp="1" noRot="1" noChangeAspect="1" noTextEdit="1"/>
          </p:cNvSpPr>
          <p:nvPr>
            <p:ph type="sldImg"/>
          </p:nvPr>
        </p:nvSpPr>
        <p:spPr>
          <a:ln/>
        </p:spPr>
      </p:sp>
      <p:sp>
        <p:nvSpPr>
          <p:cNvPr id="86019"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86020"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8FBAC713-74F8-4C53-BE73-7F53A7376BC3}" type="slidenum">
              <a:rPr lang="pt-BR" altLang="pt-BR" b="0" smtClean="0">
                <a:latin typeface="Times New Roman" panose="02020603050405020304" pitchFamily="18" charset="0"/>
              </a:rPr>
              <a:pPr/>
              <a:t>76</a:t>
            </a:fld>
            <a:endParaRPr lang="pt-BR" altLang="pt-BR" b="0">
              <a:latin typeface="Times New Roman" panose="02020603050405020304" pitchFamily="18" charset="0"/>
            </a:endParaRPr>
          </a:p>
        </p:txBody>
      </p:sp>
    </p:spTree>
    <p:extLst>
      <p:ext uri="{BB962C8B-B14F-4D97-AF65-F5344CB8AC3E}">
        <p14:creationId xmlns:p14="http://schemas.microsoft.com/office/powerpoint/2010/main" val="33760916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Espaço Reservado para Imagem de Slide 1"/>
          <p:cNvSpPr>
            <a:spLocks noGrp="1" noRot="1" noChangeAspect="1" noTextEdit="1"/>
          </p:cNvSpPr>
          <p:nvPr>
            <p:ph type="sldImg"/>
          </p:nvPr>
        </p:nvSpPr>
        <p:spPr>
          <a:xfrm>
            <a:off x="1144588" y="685800"/>
            <a:ext cx="4568825" cy="3427413"/>
          </a:xfrm>
          <a:ln/>
        </p:spPr>
      </p:sp>
      <p:sp>
        <p:nvSpPr>
          <p:cNvPr id="90115" name="Espaço Reservado para Anotações 2"/>
          <p:cNvSpPr>
            <a:spLocks noGrp="1"/>
          </p:cNvSpPr>
          <p:nvPr>
            <p:ph type="body" idx="1"/>
          </p:nvPr>
        </p:nvSpPr>
        <p:spPr>
          <a:xfrm>
            <a:off x="685800" y="4341813"/>
            <a:ext cx="5486400" cy="4116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90" tIns="46845" rIns="93690" bIns="46845"/>
          <a:lstStyle/>
          <a:p>
            <a:pPr>
              <a:spcBef>
                <a:spcPct val="0"/>
              </a:spcBef>
            </a:pPr>
            <a:endParaRPr lang="pt-BR" altLang="pt-BR">
              <a:latin typeface="Arial" panose="020B0604020202020204" pitchFamily="34" charset="0"/>
            </a:endParaRPr>
          </a:p>
        </p:txBody>
      </p:sp>
      <p:sp>
        <p:nvSpPr>
          <p:cNvPr id="90116" name="Espaço Reservado para Número de Slide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90" tIns="46845" rIns="93690" bIns="46845" anchor="b"/>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fld id="{2AE71A27-A37E-4A03-9361-C60664B054A5}" type="slidenum">
              <a:rPr lang="pt-BR" altLang="pt-BR" sz="1200"/>
              <a:pPr algn="r" eaLnBrk="1" hangingPunct="1"/>
              <a:t>80</a:t>
            </a:fld>
            <a:endParaRPr lang="pt-BR" altLang="pt-BR" sz="1200"/>
          </a:p>
        </p:txBody>
      </p:sp>
    </p:spTree>
    <p:extLst>
      <p:ext uri="{BB962C8B-B14F-4D97-AF65-F5344CB8AC3E}">
        <p14:creationId xmlns:p14="http://schemas.microsoft.com/office/powerpoint/2010/main" val="2194814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latin typeface="Arial" panose="020B0604020202020204" pitchFamily="34" charset="0"/>
              <a:ea typeface="MS PGothic" panose="020B0600070205080204" pitchFamily="34" charset="-128"/>
            </a:endParaRPr>
          </a:p>
        </p:txBody>
      </p:sp>
      <p:sp>
        <p:nvSpPr>
          <p:cNvPr id="9216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fld id="{904D84EC-CF89-42E8-8C52-66452100FE1D}" type="slidenum">
              <a:rPr lang="en-US" altLang="pt-BR" b="0" smtClean="0"/>
              <a:pPr eaLnBrk="1" hangingPunct="1"/>
              <a:t>81</a:t>
            </a:fld>
            <a:endParaRPr lang="en-US" altLang="pt-BR" b="0"/>
          </a:p>
        </p:txBody>
      </p:sp>
    </p:spTree>
    <p:extLst>
      <p:ext uri="{BB962C8B-B14F-4D97-AF65-F5344CB8AC3E}">
        <p14:creationId xmlns:p14="http://schemas.microsoft.com/office/powerpoint/2010/main" val="4168003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Espaço Reservado para Imagem de Slide 1"/>
          <p:cNvSpPr>
            <a:spLocks noGrp="1" noRot="1" noChangeAspect="1" noTextEdit="1"/>
          </p:cNvSpPr>
          <p:nvPr>
            <p:ph type="sldImg"/>
          </p:nvPr>
        </p:nvSpPr>
        <p:spPr>
          <a:xfrm>
            <a:off x="992188" y="768350"/>
            <a:ext cx="5114925" cy="3836988"/>
          </a:xfrm>
          <a:ln/>
        </p:spPr>
      </p:sp>
      <p:sp>
        <p:nvSpPr>
          <p:cNvPr id="95235"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95236"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buSzPct val="25000"/>
            </a:pPr>
            <a:fld id="{D3A73576-E903-48BA-80EF-D82EEDCF1620}" type="slidenum">
              <a:rPr lang="en-US" altLang="pt-BR" sz="1300" b="0" smtClean="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rPr>
              <a:pPr>
                <a:buSzPct val="25000"/>
              </a:pPr>
              <a:t>83</a:t>
            </a:fld>
            <a:endParaRPr lang="en-US" altLang="pt-BR" sz="1300" b="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111577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ço Reservado para Imagem de Slide 1"/>
          <p:cNvSpPr>
            <a:spLocks noGrp="1" noRot="1" noChangeAspect="1" noTextEdit="1"/>
          </p:cNvSpPr>
          <p:nvPr>
            <p:ph type="sldImg"/>
          </p:nvPr>
        </p:nvSpPr>
        <p:spPr>
          <a:xfrm>
            <a:off x="992188" y="768350"/>
            <a:ext cx="5114925" cy="3836988"/>
          </a:xfrm>
          <a:ln/>
        </p:spPr>
      </p:sp>
      <p:sp>
        <p:nvSpPr>
          <p:cNvPr id="97283"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97284"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buSzPct val="25000"/>
            </a:pPr>
            <a:fld id="{24014208-FB99-4759-A325-AFA2B03661AD}" type="slidenum">
              <a:rPr lang="en-US" altLang="pt-BR" sz="1300" b="0" smtClean="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rPr>
              <a:pPr>
                <a:buSzPct val="25000"/>
              </a:pPr>
              <a:t>84</a:t>
            </a:fld>
            <a:endParaRPr lang="en-US" altLang="pt-BR" sz="1300" b="0">
              <a:solidFill>
                <a:srgbClr val="000000"/>
              </a:solidFill>
              <a:latin typeface="Times New Roman" panose="02020603050405020304" pitchFamily="18" charset="0"/>
              <a:cs typeface="Times New Roman" panose="02020603050405020304" pitchFamily="18" charset="0"/>
              <a:sym typeface="Times New Roman" panose="02020603050405020304" pitchFamily="18" charset="0"/>
            </a:endParaRPr>
          </a:p>
        </p:txBody>
      </p:sp>
    </p:spTree>
    <p:extLst>
      <p:ext uri="{BB962C8B-B14F-4D97-AF65-F5344CB8AC3E}">
        <p14:creationId xmlns:p14="http://schemas.microsoft.com/office/powerpoint/2010/main" val="3115415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71DECE5D-384A-4B75-8F83-2DB936C9CEAE}" type="slidenum">
              <a:rPr lang="pt-BR" smtClean="0"/>
              <a:t>86</a:t>
            </a:fld>
            <a:endParaRPr lang="pt-BR" dirty="0"/>
          </a:p>
        </p:txBody>
      </p:sp>
    </p:spTree>
    <p:extLst>
      <p:ext uri="{BB962C8B-B14F-4D97-AF65-F5344CB8AC3E}">
        <p14:creationId xmlns:p14="http://schemas.microsoft.com/office/powerpoint/2010/main" val="3492343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3D2084CA-285D-43A9-87F1-2E9891A780A3}" type="slidenum">
              <a:rPr lang="pt-BR" altLang="pt-BR" b="0" smtClean="0">
                <a:latin typeface="Times New Roman" panose="02020603050405020304" pitchFamily="18" charset="0"/>
              </a:rPr>
              <a:pPr/>
              <a:t>16</a:t>
            </a:fld>
            <a:endParaRPr lang="pt-BR" altLang="pt-BR" b="0">
              <a:latin typeface="Times New Roman" panose="02020603050405020304" pitchFamily="18" charset="0"/>
            </a:endParaRPr>
          </a:p>
        </p:txBody>
      </p:sp>
      <p:sp>
        <p:nvSpPr>
          <p:cNvPr id="26627" name="Rectangle 2"/>
          <p:cNvSpPr>
            <a:spLocks noGrp="1" noRot="1" noChangeAspect="1" noChangeArrowheads="1" noTextEdit="1"/>
          </p:cNvSpPr>
          <p:nvPr>
            <p:ph type="sldImg"/>
          </p:nvPr>
        </p:nvSpPr>
        <p:spPr>
          <a:xfrm>
            <a:off x="1143000" y="685800"/>
            <a:ext cx="4575175" cy="3430588"/>
          </a:xfrm>
          <a:ln/>
        </p:spPr>
      </p:sp>
    </p:spTree>
    <p:extLst>
      <p:ext uri="{BB962C8B-B14F-4D97-AF65-F5344CB8AC3E}">
        <p14:creationId xmlns:p14="http://schemas.microsoft.com/office/powerpoint/2010/main" val="7344297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71DECE5D-384A-4B75-8F83-2DB936C9CEAE}" type="slidenum">
              <a:rPr lang="pt-BR" smtClean="0"/>
              <a:t>87</a:t>
            </a:fld>
            <a:endParaRPr lang="pt-BR" dirty="0"/>
          </a:p>
        </p:txBody>
      </p:sp>
    </p:spTree>
    <p:extLst>
      <p:ext uri="{BB962C8B-B14F-4D97-AF65-F5344CB8AC3E}">
        <p14:creationId xmlns:p14="http://schemas.microsoft.com/office/powerpoint/2010/main" val="4043588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71DECE5D-384A-4B75-8F83-2DB936C9CEAE}" type="slidenum">
              <a:rPr lang="pt-BR" smtClean="0"/>
              <a:t>88</a:t>
            </a:fld>
            <a:endParaRPr lang="pt-BR" dirty="0"/>
          </a:p>
        </p:txBody>
      </p:sp>
    </p:spTree>
    <p:extLst>
      <p:ext uri="{BB962C8B-B14F-4D97-AF65-F5344CB8AC3E}">
        <p14:creationId xmlns:p14="http://schemas.microsoft.com/office/powerpoint/2010/main" val="3185038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Espaço Reservado para Imagem de Slide 1"/>
          <p:cNvSpPr>
            <a:spLocks noGrp="1" noRot="1" noChangeAspect="1" noTextEdit="1"/>
          </p:cNvSpPr>
          <p:nvPr>
            <p:ph type="sldImg"/>
          </p:nvPr>
        </p:nvSpPr>
        <p:spPr>
          <a:ln/>
        </p:spPr>
      </p:sp>
      <p:sp>
        <p:nvSpPr>
          <p:cNvPr id="104451"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04452"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3D9CECAC-0F66-4C18-B991-3937544FD517}" type="slidenum">
              <a:rPr lang="pt-BR" altLang="pt-BR" b="0" smtClean="0">
                <a:latin typeface="Times New Roman" panose="02020603050405020304" pitchFamily="18" charset="0"/>
              </a:rPr>
              <a:pPr/>
              <a:t>93</a:t>
            </a:fld>
            <a:endParaRPr lang="pt-BR" altLang="pt-BR" b="0">
              <a:latin typeface="Times New Roman" panose="02020603050405020304" pitchFamily="18" charset="0"/>
            </a:endParaRPr>
          </a:p>
        </p:txBody>
      </p:sp>
    </p:spTree>
    <p:extLst>
      <p:ext uri="{BB962C8B-B14F-4D97-AF65-F5344CB8AC3E}">
        <p14:creationId xmlns:p14="http://schemas.microsoft.com/office/powerpoint/2010/main" val="1091600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Espaço Reservado para Imagem de Slide 1"/>
          <p:cNvSpPr>
            <a:spLocks noGrp="1" noRot="1" noChangeAspect="1" noTextEdit="1"/>
          </p:cNvSpPr>
          <p:nvPr>
            <p:ph type="sldImg"/>
          </p:nvPr>
        </p:nvSpPr>
        <p:spPr>
          <a:ln/>
        </p:spPr>
      </p:sp>
      <p:sp>
        <p:nvSpPr>
          <p:cNvPr id="106499"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06500"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DC44E00B-8BCD-4566-8CBB-C5EE4AB4F174}" type="slidenum">
              <a:rPr lang="pt-BR" altLang="pt-BR" b="0" smtClean="0">
                <a:latin typeface="Times New Roman" panose="02020603050405020304" pitchFamily="18" charset="0"/>
              </a:rPr>
              <a:pPr/>
              <a:t>94</a:t>
            </a:fld>
            <a:endParaRPr lang="pt-BR" altLang="pt-BR" b="0">
              <a:latin typeface="Times New Roman" panose="02020603050405020304" pitchFamily="18" charset="0"/>
            </a:endParaRPr>
          </a:p>
        </p:txBody>
      </p:sp>
    </p:spTree>
    <p:extLst>
      <p:ext uri="{BB962C8B-B14F-4D97-AF65-F5344CB8AC3E}">
        <p14:creationId xmlns:p14="http://schemas.microsoft.com/office/powerpoint/2010/main" val="39291610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Espaço Reservado para Imagem de Slide 1"/>
          <p:cNvSpPr>
            <a:spLocks noGrp="1" noRot="1" noChangeAspect="1" noTextEdit="1"/>
          </p:cNvSpPr>
          <p:nvPr>
            <p:ph type="sldImg"/>
          </p:nvPr>
        </p:nvSpPr>
        <p:spPr>
          <a:ln/>
        </p:spPr>
      </p:sp>
      <p:sp>
        <p:nvSpPr>
          <p:cNvPr id="110595"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10596"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78ABBD40-09FA-48A8-94FC-813037F74A21}" type="slidenum">
              <a:rPr lang="en-US" altLang="pt-BR" b="0" smtClean="0">
                <a:latin typeface="Times New Roman" panose="02020603050405020304" pitchFamily="18" charset="0"/>
              </a:rPr>
              <a:pPr/>
              <a:t>97</a:t>
            </a:fld>
            <a:endParaRPr lang="en-US" altLang="pt-BR" b="0">
              <a:latin typeface="Times New Roman" panose="02020603050405020304" pitchFamily="18" charset="0"/>
            </a:endParaRPr>
          </a:p>
        </p:txBody>
      </p:sp>
    </p:spTree>
    <p:extLst>
      <p:ext uri="{BB962C8B-B14F-4D97-AF65-F5344CB8AC3E}">
        <p14:creationId xmlns:p14="http://schemas.microsoft.com/office/powerpoint/2010/main" val="1277242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0F502A16-1B5D-4E2F-9648-63C39E1F2C0F}" type="slidenum">
              <a:rPr lang="pt-BR" altLang="pt-BR" b="0" smtClean="0">
                <a:latin typeface="Times New Roman" panose="02020603050405020304" pitchFamily="18" charset="0"/>
              </a:rPr>
              <a:pPr/>
              <a:t>99</a:t>
            </a:fld>
            <a:endParaRPr lang="pt-BR" altLang="pt-BR" b="0">
              <a:latin typeface="Times New Roman" panose="02020603050405020304" pitchFamily="18" charset="0"/>
            </a:endParaRPr>
          </a:p>
        </p:txBody>
      </p:sp>
      <p:sp>
        <p:nvSpPr>
          <p:cNvPr id="113667" name="Rectangle 2"/>
          <p:cNvSpPr>
            <a:spLocks noGrp="1" noRot="1" noChangeAspect="1" noChangeArrowheads="1" noTextEdit="1"/>
          </p:cNvSpPr>
          <p:nvPr>
            <p:ph type="sldImg"/>
          </p:nvPr>
        </p:nvSpPr>
        <p:spPr>
          <a:xfrm>
            <a:off x="1001713" y="730250"/>
            <a:ext cx="4852987" cy="3638550"/>
          </a:xfrm>
          <a:ln cap="flat"/>
        </p:spPr>
      </p:sp>
      <p:sp>
        <p:nvSpPr>
          <p:cNvPr id="11366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22" tIns="46112" rIns="92222" bIns="46112"/>
          <a:lstStyle/>
          <a:p>
            <a:endParaRPr lang="en-US" altLang="pt-BR"/>
          </a:p>
        </p:txBody>
      </p:sp>
    </p:spTree>
    <p:extLst>
      <p:ext uri="{BB962C8B-B14F-4D97-AF65-F5344CB8AC3E}">
        <p14:creationId xmlns:p14="http://schemas.microsoft.com/office/powerpoint/2010/main" val="1437909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ço Reservado para Imagem de Slide 1"/>
          <p:cNvSpPr>
            <a:spLocks noGrp="1" noRot="1" noChangeAspect="1" noTextEdit="1"/>
          </p:cNvSpPr>
          <p:nvPr>
            <p:ph type="sldImg"/>
          </p:nvPr>
        </p:nvSpPr>
        <p:spPr>
          <a:ln/>
        </p:spPr>
      </p:sp>
      <p:sp>
        <p:nvSpPr>
          <p:cNvPr id="116739"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16740"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8746CFF4-7240-4075-B2A6-BFF8DB4CA91C}" type="slidenum">
              <a:rPr lang="pt-BR" altLang="pt-BR" b="0" smtClean="0">
                <a:latin typeface="Times New Roman" panose="02020603050405020304" pitchFamily="18" charset="0"/>
              </a:rPr>
              <a:pPr/>
              <a:t>101</a:t>
            </a:fld>
            <a:endParaRPr lang="pt-BR" altLang="pt-BR" b="0">
              <a:latin typeface="Times New Roman" panose="02020603050405020304" pitchFamily="18" charset="0"/>
            </a:endParaRPr>
          </a:p>
        </p:txBody>
      </p:sp>
    </p:spTree>
    <p:extLst>
      <p:ext uri="{BB962C8B-B14F-4D97-AF65-F5344CB8AC3E}">
        <p14:creationId xmlns:p14="http://schemas.microsoft.com/office/powerpoint/2010/main" val="1347270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Espaço Reservado para Imagem de Slide 1"/>
          <p:cNvSpPr>
            <a:spLocks noGrp="1" noRot="1" noChangeAspect="1" noTextEdit="1"/>
          </p:cNvSpPr>
          <p:nvPr>
            <p:ph type="sldImg"/>
          </p:nvPr>
        </p:nvSpPr>
        <p:spPr>
          <a:ln/>
        </p:spPr>
      </p:sp>
      <p:sp>
        <p:nvSpPr>
          <p:cNvPr id="121859"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121860"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F3175266-68ED-4531-BE4C-C89F638E69BA}" type="slidenum">
              <a:rPr lang="pt-BR" altLang="pt-BR" b="0" smtClean="0">
                <a:latin typeface="Times New Roman" panose="02020603050405020304" pitchFamily="18" charset="0"/>
              </a:rPr>
              <a:pPr/>
              <a:t>105</a:t>
            </a:fld>
            <a:endParaRPr lang="pt-BR" altLang="pt-BR" b="0">
              <a:latin typeface="Times New Roman" panose="02020603050405020304" pitchFamily="18" charset="0"/>
            </a:endParaRPr>
          </a:p>
        </p:txBody>
      </p:sp>
    </p:spTree>
    <p:extLst>
      <p:ext uri="{BB962C8B-B14F-4D97-AF65-F5344CB8AC3E}">
        <p14:creationId xmlns:p14="http://schemas.microsoft.com/office/powerpoint/2010/main" val="861341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1152525" y="682625"/>
            <a:ext cx="4552950" cy="3416300"/>
          </a:xfrm>
          <a:ln/>
        </p:spPr>
      </p:sp>
      <p:sp>
        <p:nvSpPr>
          <p:cNvPr id="28675" name="Rectangle 3"/>
          <p:cNvSpPr>
            <a:spLocks noGrp="1" noChangeArrowheads="1"/>
          </p:cNvSpPr>
          <p:nvPr>
            <p:ph type="body" idx="1"/>
          </p:nvPr>
        </p:nvSpPr>
        <p:spPr>
          <a:xfrm>
            <a:off x="915988" y="4322763"/>
            <a:ext cx="5026025" cy="4100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endParaRPr lang="pt-BR" altLang="pt-BR">
              <a:latin typeface="Arial" panose="020B0604020202020204" pitchFamily="34" charset="0"/>
            </a:endParaRPr>
          </a:p>
        </p:txBody>
      </p:sp>
    </p:spTree>
    <p:extLst>
      <p:ext uri="{BB962C8B-B14F-4D97-AF65-F5344CB8AC3E}">
        <p14:creationId xmlns:p14="http://schemas.microsoft.com/office/powerpoint/2010/main" val="3934181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1143000" y="684213"/>
            <a:ext cx="4573588" cy="3430587"/>
          </a:xfrm>
          <a:ln/>
        </p:spPr>
      </p:sp>
    </p:spTree>
    <p:extLst>
      <p:ext uri="{BB962C8B-B14F-4D97-AF65-F5344CB8AC3E}">
        <p14:creationId xmlns:p14="http://schemas.microsoft.com/office/powerpoint/2010/main" val="1514654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1143000" y="684213"/>
            <a:ext cx="4573588" cy="3430587"/>
          </a:xfrm>
          <a:ln/>
        </p:spPr>
      </p:sp>
    </p:spTree>
    <p:extLst>
      <p:ext uri="{BB962C8B-B14F-4D97-AF65-F5344CB8AC3E}">
        <p14:creationId xmlns:p14="http://schemas.microsoft.com/office/powerpoint/2010/main" val="2041250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xfrm>
            <a:off x="1143000" y="684213"/>
            <a:ext cx="4573588" cy="3430587"/>
          </a:xfrm>
          <a:ln/>
        </p:spPr>
      </p:sp>
    </p:spTree>
    <p:extLst>
      <p:ext uri="{BB962C8B-B14F-4D97-AF65-F5344CB8AC3E}">
        <p14:creationId xmlns:p14="http://schemas.microsoft.com/office/powerpoint/2010/main" val="1197907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pt-BR" altLang="pt-BR"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1DECE5D-384A-4B75-8F83-2DB936C9CEAE}" type="slidenum">
              <a:rPr kumimoji="0" lang="pt-B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957754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ço Reservado para Imagem de Slide 1"/>
          <p:cNvSpPr>
            <a:spLocks noGrp="1" noRot="1" noChangeAspect="1" noTextEdit="1"/>
          </p:cNvSpPr>
          <p:nvPr>
            <p:ph type="sldImg"/>
          </p:nvPr>
        </p:nvSpPr>
        <p:spPr>
          <a:ln/>
        </p:spPr>
      </p:sp>
      <p:sp>
        <p:nvSpPr>
          <p:cNvPr id="55299" name="Espaço Reservado para Anotaçõ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ltLang="pt-BR"/>
          </a:p>
        </p:txBody>
      </p:sp>
      <p:sp>
        <p:nvSpPr>
          <p:cNvPr id="55300" name="Espaço Reservado para Número de Slid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53A2AD96-B240-4F18-9CF0-345E17D84D10}" type="slidenum">
              <a:rPr lang="en-US" altLang="pt-BR" b="0" smtClean="0">
                <a:latin typeface="Times New Roman" panose="02020603050405020304" pitchFamily="18" charset="0"/>
              </a:rPr>
              <a:pPr/>
              <a:t>39</a:t>
            </a:fld>
            <a:endParaRPr lang="en-US" altLang="pt-BR" b="0">
              <a:latin typeface="Times New Roman" panose="02020603050405020304" pitchFamily="18" charset="0"/>
            </a:endParaRPr>
          </a:p>
        </p:txBody>
      </p:sp>
    </p:spTree>
    <p:extLst>
      <p:ext uri="{BB962C8B-B14F-4D97-AF65-F5344CB8AC3E}">
        <p14:creationId xmlns:p14="http://schemas.microsoft.com/office/powerpoint/2010/main" val="38908243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990600" y="766763"/>
            <a:ext cx="5122863" cy="3841750"/>
          </a:xfrm>
          <a:ln/>
        </p:spPr>
      </p:sp>
      <p:sp>
        <p:nvSpPr>
          <p:cNvPr id="64515" name="Rectangle 3"/>
          <p:cNvSpPr>
            <a:spLocks noGrp="1" noChangeArrowheads="1"/>
          </p:cNvSpPr>
          <p:nvPr>
            <p:ph type="body" idx="1"/>
          </p:nvPr>
        </p:nvSpPr>
        <p:spPr>
          <a:xfrm>
            <a:off x="709613" y="4864100"/>
            <a:ext cx="5680075" cy="4603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pt-BR"/>
          </a:p>
        </p:txBody>
      </p:sp>
    </p:spTree>
    <p:extLst>
      <p:ext uri="{BB962C8B-B14F-4D97-AF65-F5344CB8AC3E}">
        <p14:creationId xmlns:p14="http://schemas.microsoft.com/office/powerpoint/2010/main" val="201343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abertura">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55893" y="1615108"/>
            <a:ext cx="11477643" cy="3096344"/>
          </a:xfrm>
          <a:prstGeom prst="rect">
            <a:avLst/>
          </a:prstGeom>
        </p:spPr>
        <p:txBody>
          <a:bodyPr anchor="ctr"/>
          <a:lstStyle>
            <a:lvl1pPr>
              <a:defRPr sz="6000" b="1">
                <a:solidFill>
                  <a:srgbClr val="69ADE7"/>
                </a:solidFill>
              </a:defRPr>
            </a:lvl1pPr>
          </a:lstStyle>
          <a:p>
            <a:r>
              <a:rPr lang="pt-BR" dirty="0"/>
              <a:t>Nome da Disciplina</a:t>
            </a:r>
          </a:p>
        </p:txBody>
      </p:sp>
      <p:sp>
        <p:nvSpPr>
          <p:cNvPr id="5" name="Espaço Reservado para Texto 4"/>
          <p:cNvSpPr>
            <a:spLocks noGrp="1"/>
          </p:cNvSpPr>
          <p:nvPr>
            <p:ph type="body" sz="quarter" idx="10" hasCustomPrompt="1"/>
          </p:nvPr>
        </p:nvSpPr>
        <p:spPr>
          <a:xfrm>
            <a:off x="855893" y="4999043"/>
            <a:ext cx="11477625" cy="3889375"/>
          </a:xfrm>
          <a:prstGeom prst="rect">
            <a:avLst/>
          </a:prstGeom>
        </p:spPr>
        <p:txBody>
          <a:bodyPr anchor="ctr"/>
          <a:lstStyle>
            <a:lvl1pPr marL="0" indent="0" algn="ctr" rtl="0" eaLnBrk="0" fontAlgn="base" hangingPunct="0">
              <a:spcBef>
                <a:spcPct val="0"/>
              </a:spcBef>
              <a:spcAft>
                <a:spcPct val="0"/>
              </a:spcAft>
              <a:buNone/>
              <a:defRPr lang="pt-BR" sz="4951" b="0" kern="1200" dirty="0" smtClean="0">
                <a:solidFill>
                  <a:srgbClr val="69ADE7"/>
                </a:solidFill>
                <a:latin typeface="+mj-lt"/>
                <a:ea typeface="+mj-ea"/>
                <a:cs typeface="+mj-cs"/>
              </a:defRPr>
            </a:lvl1pPr>
            <a:lvl2pPr algn="ctr" rtl="0" eaLnBrk="0" fontAlgn="base" hangingPunct="0">
              <a:spcBef>
                <a:spcPct val="0"/>
              </a:spcBef>
              <a:spcAft>
                <a:spcPct val="0"/>
              </a:spcAft>
              <a:defRPr lang="pt-BR" sz="4951" b="0" kern="1200" dirty="0" smtClean="0">
                <a:solidFill>
                  <a:srgbClr val="69ADE7"/>
                </a:solidFill>
                <a:latin typeface="+mj-lt"/>
                <a:ea typeface="+mj-ea"/>
                <a:cs typeface="+mj-cs"/>
              </a:defRPr>
            </a:lvl2pPr>
            <a:lvl3pPr algn="ctr" rtl="0" eaLnBrk="0" fontAlgn="base" hangingPunct="0">
              <a:spcBef>
                <a:spcPct val="0"/>
              </a:spcBef>
              <a:spcAft>
                <a:spcPct val="0"/>
              </a:spcAft>
              <a:defRPr lang="pt-BR" sz="4951" b="0" kern="1200" dirty="0" smtClean="0">
                <a:solidFill>
                  <a:srgbClr val="69ADE7"/>
                </a:solidFill>
                <a:latin typeface="+mj-lt"/>
                <a:ea typeface="+mj-ea"/>
                <a:cs typeface="+mj-cs"/>
              </a:defRPr>
            </a:lvl3pPr>
            <a:lvl4pPr algn="ctr" rtl="0" eaLnBrk="0" fontAlgn="base" hangingPunct="0">
              <a:spcBef>
                <a:spcPct val="0"/>
              </a:spcBef>
              <a:spcAft>
                <a:spcPct val="0"/>
              </a:spcAft>
              <a:defRPr lang="pt-BR" sz="4951" b="0" kern="1200" dirty="0" smtClean="0">
                <a:solidFill>
                  <a:srgbClr val="69ADE7"/>
                </a:solidFill>
                <a:latin typeface="+mj-lt"/>
                <a:ea typeface="+mj-ea"/>
                <a:cs typeface="+mj-cs"/>
              </a:defRPr>
            </a:lvl4pPr>
            <a:lvl5pPr algn="ctr" rtl="0" eaLnBrk="0" fontAlgn="base" hangingPunct="0">
              <a:spcBef>
                <a:spcPct val="0"/>
              </a:spcBef>
              <a:spcAft>
                <a:spcPct val="0"/>
              </a:spcAft>
              <a:defRPr lang="pt-BR" sz="4951" b="0" kern="1200" dirty="0">
                <a:solidFill>
                  <a:srgbClr val="69ADE7"/>
                </a:solidFill>
                <a:latin typeface="+mj-lt"/>
                <a:ea typeface="+mj-ea"/>
                <a:cs typeface="+mj-cs"/>
              </a:defRPr>
            </a:lvl5pPr>
          </a:lstStyle>
          <a:p>
            <a:pPr lvl="0"/>
            <a:r>
              <a:rPr lang="pt-BR" dirty="0"/>
              <a:t>Nome do professor</a:t>
            </a:r>
          </a:p>
        </p:txBody>
      </p:sp>
    </p:spTree>
    <p:extLst>
      <p:ext uri="{BB962C8B-B14F-4D97-AF65-F5344CB8AC3E}">
        <p14:creationId xmlns:p14="http://schemas.microsoft.com/office/powerpoint/2010/main" val="1530713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1 linha - conteúdo 2 colunas">
    <p:spTree>
      <p:nvGrpSpPr>
        <p:cNvPr id="1" name=""/>
        <p:cNvGrpSpPr/>
        <p:nvPr/>
      </p:nvGrpSpPr>
      <p:grpSpPr>
        <a:xfrm>
          <a:off x="0" y="0"/>
          <a:ext cx="0" cy="0"/>
          <a:chOff x="0" y="0"/>
          <a:chExt cx="0" cy="0"/>
        </a:xfrm>
      </p:grpSpPr>
      <p:sp>
        <p:nvSpPr>
          <p:cNvPr id="11" name="Espaço Reservado para Texto 2"/>
          <p:cNvSpPr>
            <a:spLocks noGrp="1"/>
          </p:cNvSpPr>
          <p:nvPr>
            <p:ph type="body" sz="quarter" idx="11" hasCustomPrompt="1"/>
          </p:nvPr>
        </p:nvSpPr>
        <p:spPr>
          <a:xfrm>
            <a:off x="532800" y="324000"/>
            <a:ext cx="9360000"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6" name="Espaço Reservado para Texto 2"/>
          <p:cNvSpPr>
            <a:spLocks noGrp="1"/>
          </p:cNvSpPr>
          <p:nvPr>
            <p:ph type="body" sz="quarter" idx="14"/>
          </p:nvPr>
        </p:nvSpPr>
        <p:spPr>
          <a:xfrm>
            <a:off x="532800" y="1470968"/>
            <a:ext cx="5637251" cy="8281043"/>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
        <p:nvSpPr>
          <p:cNvPr id="7" name="Espaço Reservado para Texto 2"/>
          <p:cNvSpPr>
            <a:spLocks noGrp="1"/>
          </p:cNvSpPr>
          <p:nvPr>
            <p:ph type="body" sz="quarter" idx="15"/>
          </p:nvPr>
        </p:nvSpPr>
        <p:spPr>
          <a:xfrm>
            <a:off x="7025495" y="1470968"/>
            <a:ext cx="5637251" cy="8281043"/>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3572859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ítulo 2 linhas - conteúdo 2 colunas">
    <p:spTree>
      <p:nvGrpSpPr>
        <p:cNvPr id="1" name=""/>
        <p:cNvGrpSpPr/>
        <p:nvPr/>
      </p:nvGrpSpPr>
      <p:grpSpPr>
        <a:xfrm>
          <a:off x="0" y="0"/>
          <a:ext cx="0" cy="0"/>
          <a:chOff x="0" y="0"/>
          <a:chExt cx="0" cy="0"/>
        </a:xfrm>
      </p:grpSpPr>
      <p:sp>
        <p:nvSpPr>
          <p:cNvPr id="9" name="Espaço Reservado para Texto 2"/>
          <p:cNvSpPr>
            <a:spLocks noGrp="1"/>
          </p:cNvSpPr>
          <p:nvPr>
            <p:ph type="body" sz="quarter" idx="11" hasCustomPrompt="1"/>
          </p:nvPr>
        </p:nvSpPr>
        <p:spPr>
          <a:xfrm>
            <a:off x="532800" y="324000"/>
            <a:ext cx="9360000" cy="1196400"/>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6" name="Espaço Reservado para Texto 2"/>
          <p:cNvSpPr>
            <a:spLocks noGrp="1"/>
          </p:cNvSpPr>
          <p:nvPr>
            <p:ph type="body" sz="quarter" idx="14"/>
          </p:nvPr>
        </p:nvSpPr>
        <p:spPr>
          <a:xfrm>
            <a:off x="532800" y="2019298"/>
            <a:ext cx="5637600" cy="7732714"/>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
        <p:nvSpPr>
          <p:cNvPr id="10" name="Espaço Reservado para Texto 2"/>
          <p:cNvSpPr>
            <a:spLocks noGrp="1"/>
          </p:cNvSpPr>
          <p:nvPr>
            <p:ph type="body" sz="quarter" idx="15"/>
          </p:nvPr>
        </p:nvSpPr>
        <p:spPr>
          <a:xfrm>
            <a:off x="6981614" y="2019298"/>
            <a:ext cx="5689358" cy="7732714"/>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1275487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3 linhas - conteúdo 2 colunas">
    <p:spTree>
      <p:nvGrpSpPr>
        <p:cNvPr id="1" name=""/>
        <p:cNvGrpSpPr/>
        <p:nvPr/>
      </p:nvGrpSpPr>
      <p:grpSpPr>
        <a:xfrm>
          <a:off x="0" y="0"/>
          <a:ext cx="0" cy="0"/>
          <a:chOff x="0" y="0"/>
          <a:chExt cx="0" cy="0"/>
        </a:xfrm>
      </p:grpSpPr>
      <p:sp>
        <p:nvSpPr>
          <p:cNvPr id="10" name="Espaço Reservado para Texto 2"/>
          <p:cNvSpPr>
            <a:spLocks noGrp="1"/>
          </p:cNvSpPr>
          <p:nvPr>
            <p:ph type="body" sz="quarter" idx="11" hasCustomPrompt="1"/>
          </p:nvPr>
        </p:nvSpPr>
        <p:spPr>
          <a:xfrm>
            <a:off x="532800" y="324000"/>
            <a:ext cx="9360000" cy="2075052"/>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7" name="Espaço Reservado para Texto 2"/>
          <p:cNvSpPr>
            <a:spLocks noGrp="1"/>
          </p:cNvSpPr>
          <p:nvPr>
            <p:ph type="body" sz="quarter" idx="12"/>
          </p:nvPr>
        </p:nvSpPr>
        <p:spPr>
          <a:xfrm>
            <a:off x="532800" y="2897950"/>
            <a:ext cx="5689358" cy="6854062"/>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
        <p:nvSpPr>
          <p:cNvPr id="9" name="Espaço Reservado para Texto 2"/>
          <p:cNvSpPr>
            <a:spLocks noGrp="1"/>
          </p:cNvSpPr>
          <p:nvPr>
            <p:ph type="body" sz="quarter" idx="15"/>
          </p:nvPr>
        </p:nvSpPr>
        <p:spPr>
          <a:xfrm>
            <a:off x="6981613" y="2897950"/>
            <a:ext cx="5689358" cy="6854062"/>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267069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1 linha - conteúdo + imagem">
    <p:spTree>
      <p:nvGrpSpPr>
        <p:cNvPr id="1" name=""/>
        <p:cNvGrpSpPr/>
        <p:nvPr/>
      </p:nvGrpSpPr>
      <p:grpSpPr>
        <a:xfrm>
          <a:off x="0" y="0"/>
          <a:ext cx="0" cy="0"/>
          <a:chOff x="0" y="0"/>
          <a:chExt cx="0" cy="0"/>
        </a:xfrm>
      </p:grpSpPr>
      <p:sp>
        <p:nvSpPr>
          <p:cNvPr id="5" name="Espaço Reservado para Imagem 2"/>
          <p:cNvSpPr>
            <a:spLocks noGrp="1"/>
          </p:cNvSpPr>
          <p:nvPr>
            <p:ph type="pic" sz="quarter" idx="13"/>
          </p:nvPr>
        </p:nvSpPr>
        <p:spPr>
          <a:xfrm>
            <a:off x="7357760" y="1470969"/>
            <a:ext cx="5327726" cy="8281606"/>
          </a:xfrm>
          <a:prstGeom prst="rect">
            <a:avLst/>
          </a:prstGeom>
        </p:spPr>
        <p:txBody>
          <a:bodyPr/>
          <a:lstStyle/>
          <a:p>
            <a:r>
              <a:rPr lang="pt-BR"/>
              <a:t>Clique no ícone para adicionar uma imagem</a:t>
            </a:r>
            <a:endParaRPr lang="pt-BR" dirty="0"/>
          </a:p>
        </p:txBody>
      </p:sp>
      <p:sp>
        <p:nvSpPr>
          <p:cNvPr id="9" name="Espaço Reservado para Texto 2"/>
          <p:cNvSpPr>
            <a:spLocks noGrp="1"/>
          </p:cNvSpPr>
          <p:nvPr>
            <p:ph type="body" sz="quarter" idx="14" hasCustomPrompt="1"/>
          </p:nvPr>
        </p:nvSpPr>
        <p:spPr>
          <a:xfrm>
            <a:off x="532800" y="1470969"/>
            <a:ext cx="6069296" cy="8281606"/>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1" name="Espaço Reservado para Texto 2"/>
          <p:cNvSpPr>
            <a:spLocks noGrp="1"/>
          </p:cNvSpPr>
          <p:nvPr>
            <p:ph type="body" sz="quarter" idx="11" hasCustomPrompt="1"/>
          </p:nvPr>
        </p:nvSpPr>
        <p:spPr>
          <a:xfrm>
            <a:off x="532800" y="324000"/>
            <a:ext cx="9360000"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Tree>
    <p:extLst>
      <p:ext uri="{BB962C8B-B14F-4D97-AF65-F5344CB8AC3E}">
        <p14:creationId xmlns:p14="http://schemas.microsoft.com/office/powerpoint/2010/main" val="2771048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1 linha - imagem + conteúdo">
    <p:spTree>
      <p:nvGrpSpPr>
        <p:cNvPr id="1" name=""/>
        <p:cNvGrpSpPr/>
        <p:nvPr/>
      </p:nvGrpSpPr>
      <p:grpSpPr>
        <a:xfrm>
          <a:off x="0" y="0"/>
          <a:ext cx="0" cy="0"/>
          <a:chOff x="0" y="0"/>
          <a:chExt cx="0" cy="0"/>
        </a:xfrm>
      </p:grpSpPr>
      <p:sp>
        <p:nvSpPr>
          <p:cNvPr id="5" name="Espaço Reservado para Imagem 2"/>
          <p:cNvSpPr>
            <a:spLocks noGrp="1"/>
          </p:cNvSpPr>
          <p:nvPr>
            <p:ph type="pic" sz="quarter" idx="13"/>
          </p:nvPr>
        </p:nvSpPr>
        <p:spPr>
          <a:xfrm>
            <a:off x="532800" y="1470969"/>
            <a:ext cx="5313211" cy="8281043"/>
          </a:xfrm>
          <a:prstGeom prst="rect">
            <a:avLst/>
          </a:prstGeom>
        </p:spPr>
        <p:txBody>
          <a:bodyPr/>
          <a:lstStyle/>
          <a:p>
            <a:r>
              <a:rPr lang="pt-BR"/>
              <a:t>Clique no ícone para adicionar uma imagem</a:t>
            </a:r>
            <a:endParaRPr lang="pt-BR" dirty="0"/>
          </a:p>
        </p:txBody>
      </p:sp>
      <p:sp>
        <p:nvSpPr>
          <p:cNvPr id="9" name="Espaço Reservado para Texto 2"/>
          <p:cNvSpPr>
            <a:spLocks noGrp="1"/>
          </p:cNvSpPr>
          <p:nvPr>
            <p:ph type="body" sz="quarter" idx="14" hasCustomPrompt="1"/>
          </p:nvPr>
        </p:nvSpPr>
        <p:spPr>
          <a:xfrm>
            <a:off x="6621352" y="1470969"/>
            <a:ext cx="6069296" cy="8281043"/>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4" name="Espaço Reservado para Texto 2"/>
          <p:cNvSpPr>
            <a:spLocks noGrp="1"/>
          </p:cNvSpPr>
          <p:nvPr>
            <p:ph type="body" sz="quarter" idx="11" hasCustomPrompt="1"/>
          </p:nvPr>
        </p:nvSpPr>
        <p:spPr>
          <a:xfrm>
            <a:off x="532800" y="324000"/>
            <a:ext cx="9360000"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Tree>
    <p:extLst>
      <p:ext uri="{BB962C8B-B14F-4D97-AF65-F5344CB8AC3E}">
        <p14:creationId xmlns:p14="http://schemas.microsoft.com/office/powerpoint/2010/main" val="15668223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ítulo 2 linhas - conteúdo + imagem">
    <p:spTree>
      <p:nvGrpSpPr>
        <p:cNvPr id="1" name=""/>
        <p:cNvGrpSpPr/>
        <p:nvPr/>
      </p:nvGrpSpPr>
      <p:grpSpPr>
        <a:xfrm>
          <a:off x="0" y="0"/>
          <a:ext cx="0" cy="0"/>
          <a:chOff x="0" y="0"/>
          <a:chExt cx="0" cy="0"/>
        </a:xfrm>
      </p:grpSpPr>
      <p:sp>
        <p:nvSpPr>
          <p:cNvPr id="5" name="Espaço Reservado para Imagem 2"/>
          <p:cNvSpPr>
            <a:spLocks noGrp="1"/>
          </p:cNvSpPr>
          <p:nvPr>
            <p:ph type="pic" sz="quarter" idx="13"/>
          </p:nvPr>
        </p:nvSpPr>
        <p:spPr>
          <a:xfrm>
            <a:off x="7361795" y="2019298"/>
            <a:ext cx="5313211" cy="7732714"/>
          </a:xfrm>
          <a:prstGeom prst="rect">
            <a:avLst/>
          </a:prstGeom>
        </p:spPr>
        <p:txBody>
          <a:bodyPr/>
          <a:lstStyle/>
          <a:p>
            <a:r>
              <a:rPr lang="pt-BR"/>
              <a:t>Clique no ícone para adicionar uma imagem</a:t>
            </a:r>
            <a:endParaRPr lang="pt-BR" dirty="0"/>
          </a:p>
        </p:txBody>
      </p:sp>
      <p:sp>
        <p:nvSpPr>
          <p:cNvPr id="9" name="Espaço Reservado para Texto 2"/>
          <p:cNvSpPr>
            <a:spLocks noGrp="1"/>
          </p:cNvSpPr>
          <p:nvPr>
            <p:ph type="body" sz="quarter" idx="14" hasCustomPrompt="1"/>
          </p:nvPr>
        </p:nvSpPr>
        <p:spPr>
          <a:xfrm>
            <a:off x="532800" y="2019298"/>
            <a:ext cx="6069296" cy="7732714"/>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1" name="Espaço Reservado para Texto 2"/>
          <p:cNvSpPr>
            <a:spLocks noGrp="1"/>
          </p:cNvSpPr>
          <p:nvPr>
            <p:ph type="body" sz="quarter" idx="11" hasCustomPrompt="1"/>
          </p:nvPr>
        </p:nvSpPr>
        <p:spPr>
          <a:xfrm>
            <a:off x="532799" y="324000"/>
            <a:ext cx="9360001" cy="1196400"/>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Tree>
    <p:extLst>
      <p:ext uri="{BB962C8B-B14F-4D97-AF65-F5344CB8AC3E}">
        <p14:creationId xmlns:p14="http://schemas.microsoft.com/office/powerpoint/2010/main" val="11726535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ítulo 2 linhas - imagem + conteúdo">
    <p:spTree>
      <p:nvGrpSpPr>
        <p:cNvPr id="1" name=""/>
        <p:cNvGrpSpPr/>
        <p:nvPr/>
      </p:nvGrpSpPr>
      <p:grpSpPr>
        <a:xfrm>
          <a:off x="0" y="0"/>
          <a:ext cx="0" cy="0"/>
          <a:chOff x="0" y="0"/>
          <a:chExt cx="0" cy="0"/>
        </a:xfrm>
      </p:grpSpPr>
      <p:sp>
        <p:nvSpPr>
          <p:cNvPr id="5" name="Espaço Reservado para Imagem 2"/>
          <p:cNvSpPr>
            <a:spLocks noGrp="1"/>
          </p:cNvSpPr>
          <p:nvPr>
            <p:ph type="pic" sz="quarter" idx="13"/>
          </p:nvPr>
        </p:nvSpPr>
        <p:spPr>
          <a:xfrm>
            <a:off x="518286" y="2019298"/>
            <a:ext cx="5313211" cy="7732714"/>
          </a:xfrm>
          <a:prstGeom prst="rect">
            <a:avLst/>
          </a:prstGeom>
        </p:spPr>
        <p:txBody>
          <a:bodyPr/>
          <a:lstStyle/>
          <a:p>
            <a:r>
              <a:rPr lang="pt-BR"/>
              <a:t>Clique no ícone para adicionar uma imagem</a:t>
            </a:r>
            <a:endParaRPr lang="pt-BR" dirty="0"/>
          </a:p>
        </p:txBody>
      </p:sp>
      <p:sp>
        <p:nvSpPr>
          <p:cNvPr id="9" name="Espaço Reservado para Texto 2"/>
          <p:cNvSpPr>
            <a:spLocks noGrp="1"/>
          </p:cNvSpPr>
          <p:nvPr>
            <p:ph type="body" sz="quarter" idx="14" hasCustomPrompt="1"/>
          </p:nvPr>
        </p:nvSpPr>
        <p:spPr>
          <a:xfrm>
            <a:off x="6601885" y="2019298"/>
            <a:ext cx="6069296" cy="7732714"/>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4" name="Espaço Reservado para Texto 2"/>
          <p:cNvSpPr>
            <a:spLocks noGrp="1"/>
          </p:cNvSpPr>
          <p:nvPr>
            <p:ph type="body" sz="quarter" idx="11" hasCustomPrompt="1"/>
          </p:nvPr>
        </p:nvSpPr>
        <p:spPr>
          <a:xfrm>
            <a:off x="532799" y="324000"/>
            <a:ext cx="9360001" cy="1196400"/>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Tree>
    <p:extLst>
      <p:ext uri="{BB962C8B-B14F-4D97-AF65-F5344CB8AC3E}">
        <p14:creationId xmlns:p14="http://schemas.microsoft.com/office/powerpoint/2010/main" val="36770634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ítulo 3 linhas - conteúdo + imagem">
    <p:spTree>
      <p:nvGrpSpPr>
        <p:cNvPr id="1" name=""/>
        <p:cNvGrpSpPr/>
        <p:nvPr/>
      </p:nvGrpSpPr>
      <p:grpSpPr>
        <a:xfrm>
          <a:off x="0" y="0"/>
          <a:ext cx="0" cy="0"/>
          <a:chOff x="0" y="0"/>
          <a:chExt cx="0" cy="0"/>
        </a:xfrm>
      </p:grpSpPr>
      <p:sp>
        <p:nvSpPr>
          <p:cNvPr id="6" name="Espaço Reservado para Imagem 2"/>
          <p:cNvSpPr>
            <a:spLocks noGrp="1"/>
          </p:cNvSpPr>
          <p:nvPr>
            <p:ph type="pic" sz="quarter" idx="15"/>
          </p:nvPr>
        </p:nvSpPr>
        <p:spPr>
          <a:xfrm>
            <a:off x="7357265" y="2897950"/>
            <a:ext cx="5342735" cy="6854061"/>
          </a:xfrm>
          <a:prstGeom prst="rect">
            <a:avLst/>
          </a:prstGeom>
        </p:spPr>
        <p:txBody>
          <a:bodyPr/>
          <a:lstStyle/>
          <a:p>
            <a:r>
              <a:rPr lang="pt-BR"/>
              <a:t>Clique no ícone para adicionar uma imagem</a:t>
            </a:r>
            <a:endParaRPr lang="pt-BR" dirty="0"/>
          </a:p>
        </p:txBody>
      </p:sp>
      <p:sp>
        <p:nvSpPr>
          <p:cNvPr id="10" name="Espaço Reservado para Texto 2"/>
          <p:cNvSpPr>
            <a:spLocks noGrp="1"/>
          </p:cNvSpPr>
          <p:nvPr>
            <p:ph type="body" sz="quarter" idx="17" hasCustomPrompt="1"/>
          </p:nvPr>
        </p:nvSpPr>
        <p:spPr>
          <a:xfrm>
            <a:off x="518781" y="2897950"/>
            <a:ext cx="6069296" cy="6854061"/>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4" name="Espaço Reservado para Texto 2"/>
          <p:cNvSpPr>
            <a:spLocks noGrp="1"/>
          </p:cNvSpPr>
          <p:nvPr>
            <p:ph type="body" sz="quarter" idx="18" hasCustomPrompt="1"/>
          </p:nvPr>
        </p:nvSpPr>
        <p:spPr>
          <a:xfrm>
            <a:off x="532800" y="324000"/>
            <a:ext cx="9360000" cy="2075052"/>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Tree>
    <p:extLst>
      <p:ext uri="{BB962C8B-B14F-4D97-AF65-F5344CB8AC3E}">
        <p14:creationId xmlns:p14="http://schemas.microsoft.com/office/powerpoint/2010/main" val="9897420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ítulo 3 linhas - imagem + conteúdo">
    <p:spTree>
      <p:nvGrpSpPr>
        <p:cNvPr id="1" name=""/>
        <p:cNvGrpSpPr/>
        <p:nvPr/>
      </p:nvGrpSpPr>
      <p:grpSpPr>
        <a:xfrm>
          <a:off x="0" y="0"/>
          <a:ext cx="0" cy="0"/>
          <a:chOff x="0" y="0"/>
          <a:chExt cx="0" cy="0"/>
        </a:xfrm>
      </p:grpSpPr>
      <p:sp>
        <p:nvSpPr>
          <p:cNvPr id="5" name="Espaço Reservado para Imagem 2"/>
          <p:cNvSpPr>
            <a:spLocks noGrp="1"/>
          </p:cNvSpPr>
          <p:nvPr>
            <p:ph type="pic" sz="quarter" idx="13"/>
          </p:nvPr>
        </p:nvSpPr>
        <p:spPr>
          <a:xfrm>
            <a:off x="518286" y="2897949"/>
            <a:ext cx="5313211" cy="6854061"/>
          </a:xfrm>
          <a:prstGeom prst="rect">
            <a:avLst/>
          </a:prstGeom>
        </p:spPr>
        <p:txBody>
          <a:bodyPr/>
          <a:lstStyle/>
          <a:p>
            <a:r>
              <a:rPr lang="pt-BR"/>
              <a:t>Clique no ícone para adicionar uma imagem</a:t>
            </a:r>
            <a:endParaRPr lang="pt-BR" dirty="0"/>
          </a:p>
        </p:txBody>
      </p:sp>
      <p:sp>
        <p:nvSpPr>
          <p:cNvPr id="8" name="Espaço Reservado para Texto 2"/>
          <p:cNvSpPr>
            <a:spLocks noGrp="1"/>
          </p:cNvSpPr>
          <p:nvPr>
            <p:ph type="body" sz="quarter" idx="16" hasCustomPrompt="1"/>
          </p:nvPr>
        </p:nvSpPr>
        <p:spPr>
          <a:xfrm>
            <a:off x="6605147" y="2911997"/>
            <a:ext cx="6069296" cy="6840014"/>
          </a:xfrm>
          <a:prstGeom prst="rect">
            <a:avLst/>
          </a:prstGeom>
        </p:spPr>
        <p:txBody>
          <a:bodyPr anchor="ctr">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4" name="Espaço Reservado para Texto 2"/>
          <p:cNvSpPr>
            <a:spLocks noGrp="1"/>
          </p:cNvSpPr>
          <p:nvPr>
            <p:ph type="body" sz="quarter" idx="18" hasCustomPrompt="1"/>
          </p:nvPr>
        </p:nvSpPr>
        <p:spPr>
          <a:xfrm>
            <a:off x="532800" y="324000"/>
            <a:ext cx="9360000" cy="2075052"/>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Tree>
    <p:extLst>
      <p:ext uri="{BB962C8B-B14F-4D97-AF65-F5344CB8AC3E}">
        <p14:creationId xmlns:p14="http://schemas.microsoft.com/office/powerpoint/2010/main" val="2273401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554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údo">
    <p:spTree>
      <p:nvGrpSpPr>
        <p:cNvPr id="1" name=""/>
        <p:cNvGrpSpPr/>
        <p:nvPr/>
      </p:nvGrpSpPr>
      <p:grpSpPr>
        <a:xfrm>
          <a:off x="0" y="0"/>
          <a:ext cx="0" cy="0"/>
          <a:chOff x="0" y="0"/>
          <a:chExt cx="0" cy="0"/>
        </a:xfrm>
      </p:grpSpPr>
      <p:sp>
        <p:nvSpPr>
          <p:cNvPr id="3" name="Espaço Reservado para Texto 2"/>
          <p:cNvSpPr>
            <a:spLocks noGrp="1"/>
          </p:cNvSpPr>
          <p:nvPr>
            <p:ph type="body" sz="quarter" idx="13"/>
          </p:nvPr>
        </p:nvSpPr>
        <p:spPr>
          <a:xfrm>
            <a:off x="532799" y="968400"/>
            <a:ext cx="12138172" cy="8783612"/>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875928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85664" y="411957"/>
            <a:ext cx="7560468" cy="1059135"/>
          </a:xfrm>
          <a:prstGeom prst="rect">
            <a:avLst/>
          </a:prstGeom>
        </p:spPr>
        <p:txBody>
          <a:bodyPr/>
          <a:lstStyle>
            <a:lvl1pPr algn="l">
              <a:defRPr sz="3000" b="1">
                <a:solidFill>
                  <a:schemeClr val="bg1"/>
                </a:solidFill>
                <a:latin typeface="Myriad Pro" pitchFamily="34" charset="0"/>
                <a:ea typeface="Verdana" panose="020B0604030504040204" pitchFamily="34" charset="0"/>
                <a:cs typeface="Verdana" panose="020B0604030504040204" pitchFamily="34" charset="0"/>
              </a:defRPr>
            </a:lvl1pPr>
          </a:lstStyle>
          <a:p>
            <a:r>
              <a:rPr lang="pt-BR" dirty="0"/>
              <a:t>Clique para editar o título mestre</a:t>
            </a:r>
          </a:p>
        </p:txBody>
      </p:sp>
      <p:sp>
        <p:nvSpPr>
          <p:cNvPr id="7" name="Espaço Reservado para Conteúdo 6"/>
          <p:cNvSpPr>
            <a:spLocks noGrp="1"/>
          </p:cNvSpPr>
          <p:nvPr>
            <p:ph sz="quarter" idx="10"/>
          </p:nvPr>
        </p:nvSpPr>
        <p:spPr>
          <a:xfrm>
            <a:off x="485403" y="2011152"/>
            <a:ext cx="12745305" cy="7668852"/>
          </a:xfrm>
          <a:prstGeom prst="rect">
            <a:avLst/>
          </a:prstGeom>
        </p:spPr>
        <p:txBody>
          <a:bodyPr/>
          <a:lstStyle>
            <a:lvl1pPr>
              <a:defRPr sz="2100">
                <a:solidFill>
                  <a:srgbClr val="003366"/>
                </a:solidFill>
                <a:latin typeface="Myriad Pro" pitchFamily="34" charset="0"/>
                <a:ea typeface="Verdana" panose="020B0604030504040204" pitchFamily="34" charset="0"/>
                <a:cs typeface="Verdana" panose="020B0604030504040204" pitchFamily="34" charset="0"/>
              </a:defRPr>
            </a:lvl1pPr>
            <a:lvl2pPr>
              <a:defRPr sz="2100">
                <a:solidFill>
                  <a:srgbClr val="003366"/>
                </a:solidFill>
                <a:latin typeface="Myriad Pro" pitchFamily="34" charset="0"/>
                <a:ea typeface="Verdana" panose="020B0604030504040204" pitchFamily="34" charset="0"/>
                <a:cs typeface="Verdana" panose="020B0604030504040204" pitchFamily="34" charset="0"/>
              </a:defRPr>
            </a:lvl2pPr>
            <a:lvl3pPr>
              <a:defRPr sz="2100">
                <a:solidFill>
                  <a:srgbClr val="003366"/>
                </a:solidFill>
                <a:latin typeface="Myriad Pro" pitchFamily="34" charset="0"/>
                <a:ea typeface="Verdana" panose="020B0604030504040204" pitchFamily="34" charset="0"/>
                <a:cs typeface="Verdana" panose="020B0604030504040204" pitchFamily="34" charset="0"/>
              </a:defRPr>
            </a:lvl3pPr>
            <a:lvl4pPr>
              <a:defRPr sz="2100">
                <a:solidFill>
                  <a:srgbClr val="003366"/>
                </a:solidFill>
                <a:latin typeface="Myriad Pro" pitchFamily="34" charset="0"/>
                <a:ea typeface="Verdana" panose="020B0604030504040204" pitchFamily="34" charset="0"/>
                <a:cs typeface="Verdana" panose="020B0604030504040204" pitchFamily="34" charset="0"/>
              </a:defRPr>
            </a:lvl4pPr>
            <a:lvl5pPr>
              <a:defRPr sz="2100">
                <a:solidFill>
                  <a:srgbClr val="003366"/>
                </a:solidFill>
                <a:latin typeface="Myriad Pro" pitchFamily="34" charset="0"/>
                <a:ea typeface="Verdana" panose="020B0604030504040204" pitchFamily="34" charset="0"/>
                <a:cs typeface="Verdana" panose="020B0604030504040204" pitchFamily="34" charset="0"/>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5045400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685800" y="411957"/>
            <a:ext cx="12344400" cy="1714500"/>
          </a:xfrm>
          <a:prstGeom prst="rect">
            <a:avLst/>
          </a:prstGeom>
        </p:spPr>
        <p:txBody>
          <a:bodyPr/>
          <a:lstStyle/>
          <a:p>
            <a:r>
              <a:rPr lang="pt-BR"/>
              <a:t>Clique para editar o estilo do título mestre</a:t>
            </a:r>
          </a:p>
        </p:txBody>
      </p:sp>
    </p:spTree>
    <p:extLst>
      <p:ext uri="{BB962C8B-B14F-4D97-AF65-F5344CB8AC3E}">
        <p14:creationId xmlns:p14="http://schemas.microsoft.com/office/powerpoint/2010/main" val="1817543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ayout Personalizado">
    <p:spTree>
      <p:nvGrpSpPr>
        <p:cNvPr id="1" name="Shape 26"/>
        <p:cNvGrpSpPr/>
        <p:nvPr/>
      </p:nvGrpSpPr>
      <p:grpSpPr>
        <a:xfrm>
          <a:off x="0" y="0"/>
          <a:ext cx="0" cy="0"/>
          <a:chOff x="0" y="0"/>
          <a:chExt cx="0" cy="0"/>
        </a:xfrm>
      </p:grpSpPr>
      <p:sp>
        <p:nvSpPr>
          <p:cNvPr id="2" name="CaixaDeTexto 1"/>
          <p:cNvSpPr txBox="1">
            <a:spLocks noChangeArrowheads="1"/>
          </p:cNvSpPr>
          <p:nvPr userDrawn="1"/>
        </p:nvSpPr>
        <p:spPr bwMode="auto">
          <a:xfrm>
            <a:off x="12141995" y="9463088"/>
            <a:ext cx="1574006" cy="392415"/>
          </a:xfrm>
          <a:prstGeom prst="rect">
            <a:avLst/>
          </a:prstGeom>
          <a:noFill/>
          <a:ln>
            <a:noFill/>
          </a:ln>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r" eaLnBrk="1" hangingPunct="1">
              <a:defRPr/>
            </a:pPr>
            <a:fld id="{7BBCC40A-ACCB-4142-848A-D65C7048C9CE}" type="slidenum">
              <a:rPr lang="pt-BR" altLang="pt-BR" sz="1950" smtClean="0">
                <a:solidFill>
                  <a:srgbClr val="16165D"/>
                </a:solidFill>
                <a:latin typeface="Tahoma" panose="020B0604030504040204" pitchFamily="34" charset="0"/>
              </a:rPr>
              <a:pPr algn="r" eaLnBrk="1" hangingPunct="1">
                <a:defRPr/>
              </a:pPr>
              <a:t>‹nº›</a:t>
            </a:fld>
            <a:endParaRPr lang="pt-BR" altLang="pt-BR" sz="1950">
              <a:solidFill>
                <a:srgbClr val="16165D"/>
              </a:solidFill>
              <a:latin typeface="Tahoma" panose="020B0604030504040204" pitchFamily="34" charset="0"/>
            </a:endParaRPr>
          </a:p>
        </p:txBody>
      </p:sp>
    </p:spTree>
    <p:extLst>
      <p:ext uri="{BB962C8B-B14F-4D97-AF65-F5344CB8AC3E}">
        <p14:creationId xmlns:p14="http://schemas.microsoft.com/office/powerpoint/2010/main" val="36698668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028700" y="3195638"/>
            <a:ext cx="11658600" cy="2205038"/>
          </a:xfrm>
          <a:prstGeom prst="rect">
            <a:avLst/>
          </a:prstGeom>
        </p:spPr>
        <p:txBody>
          <a:bodyPr/>
          <a:lstStyle/>
          <a:p>
            <a:r>
              <a:rPr lang="pt-BR"/>
              <a:t>Clique para editar o estilo do título mestre</a:t>
            </a:r>
          </a:p>
        </p:txBody>
      </p:sp>
      <p:sp>
        <p:nvSpPr>
          <p:cNvPr id="3" name="Subtítulo 2"/>
          <p:cNvSpPr>
            <a:spLocks noGrp="1"/>
          </p:cNvSpPr>
          <p:nvPr>
            <p:ph type="subTitle" idx="1"/>
          </p:nvPr>
        </p:nvSpPr>
        <p:spPr>
          <a:xfrm>
            <a:off x="2057400" y="5829300"/>
            <a:ext cx="9601200" cy="2628900"/>
          </a:xfrm>
          <a:prstGeom prst="rect">
            <a:avLst/>
          </a:prstGeom>
        </p:spPr>
        <p:txBody>
          <a:bodyPr/>
          <a:lstStyle>
            <a:lvl1pPr marL="0" indent="0" algn="ctr">
              <a:buNone/>
              <a:defRPr/>
            </a:lvl1pPr>
            <a:lvl2pPr marL="685800" indent="0" algn="ctr">
              <a:buNone/>
              <a:defRPr/>
            </a:lvl2pPr>
            <a:lvl3pPr marL="1371600" indent="0" algn="ctr">
              <a:buNone/>
              <a:defRPr/>
            </a:lvl3pPr>
            <a:lvl4pPr marL="2057400" indent="0" algn="ctr">
              <a:buNone/>
              <a:defRPr/>
            </a:lvl4pPr>
            <a:lvl5pPr marL="2743200" indent="0" algn="ctr">
              <a:buNone/>
              <a:defRPr/>
            </a:lvl5pPr>
            <a:lvl6pPr marL="3429000" indent="0" algn="ctr">
              <a:buNone/>
              <a:defRPr/>
            </a:lvl6pPr>
            <a:lvl7pPr marL="4114800" indent="0" algn="ctr">
              <a:buNone/>
              <a:defRPr/>
            </a:lvl7pPr>
            <a:lvl8pPr marL="4800600" indent="0" algn="ctr">
              <a:buNone/>
              <a:defRPr/>
            </a:lvl8pPr>
            <a:lvl9pPr marL="5486400" indent="0" algn="ctr">
              <a:buNone/>
              <a:defRPr/>
            </a:lvl9pPr>
          </a:lstStyle>
          <a:p>
            <a:r>
              <a:rPr lang="pt-BR"/>
              <a:t>Clique para editar o estilo do subtítulo mestre</a:t>
            </a:r>
          </a:p>
        </p:txBody>
      </p:sp>
    </p:spTree>
    <p:extLst>
      <p:ext uri="{BB962C8B-B14F-4D97-AF65-F5344CB8AC3E}">
        <p14:creationId xmlns:p14="http://schemas.microsoft.com/office/powerpoint/2010/main" val="35410100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702470" y="2443163"/>
            <a:ext cx="12344400" cy="678894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2673692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3518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ulo1linha">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Espaço Reservado para Texto 2"/>
          <p:cNvSpPr>
            <a:spLocks noGrp="1"/>
          </p:cNvSpPr>
          <p:nvPr>
            <p:ph type="body" sz="quarter" idx="11" hasCustomPrompt="1"/>
          </p:nvPr>
        </p:nvSpPr>
        <p:spPr>
          <a:xfrm>
            <a:off x="734698" y="606999"/>
            <a:ext cx="1203695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Texto 2"/>
          <p:cNvSpPr>
            <a:spLocks noGrp="1"/>
          </p:cNvSpPr>
          <p:nvPr>
            <p:ph type="body" sz="quarter" idx="13"/>
          </p:nvPr>
        </p:nvSpPr>
        <p:spPr>
          <a:xfrm>
            <a:off x="734697" y="1636314"/>
            <a:ext cx="12036959"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9124457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ulo2linhas">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Espaço Reservado para Texto 2"/>
          <p:cNvSpPr>
            <a:spLocks noGrp="1"/>
          </p:cNvSpPr>
          <p:nvPr>
            <p:ph type="body" sz="quarter" idx="11" hasCustomPrompt="1"/>
          </p:nvPr>
        </p:nvSpPr>
        <p:spPr>
          <a:xfrm>
            <a:off x="734698" y="556197"/>
            <a:ext cx="12036959" cy="1196400"/>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37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5" name="Espaço Reservado para Texto 2"/>
          <p:cNvSpPr>
            <a:spLocks noGrp="1"/>
          </p:cNvSpPr>
          <p:nvPr>
            <p:ph type="body" sz="quarter" idx="13"/>
          </p:nvPr>
        </p:nvSpPr>
        <p:spPr>
          <a:xfrm>
            <a:off x="734698" y="2235447"/>
            <a:ext cx="12036959" cy="730066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25661766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ulo">
    <p:spTree>
      <p:nvGrpSpPr>
        <p:cNvPr id="1" name=""/>
        <p:cNvGrpSpPr/>
        <p:nvPr/>
      </p:nvGrpSpPr>
      <p:grpSpPr>
        <a:xfrm>
          <a:off x="0" y="0"/>
          <a:ext cx="0" cy="0"/>
          <a:chOff x="0" y="0"/>
          <a:chExt cx="0" cy="0"/>
        </a:xfrm>
      </p:grpSpPr>
      <p:sp>
        <p:nvSpPr>
          <p:cNvPr id="2" name="Título 1"/>
          <p:cNvSpPr>
            <a:spLocks noGrp="1"/>
          </p:cNvSpPr>
          <p:nvPr>
            <p:ph type="title"/>
          </p:nvPr>
        </p:nvSpPr>
        <p:spPr>
          <a:xfrm>
            <a:off x="942975" y="2551212"/>
            <a:ext cx="11477643" cy="5315892"/>
          </a:xfrm>
          <a:prstGeom prst="rect">
            <a:avLst/>
          </a:prstGeom>
        </p:spPr>
        <p:txBody>
          <a:bodyPr anchor="ctr"/>
          <a:lstStyle>
            <a:lvl1pPr>
              <a:defRPr b="1">
                <a:solidFill>
                  <a:srgbClr val="69ADE7"/>
                </a:solidFill>
              </a:defRPr>
            </a:lvl1pPr>
          </a:lstStyle>
          <a:p>
            <a:r>
              <a:rPr lang="pt-BR" dirty="0"/>
              <a:t>Clique para editar o título mestre</a:t>
            </a:r>
          </a:p>
        </p:txBody>
      </p:sp>
    </p:spTree>
    <p:extLst>
      <p:ext uri="{BB962C8B-B14F-4D97-AF65-F5344CB8AC3E}">
        <p14:creationId xmlns:p14="http://schemas.microsoft.com/office/powerpoint/2010/main" val="14290109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udo">
    <p:spTree>
      <p:nvGrpSpPr>
        <p:cNvPr id="1" name=""/>
        <p:cNvGrpSpPr/>
        <p:nvPr/>
      </p:nvGrpSpPr>
      <p:grpSpPr>
        <a:xfrm>
          <a:off x="0" y="0"/>
          <a:ext cx="0" cy="0"/>
          <a:chOff x="0" y="0"/>
          <a:chExt cx="0" cy="0"/>
        </a:xfrm>
      </p:grpSpPr>
      <p:sp>
        <p:nvSpPr>
          <p:cNvPr id="3" name="Espaço Reservado para Texto 2"/>
          <p:cNvSpPr>
            <a:spLocks noGrp="1"/>
          </p:cNvSpPr>
          <p:nvPr>
            <p:ph type="body" sz="quarter" idx="13"/>
          </p:nvPr>
        </p:nvSpPr>
        <p:spPr>
          <a:xfrm>
            <a:off x="530943" y="606997"/>
            <a:ext cx="12240715" cy="892911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287537"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2504781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m">
    <p:spTree>
      <p:nvGrpSpPr>
        <p:cNvPr id="1" name=""/>
        <p:cNvGrpSpPr/>
        <p:nvPr/>
      </p:nvGrpSpPr>
      <p:grpSpPr>
        <a:xfrm>
          <a:off x="0" y="0"/>
          <a:ext cx="0" cy="0"/>
          <a:chOff x="0" y="0"/>
          <a:chExt cx="0" cy="0"/>
        </a:xfrm>
      </p:grpSpPr>
      <p:sp>
        <p:nvSpPr>
          <p:cNvPr id="3" name="Espaço Reservado para Imagem 2"/>
          <p:cNvSpPr>
            <a:spLocks noGrp="1"/>
          </p:cNvSpPr>
          <p:nvPr>
            <p:ph type="pic" sz="quarter" idx="15"/>
          </p:nvPr>
        </p:nvSpPr>
        <p:spPr>
          <a:xfrm>
            <a:off x="532800" y="968400"/>
            <a:ext cx="12138171" cy="8783612"/>
          </a:xfrm>
          <a:prstGeom prst="rect">
            <a:avLst/>
          </a:prstGeom>
        </p:spPr>
        <p:txBody>
          <a:bodyPr/>
          <a:lstStyle/>
          <a:p>
            <a:r>
              <a:rPr lang="pt-BR"/>
              <a:t>Clique no ícone para adicionar uma imagem</a:t>
            </a:r>
            <a:endParaRPr lang="pt-BR" dirty="0"/>
          </a:p>
        </p:txBody>
      </p:sp>
    </p:spTree>
    <p:extLst>
      <p:ext uri="{BB962C8B-B14F-4D97-AF65-F5344CB8AC3E}">
        <p14:creationId xmlns:p14="http://schemas.microsoft.com/office/powerpoint/2010/main" val="9268403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ulo1linha">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Espaço Reservado para Texto 2"/>
          <p:cNvSpPr>
            <a:spLocks noGrp="1"/>
          </p:cNvSpPr>
          <p:nvPr>
            <p:ph type="body" sz="quarter" idx="11" hasCustomPrompt="1"/>
          </p:nvPr>
        </p:nvSpPr>
        <p:spPr>
          <a:xfrm>
            <a:off x="734698" y="606999"/>
            <a:ext cx="1203695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Texto 2"/>
          <p:cNvSpPr>
            <a:spLocks noGrp="1"/>
          </p:cNvSpPr>
          <p:nvPr>
            <p:ph type="body" sz="quarter" idx="13"/>
          </p:nvPr>
        </p:nvSpPr>
        <p:spPr>
          <a:xfrm>
            <a:off x="734697" y="1636314"/>
            <a:ext cx="12036959"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12632420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ulo2linhas">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Espaço Reservado para Texto 2"/>
          <p:cNvSpPr>
            <a:spLocks noGrp="1"/>
          </p:cNvSpPr>
          <p:nvPr>
            <p:ph type="body" sz="quarter" idx="11" hasCustomPrompt="1"/>
          </p:nvPr>
        </p:nvSpPr>
        <p:spPr>
          <a:xfrm>
            <a:off x="734698" y="556197"/>
            <a:ext cx="12036959" cy="1196400"/>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37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5" name="Espaço Reservado para Texto 2"/>
          <p:cNvSpPr>
            <a:spLocks noGrp="1"/>
          </p:cNvSpPr>
          <p:nvPr>
            <p:ph type="body" sz="quarter" idx="13"/>
          </p:nvPr>
        </p:nvSpPr>
        <p:spPr>
          <a:xfrm>
            <a:off x="734698" y="2235447"/>
            <a:ext cx="12036959" cy="730066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41485110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ulo3linhas">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7"/>
            <a:ext cx="13716000" cy="10287000"/>
          </a:xfrm>
          <a:prstGeom prst="rect">
            <a:avLst/>
          </a:prstGeom>
        </p:spPr>
      </p:pic>
      <p:sp>
        <p:nvSpPr>
          <p:cNvPr id="8" name="Espaço Reservado para Texto 2"/>
          <p:cNvSpPr>
            <a:spLocks noGrp="1"/>
          </p:cNvSpPr>
          <p:nvPr>
            <p:ph type="body" sz="quarter" idx="11" hasCustomPrompt="1"/>
          </p:nvPr>
        </p:nvSpPr>
        <p:spPr>
          <a:xfrm>
            <a:off x="734698" y="591125"/>
            <a:ext cx="12036959" cy="2075052"/>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5" name="Espaço Reservado para Texto 2"/>
          <p:cNvSpPr>
            <a:spLocks noGrp="1"/>
          </p:cNvSpPr>
          <p:nvPr>
            <p:ph type="body" sz="quarter" idx="13"/>
          </p:nvPr>
        </p:nvSpPr>
        <p:spPr>
          <a:xfrm>
            <a:off x="734698" y="3114099"/>
            <a:ext cx="12036959" cy="6422014"/>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2994676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m_titulo1linha">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Espaço Reservado para Imagem 2"/>
          <p:cNvSpPr>
            <a:spLocks noGrp="1"/>
          </p:cNvSpPr>
          <p:nvPr>
            <p:ph type="pic" sz="quarter" idx="14"/>
          </p:nvPr>
        </p:nvSpPr>
        <p:spPr>
          <a:xfrm>
            <a:off x="734698" y="1688307"/>
            <a:ext cx="12036959" cy="7847806"/>
          </a:xfrm>
          <a:prstGeom prst="rect">
            <a:avLst/>
          </a:prstGeom>
        </p:spPr>
        <p:txBody>
          <a:bodyPr/>
          <a:lstStyle/>
          <a:p>
            <a:endParaRPr lang="pt-BR"/>
          </a:p>
        </p:txBody>
      </p:sp>
      <p:sp>
        <p:nvSpPr>
          <p:cNvPr id="6" name="Espaço Reservado para Texto 2"/>
          <p:cNvSpPr>
            <a:spLocks noGrp="1"/>
          </p:cNvSpPr>
          <p:nvPr>
            <p:ph type="body" sz="quarter" idx="11" hasCustomPrompt="1"/>
          </p:nvPr>
        </p:nvSpPr>
        <p:spPr>
          <a:xfrm>
            <a:off x="734698" y="606999"/>
            <a:ext cx="1203695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Tree>
    <p:extLst>
      <p:ext uri="{BB962C8B-B14F-4D97-AF65-F5344CB8AC3E}">
        <p14:creationId xmlns:p14="http://schemas.microsoft.com/office/powerpoint/2010/main" val="18379569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m">
    <p:spTree>
      <p:nvGrpSpPr>
        <p:cNvPr id="1" name=""/>
        <p:cNvGrpSpPr/>
        <p:nvPr/>
      </p:nvGrpSpPr>
      <p:grpSpPr>
        <a:xfrm>
          <a:off x="0" y="0"/>
          <a:ext cx="0" cy="0"/>
          <a:chOff x="0" y="0"/>
          <a:chExt cx="0" cy="0"/>
        </a:xfrm>
      </p:grpSpPr>
      <p:sp>
        <p:nvSpPr>
          <p:cNvPr id="8" name="Espaço Reservado para Imagem 2"/>
          <p:cNvSpPr>
            <a:spLocks noGrp="1"/>
          </p:cNvSpPr>
          <p:nvPr>
            <p:ph type="pic" sz="quarter" idx="14"/>
          </p:nvPr>
        </p:nvSpPr>
        <p:spPr>
          <a:xfrm>
            <a:off x="734698" y="678882"/>
            <a:ext cx="11881165" cy="8929115"/>
          </a:xfrm>
          <a:prstGeom prst="rect">
            <a:avLst/>
          </a:prstGeom>
        </p:spPr>
        <p:txBody>
          <a:bodyPr/>
          <a:lstStyle/>
          <a:p>
            <a:endParaRPr lang="pt-BR" dirty="0"/>
          </a:p>
        </p:txBody>
      </p:sp>
    </p:spTree>
    <p:extLst>
      <p:ext uri="{BB962C8B-B14F-4D97-AF65-F5344CB8AC3E}">
        <p14:creationId xmlns:p14="http://schemas.microsoft.com/office/powerpoint/2010/main" val="3965951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m_titulo2linhas">
    <p:spTree>
      <p:nvGrpSpPr>
        <p:cNvPr id="1" name=""/>
        <p:cNvGrpSpPr/>
        <p:nvPr/>
      </p:nvGrpSpPr>
      <p:grpSpPr>
        <a:xfrm>
          <a:off x="0" y="0"/>
          <a:ext cx="0" cy="0"/>
          <a:chOff x="0" y="0"/>
          <a:chExt cx="0" cy="0"/>
        </a:xfrm>
      </p:grpSpPr>
      <p:pic>
        <p:nvPicPr>
          <p:cNvPr id="6" name="Imagem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7" name="Espaço Reservado para Texto 2"/>
          <p:cNvSpPr>
            <a:spLocks noGrp="1"/>
          </p:cNvSpPr>
          <p:nvPr>
            <p:ph type="body" sz="quarter" idx="11" hasCustomPrompt="1"/>
          </p:nvPr>
        </p:nvSpPr>
        <p:spPr>
          <a:xfrm>
            <a:off x="734698" y="556197"/>
            <a:ext cx="12036959" cy="1196400"/>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37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5" name="Espaço Reservado para Imagem 2"/>
          <p:cNvSpPr>
            <a:spLocks noGrp="1"/>
          </p:cNvSpPr>
          <p:nvPr>
            <p:ph type="pic" sz="quarter" idx="14"/>
          </p:nvPr>
        </p:nvSpPr>
        <p:spPr>
          <a:xfrm>
            <a:off x="734698" y="2235447"/>
            <a:ext cx="12036959" cy="7300666"/>
          </a:xfrm>
          <a:prstGeom prst="rect">
            <a:avLst/>
          </a:prstGeom>
        </p:spPr>
        <p:txBody>
          <a:bodyPr/>
          <a:lstStyle/>
          <a:p>
            <a:endParaRPr lang="pt-BR"/>
          </a:p>
        </p:txBody>
      </p:sp>
    </p:spTree>
    <p:extLst>
      <p:ext uri="{BB962C8B-B14F-4D97-AF65-F5344CB8AC3E}">
        <p14:creationId xmlns:p14="http://schemas.microsoft.com/office/powerpoint/2010/main" val="41691861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m_titulo3linhas">
    <p:spTree>
      <p:nvGrpSpPr>
        <p:cNvPr id="1" name=""/>
        <p:cNvGrpSpPr/>
        <p:nvPr/>
      </p:nvGrpSpPr>
      <p:grpSpPr>
        <a:xfrm>
          <a:off x="0" y="0"/>
          <a:ext cx="0" cy="0"/>
          <a:chOff x="0" y="0"/>
          <a:chExt cx="0" cy="0"/>
        </a:xfrm>
      </p:grpSpPr>
      <p:pic>
        <p:nvPicPr>
          <p:cNvPr id="9" name="Imagem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7"/>
            <a:ext cx="13716000" cy="10287000"/>
          </a:xfrm>
          <a:prstGeom prst="rect">
            <a:avLst/>
          </a:prstGeom>
        </p:spPr>
      </p:pic>
      <p:sp>
        <p:nvSpPr>
          <p:cNvPr id="7" name="Espaço Reservado para Texto 2"/>
          <p:cNvSpPr>
            <a:spLocks noGrp="1"/>
          </p:cNvSpPr>
          <p:nvPr>
            <p:ph type="body" sz="quarter" idx="11" hasCustomPrompt="1"/>
          </p:nvPr>
        </p:nvSpPr>
        <p:spPr>
          <a:xfrm>
            <a:off x="734698" y="591125"/>
            <a:ext cx="12036959" cy="2075052"/>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5" name="Espaço Reservado para Imagem 2"/>
          <p:cNvSpPr>
            <a:spLocks noGrp="1"/>
          </p:cNvSpPr>
          <p:nvPr>
            <p:ph type="pic" sz="quarter" idx="14"/>
          </p:nvPr>
        </p:nvSpPr>
        <p:spPr>
          <a:xfrm>
            <a:off x="734698" y="3114099"/>
            <a:ext cx="12036959" cy="6422014"/>
          </a:xfrm>
          <a:prstGeom prst="rect">
            <a:avLst/>
          </a:prstGeom>
        </p:spPr>
        <p:txBody>
          <a:bodyPr/>
          <a:lstStyle/>
          <a:p>
            <a:endParaRPr lang="pt-BR"/>
          </a:p>
        </p:txBody>
      </p:sp>
    </p:spTree>
    <p:extLst>
      <p:ext uri="{BB962C8B-B14F-4D97-AF65-F5344CB8AC3E}">
        <p14:creationId xmlns:p14="http://schemas.microsoft.com/office/powerpoint/2010/main" val="6462784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uascolunas_titulo1linha">
    <p:spTree>
      <p:nvGrpSpPr>
        <p:cNvPr id="1" name=""/>
        <p:cNvGrpSpPr/>
        <p:nvPr/>
      </p:nvGrpSpPr>
      <p:grpSpPr>
        <a:xfrm>
          <a:off x="0" y="0"/>
          <a:ext cx="0" cy="0"/>
          <a:chOff x="0" y="0"/>
          <a:chExt cx="0" cy="0"/>
        </a:xfrm>
      </p:grpSpPr>
      <p:pic>
        <p:nvPicPr>
          <p:cNvPr id="8" name="Imagem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11" name="Espaço Reservado para Texto 2"/>
          <p:cNvSpPr>
            <a:spLocks noGrp="1"/>
          </p:cNvSpPr>
          <p:nvPr>
            <p:ph type="body" sz="quarter" idx="11" hasCustomPrompt="1"/>
          </p:nvPr>
        </p:nvSpPr>
        <p:spPr>
          <a:xfrm>
            <a:off x="734698" y="606999"/>
            <a:ext cx="1203695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6" name="Espaço Reservado para Texto 2"/>
          <p:cNvSpPr>
            <a:spLocks noGrp="1"/>
          </p:cNvSpPr>
          <p:nvPr>
            <p:ph type="body" sz="quarter" idx="14"/>
          </p:nvPr>
        </p:nvSpPr>
        <p:spPr>
          <a:xfrm>
            <a:off x="734698" y="1636314"/>
            <a:ext cx="5637251"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7" name="Espaço Reservado para Texto 2"/>
          <p:cNvSpPr>
            <a:spLocks noGrp="1"/>
          </p:cNvSpPr>
          <p:nvPr>
            <p:ph type="body" sz="quarter" idx="15"/>
          </p:nvPr>
        </p:nvSpPr>
        <p:spPr>
          <a:xfrm>
            <a:off x="7134406" y="1636314"/>
            <a:ext cx="5637251"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3285725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uascolunas_titulo2linhas">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9" name="Espaço Reservado para Texto 2"/>
          <p:cNvSpPr>
            <a:spLocks noGrp="1"/>
          </p:cNvSpPr>
          <p:nvPr>
            <p:ph type="body" sz="quarter" idx="11" hasCustomPrompt="1"/>
          </p:nvPr>
        </p:nvSpPr>
        <p:spPr>
          <a:xfrm>
            <a:off x="734698" y="556197"/>
            <a:ext cx="12036959" cy="1196400"/>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37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6" name="Espaço Reservado para Texto 2"/>
          <p:cNvSpPr>
            <a:spLocks noGrp="1"/>
          </p:cNvSpPr>
          <p:nvPr>
            <p:ph type="body" sz="quarter" idx="14"/>
          </p:nvPr>
        </p:nvSpPr>
        <p:spPr>
          <a:xfrm>
            <a:off x="735970" y="2235447"/>
            <a:ext cx="5689358" cy="730066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0" name="Espaço Reservado para Texto 2"/>
          <p:cNvSpPr>
            <a:spLocks noGrp="1"/>
          </p:cNvSpPr>
          <p:nvPr>
            <p:ph type="body" sz="quarter" idx="15"/>
          </p:nvPr>
        </p:nvSpPr>
        <p:spPr>
          <a:xfrm>
            <a:off x="7081024" y="2235447"/>
            <a:ext cx="5689358" cy="730066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3020295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uascolunas_titulo3linh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7"/>
            <a:ext cx="13716000" cy="10287000"/>
          </a:xfrm>
          <a:prstGeom prst="rect">
            <a:avLst/>
          </a:prstGeom>
        </p:spPr>
      </p:pic>
      <p:sp>
        <p:nvSpPr>
          <p:cNvPr id="10" name="Espaço Reservado para Texto 2"/>
          <p:cNvSpPr>
            <a:spLocks noGrp="1"/>
          </p:cNvSpPr>
          <p:nvPr>
            <p:ph type="body" sz="quarter" idx="11" hasCustomPrompt="1"/>
          </p:nvPr>
        </p:nvSpPr>
        <p:spPr>
          <a:xfrm>
            <a:off x="734698" y="591125"/>
            <a:ext cx="12036959" cy="2075052"/>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7" name="Espaço Reservado para Texto 2"/>
          <p:cNvSpPr>
            <a:spLocks noGrp="1"/>
          </p:cNvSpPr>
          <p:nvPr>
            <p:ph type="body" sz="quarter" idx="12"/>
          </p:nvPr>
        </p:nvSpPr>
        <p:spPr>
          <a:xfrm>
            <a:off x="734697" y="3114099"/>
            <a:ext cx="5689358" cy="6422014"/>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9" name="Espaço Reservado para Texto 2"/>
          <p:cNvSpPr>
            <a:spLocks noGrp="1"/>
          </p:cNvSpPr>
          <p:nvPr>
            <p:ph type="body" sz="quarter" idx="15"/>
          </p:nvPr>
        </p:nvSpPr>
        <p:spPr>
          <a:xfrm>
            <a:off x="7081024" y="3114099"/>
            <a:ext cx="5689358" cy="6422014"/>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l">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455412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1 linha - conteúdo">
    <p:spTree>
      <p:nvGrpSpPr>
        <p:cNvPr id="1" name=""/>
        <p:cNvGrpSpPr/>
        <p:nvPr/>
      </p:nvGrpSpPr>
      <p:grpSpPr>
        <a:xfrm>
          <a:off x="0" y="0"/>
          <a:ext cx="0" cy="0"/>
          <a:chOff x="0" y="0"/>
          <a:chExt cx="0" cy="0"/>
        </a:xfrm>
      </p:grpSpPr>
      <p:sp>
        <p:nvSpPr>
          <p:cNvPr id="8" name="Espaço Reservado para Texto 2"/>
          <p:cNvSpPr>
            <a:spLocks noGrp="1"/>
          </p:cNvSpPr>
          <p:nvPr>
            <p:ph type="body" sz="quarter" idx="11" hasCustomPrompt="1"/>
          </p:nvPr>
        </p:nvSpPr>
        <p:spPr>
          <a:xfrm>
            <a:off x="532800" y="324000"/>
            <a:ext cx="9360000"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Texto 2"/>
          <p:cNvSpPr>
            <a:spLocks noGrp="1"/>
          </p:cNvSpPr>
          <p:nvPr>
            <p:ph type="body" sz="quarter" idx="13"/>
          </p:nvPr>
        </p:nvSpPr>
        <p:spPr>
          <a:xfrm>
            <a:off x="532799" y="1470968"/>
            <a:ext cx="12138172" cy="8281044"/>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30587635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m_titulo1linhaConteudo">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10" name="Espaço Reservado para Texto 2"/>
          <p:cNvSpPr>
            <a:spLocks noGrp="1"/>
          </p:cNvSpPr>
          <p:nvPr>
            <p:ph type="body" sz="quarter" idx="11" hasCustomPrompt="1"/>
          </p:nvPr>
        </p:nvSpPr>
        <p:spPr>
          <a:xfrm>
            <a:off x="734698" y="606999"/>
            <a:ext cx="6933395"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Imagem 2"/>
          <p:cNvSpPr>
            <a:spLocks noGrp="1"/>
          </p:cNvSpPr>
          <p:nvPr>
            <p:ph type="pic" sz="quarter" idx="13"/>
          </p:nvPr>
        </p:nvSpPr>
        <p:spPr>
          <a:xfrm>
            <a:off x="8402789" y="0"/>
            <a:ext cx="4902446" cy="10287000"/>
          </a:xfrm>
          <a:prstGeom prst="rect">
            <a:avLst/>
          </a:prstGeom>
        </p:spPr>
        <p:txBody>
          <a:bodyPr/>
          <a:lstStyle/>
          <a:p>
            <a:endParaRPr lang="pt-BR"/>
          </a:p>
        </p:txBody>
      </p:sp>
      <p:sp>
        <p:nvSpPr>
          <p:cNvPr id="9" name="Espaço Reservado para Texto 2"/>
          <p:cNvSpPr>
            <a:spLocks noGrp="1"/>
          </p:cNvSpPr>
          <p:nvPr>
            <p:ph type="body" sz="quarter" idx="14"/>
          </p:nvPr>
        </p:nvSpPr>
        <p:spPr>
          <a:xfrm>
            <a:off x="734698" y="1636314"/>
            <a:ext cx="6933395"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4709841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m_titulo1linhaConteudoesque">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10" name="Espaço Reservado para Texto 2"/>
          <p:cNvSpPr>
            <a:spLocks noGrp="1"/>
          </p:cNvSpPr>
          <p:nvPr>
            <p:ph type="body" sz="quarter" idx="11" hasCustomPrompt="1"/>
          </p:nvPr>
        </p:nvSpPr>
        <p:spPr>
          <a:xfrm>
            <a:off x="734698" y="606999"/>
            <a:ext cx="1203057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Imagem 2"/>
          <p:cNvSpPr>
            <a:spLocks noGrp="1"/>
          </p:cNvSpPr>
          <p:nvPr>
            <p:ph type="pic" sz="quarter" idx="13"/>
          </p:nvPr>
        </p:nvSpPr>
        <p:spPr>
          <a:xfrm>
            <a:off x="7452066" y="1636314"/>
            <a:ext cx="5313211" cy="7899799"/>
          </a:xfrm>
          <a:prstGeom prst="rect">
            <a:avLst/>
          </a:prstGeom>
        </p:spPr>
        <p:txBody>
          <a:bodyPr/>
          <a:lstStyle/>
          <a:p>
            <a:endParaRPr lang="pt-BR" dirty="0"/>
          </a:p>
        </p:txBody>
      </p:sp>
      <p:sp>
        <p:nvSpPr>
          <p:cNvPr id="9" name="Espaço Reservado para Texto 2"/>
          <p:cNvSpPr>
            <a:spLocks noGrp="1"/>
          </p:cNvSpPr>
          <p:nvPr>
            <p:ph type="body" sz="quarter" idx="14" hasCustomPrompt="1"/>
          </p:nvPr>
        </p:nvSpPr>
        <p:spPr>
          <a:xfrm>
            <a:off x="734698" y="1636314"/>
            <a:ext cx="6069296"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14147254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Imagem_titulo1linhaConteudodire">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10" name="Espaço Reservado para Texto 2"/>
          <p:cNvSpPr>
            <a:spLocks noGrp="1"/>
          </p:cNvSpPr>
          <p:nvPr>
            <p:ph type="body" sz="quarter" idx="11" hasCustomPrompt="1"/>
          </p:nvPr>
        </p:nvSpPr>
        <p:spPr>
          <a:xfrm>
            <a:off x="734698" y="606999"/>
            <a:ext cx="12030579"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
        <p:nvSpPr>
          <p:cNvPr id="5" name="Espaço Reservado para Imagem 2"/>
          <p:cNvSpPr>
            <a:spLocks noGrp="1"/>
          </p:cNvSpPr>
          <p:nvPr>
            <p:ph type="pic" sz="quarter" idx="13"/>
          </p:nvPr>
        </p:nvSpPr>
        <p:spPr>
          <a:xfrm>
            <a:off x="734698" y="1636314"/>
            <a:ext cx="5313211" cy="7899799"/>
          </a:xfrm>
          <a:prstGeom prst="rect">
            <a:avLst/>
          </a:prstGeom>
        </p:spPr>
        <p:txBody>
          <a:bodyPr/>
          <a:lstStyle/>
          <a:p>
            <a:endParaRPr lang="pt-BR" dirty="0"/>
          </a:p>
        </p:txBody>
      </p:sp>
      <p:sp>
        <p:nvSpPr>
          <p:cNvPr id="9" name="Espaço Reservado para Texto 2"/>
          <p:cNvSpPr>
            <a:spLocks noGrp="1"/>
          </p:cNvSpPr>
          <p:nvPr>
            <p:ph type="body" sz="quarter" idx="14" hasCustomPrompt="1"/>
          </p:nvPr>
        </p:nvSpPr>
        <p:spPr>
          <a:xfrm>
            <a:off x="6695981" y="1636314"/>
            <a:ext cx="6069296" cy="7899799"/>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Tree>
    <p:extLst>
      <p:ext uri="{BB962C8B-B14F-4D97-AF65-F5344CB8AC3E}">
        <p14:creationId xmlns:p14="http://schemas.microsoft.com/office/powerpoint/2010/main" val="2556503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m_titulo2linhasConteudo">
    <p:spTree>
      <p:nvGrpSpPr>
        <p:cNvPr id="1" name=""/>
        <p:cNvGrpSpPr/>
        <p:nvPr/>
      </p:nvGrpSpPr>
      <p:grpSpPr>
        <a:xfrm>
          <a:off x="0" y="0"/>
          <a:ext cx="0" cy="0"/>
          <a:chOff x="0" y="0"/>
          <a:chExt cx="0" cy="0"/>
        </a:xfrm>
      </p:grpSpPr>
      <p:pic>
        <p:nvPicPr>
          <p:cNvPr id="7" name="Imagem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10" name="Espaço Reservado para Texto 2"/>
          <p:cNvSpPr>
            <a:spLocks noGrp="1"/>
          </p:cNvSpPr>
          <p:nvPr>
            <p:ph type="body" sz="quarter" idx="11" hasCustomPrompt="1"/>
          </p:nvPr>
        </p:nvSpPr>
        <p:spPr>
          <a:xfrm>
            <a:off x="734698" y="556197"/>
            <a:ext cx="6933395" cy="1196400"/>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37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9" name="Espaço Reservado para Texto 2"/>
          <p:cNvSpPr>
            <a:spLocks noGrp="1"/>
          </p:cNvSpPr>
          <p:nvPr>
            <p:ph type="body" sz="quarter" idx="14"/>
          </p:nvPr>
        </p:nvSpPr>
        <p:spPr>
          <a:xfrm>
            <a:off x="734699" y="2235447"/>
            <a:ext cx="6933393" cy="7300666"/>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11" name="Espaço Reservado para Imagem 2"/>
          <p:cNvSpPr>
            <a:spLocks noGrp="1"/>
          </p:cNvSpPr>
          <p:nvPr>
            <p:ph type="pic" sz="quarter" idx="13"/>
          </p:nvPr>
        </p:nvSpPr>
        <p:spPr>
          <a:xfrm>
            <a:off x="8402789" y="0"/>
            <a:ext cx="4901255" cy="10287000"/>
          </a:xfrm>
          <a:prstGeom prst="rect">
            <a:avLst/>
          </a:prstGeom>
        </p:spPr>
        <p:txBody>
          <a:bodyPr/>
          <a:lstStyle/>
          <a:p>
            <a:endParaRPr lang="pt-BR"/>
          </a:p>
        </p:txBody>
      </p:sp>
    </p:spTree>
    <p:extLst>
      <p:ext uri="{BB962C8B-B14F-4D97-AF65-F5344CB8AC3E}">
        <p14:creationId xmlns:p14="http://schemas.microsoft.com/office/powerpoint/2010/main" val="18879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m_titulo3linhasConteudo">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7"/>
            <a:ext cx="13716000" cy="10287000"/>
          </a:xfrm>
          <a:prstGeom prst="rect">
            <a:avLst/>
          </a:prstGeom>
        </p:spPr>
      </p:pic>
      <p:sp>
        <p:nvSpPr>
          <p:cNvPr id="10" name="Espaço Reservado para Texto 2"/>
          <p:cNvSpPr>
            <a:spLocks noGrp="1"/>
          </p:cNvSpPr>
          <p:nvPr>
            <p:ph type="body" sz="quarter" idx="11" hasCustomPrompt="1"/>
          </p:nvPr>
        </p:nvSpPr>
        <p:spPr>
          <a:xfrm>
            <a:off x="734698" y="591125"/>
            <a:ext cx="6933395" cy="2075052"/>
          </a:xfrm>
          <a:prstGeom prst="rect">
            <a:avLst/>
          </a:prstGeom>
        </p:spPr>
        <p:txBody>
          <a:bodyPr anchor="ctr">
            <a:noAutofit/>
          </a:bodyPr>
          <a:lstStyle>
            <a:lvl1pPr marL="0" marR="0" indent="0" algn="l" defTabSz="1028700"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6" name="Espaço Reservado para Texto 2"/>
          <p:cNvSpPr>
            <a:spLocks noGrp="1"/>
          </p:cNvSpPr>
          <p:nvPr>
            <p:ph type="body" sz="quarter" idx="12"/>
          </p:nvPr>
        </p:nvSpPr>
        <p:spPr>
          <a:xfrm>
            <a:off x="734698" y="3114099"/>
            <a:ext cx="6933395" cy="6422014"/>
          </a:xfrm>
          <a:prstGeom prst="rect">
            <a:avLst/>
          </a:prstGeom>
        </p:spPr>
        <p:txBody>
          <a:bodyPr anchor="t">
            <a:normAutofit/>
          </a:bodyPr>
          <a:lstStyle>
            <a:lvl1pPr marL="305396" indent="-305396" algn="l">
              <a:lnSpc>
                <a:spcPts val="3600"/>
              </a:lnSpc>
              <a:spcBef>
                <a:spcPts val="0"/>
              </a:spcBef>
              <a:spcAft>
                <a:spcPts val="675"/>
              </a:spcAft>
              <a:buClr>
                <a:srgbClr val="69ADE7"/>
              </a:buClr>
              <a:buSzPct val="80000"/>
              <a:buFont typeface="Wingdings" panose="05000000000000000000" pitchFamily="2" charset="2"/>
              <a:buChar char="§"/>
              <a:defRPr sz="2925" b="0">
                <a:solidFill>
                  <a:schemeClr val="tx1"/>
                </a:solidFill>
                <a:latin typeface="+mn-lt"/>
                <a:cs typeface="Arial" panose="020B0604020202020204" pitchFamily="34" charset="0"/>
              </a:defRPr>
            </a:lvl1pPr>
            <a:lvl2pPr marL="609005" indent="-303610" algn="just">
              <a:lnSpc>
                <a:spcPts val="3600"/>
              </a:lnSpc>
              <a:spcBef>
                <a:spcPts val="0"/>
              </a:spcBef>
              <a:spcAft>
                <a:spcPts val="675"/>
              </a:spcAft>
              <a:buClr>
                <a:srgbClr val="69ADE7"/>
              </a:buClr>
              <a:buSzPct val="60000"/>
              <a:buFont typeface="Wingdings" panose="05000000000000000000" pitchFamily="2" charset="2"/>
              <a:buChar char="§"/>
              <a:defRPr sz="2925"/>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a:p>
            <a:pPr lvl="1"/>
            <a:r>
              <a:rPr lang="pt-BR" dirty="0"/>
              <a:t>Clique para editar o texto mestre</a:t>
            </a:r>
          </a:p>
        </p:txBody>
      </p:sp>
      <p:sp>
        <p:nvSpPr>
          <p:cNvPr id="8" name="Espaço Reservado para Imagem 2"/>
          <p:cNvSpPr>
            <a:spLocks noGrp="1"/>
          </p:cNvSpPr>
          <p:nvPr>
            <p:ph type="pic" sz="quarter" idx="13"/>
          </p:nvPr>
        </p:nvSpPr>
        <p:spPr>
          <a:xfrm>
            <a:off x="8402789" y="0"/>
            <a:ext cx="4902446" cy="10287000"/>
          </a:xfrm>
          <a:prstGeom prst="rect">
            <a:avLst/>
          </a:prstGeom>
        </p:spPr>
        <p:txBody>
          <a:bodyPr/>
          <a:lstStyle/>
          <a:p>
            <a:endParaRPr lang="pt-BR"/>
          </a:p>
        </p:txBody>
      </p:sp>
    </p:spTree>
    <p:extLst>
      <p:ext uri="{BB962C8B-B14F-4D97-AF65-F5344CB8AC3E}">
        <p14:creationId xmlns:p14="http://schemas.microsoft.com/office/powerpoint/2010/main" val="33788573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tacao">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6" name="Espaço Reservado para Texto 2"/>
          <p:cNvSpPr>
            <a:spLocks noGrp="1"/>
          </p:cNvSpPr>
          <p:nvPr>
            <p:ph type="body" sz="quarter" idx="12"/>
          </p:nvPr>
        </p:nvSpPr>
        <p:spPr>
          <a:xfrm>
            <a:off x="2564523" y="3351806"/>
            <a:ext cx="10612179" cy="3564396"/>
          </a:xfrm>
          <a:prstGeom prst="rect">
            <a:avLst/>
          </a:prstGeom>
        </p:spPr>
        <p:txBody>
          <a:bodyPr anchor="ctr">
            <a:normAutofit/>
          </a:bodyPr>
          <a:lstStyle>
            <a:lvl1pPr marL="0" indent="0" algn="l">
              <a:lnSpc>
                <a:spcPts val="3600"/>
              </a:lnSpc>
              <a:spcBef>
                <a:spcPts val="0"/>
              </a:spcBef>
              <a:spcAft>
                <a:spcPts val="675"/>
              </a:spcAft>
              <a:buClrTx/>
              <a:buSzPct val="100000"/>
              <a:buFont typeface="+mj-lt"/>
              <a:buNone/>
              <a:defRPr sz="3375" b="0">
                <a:solidFill>
                  <a:schemeClr val="bg1"/>
                </a:solidFill>
                <a:latin typeface="+mn-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p:txBody>
      </p:sp>
    </p:spTree>
    <p:extLst>
      <p:ext uri="{BB962C8B-B14F-4D97-AF65-F5344CB8AC3E}">
        <p14:creationId xmlns:p14="http://schemas.microsoft.com/office/powerpoint/2010/main" val="2221780348"/>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82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itaca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5" name="Espaço Reservado para Texto 2"/>
          <p:cNvSpPr>
            <a:spLocks noGrp="1"/>
          </p:cNvSpPr>
          <p:nvPr>
            <p:ph type="body" sz="quarter" idx="12"/>
          </p:nvPr>
        </p:nvSpPr>
        <p:spPr>
          <a:xfrm>
            <a:off x="2564523" y="3351806"/>
            <a:ext cx="10612179" cy="3564396"/>
          </a:xfrm>
          <a:prstGeom prst="rect">
            <a:avLst/>
          </a:prstGeom>
        </p:spPr>
        <p:txBody>
          <a:bodyPr anchor="ctr">
            <a:normAutofit/>
          </a:bodyPr>
          <a:lstStyle>
            <a:lvl1pPr marL="0" indent="0" algn="l">
              <a:lnSpc>
                <a:spcPts val="3600"/>
              </a:lnSpc>
              <a:spcBef>
                <a:spcPts val="0"/>
              </a:spcBef>
              <a:spcAft>
                <a:spcPts val="675"/>
              </a:spcAft>
              <a:buClrTx/>
              <a:buSzPct val="100000"/>
              <a:buFont typeface="+mj-lt"/>
              <a:buNone/>
              <a:defRPr sz="3375" b="0">
                <a:solidFill>
                  <a:schemeClr val="bg1"/>
                </a:solidFill>
                <a:latin typeface="+mn-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p:txBody>
      </p:sp>
    </p:spTree>
    <p:extLst>
      <p:ext uri="{BB962C8B-B14F-4D97-AF65-F5344CB8AC3E}">
        <p14:creationId xmlns:p14="http://schemas.microsoft.com/office/powerpoint/2010/main" val="1768285035"/>
      </p:ext>
    </p:extLst>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82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mGrande">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3" name="Espaço Reservado para Imagem 2"/>
          <p:cNvSpPr>
            <a:spLocks noGrp="1"/>
          </p:cNvSpPr>
          <p:nvPr>
            <p:ph type="pic" sz="quarter" idx="14"/>
          </p:nvPr>
        </p:nvSpPr>
        <p:spPr>
          <a:xfrm>
            <a:off x="863336" y="0"/>
            <a:ext cx="5670629" cy="10287000"/>
          </a:xfrm>
          <a:prstGeom prst="rect">
            <a:avLst/>
          </a:prstGeom>
          <a:effectLst>
            <a:innerShdw blurRad="406400" dist="342900" dir="5400000">
              <a:prstClr val="black">
                <a:alpha val="53000"/>
              </a:prstClr>
            </a:innerShdw>
          </a:effectLst>
        </p:spPr>
        <p:txBody>
          <a:bodyPr/>
          <a:lstStyle/>
          <a:p>
            <a:endParaRPr lang="pt-BR"/>
          </a:p>
        </p:txBody>
      </p:sp>
      <p:sp>
        <p:nvSpPr>
          <p:cNvPr id="6" name="Espaço Reservado para Texto 2"/>
          <p:cNvSpPr>
            <a:spLocks noGrp="1"/>
          </p:cNvSpPr>
          <p:nvPr>
            <p:ph type="body" sz="quarter" idx="15"/>
          </p:nvPr>
        </p:nvSpPr>
        <p:spPr>
          <a:xfrm>
            <a:off x="7182036" y="2875248"/>
            <a:ext cx="6047194" cy="4752528"/>
          </a:xfrm>
          <a:prstGeom prst="rect">
            <a:avLst/>
          </a:prstGeom>
        </p:spPr>
        <p:txBody>
          <a:bodyPr anchor="ctr">
            <a:normAutofit/>
          </a:bodyPr>
          <a:lstStyle>
            <a:lvl1pPr marL="0" indent="0" algn="l">
              <a:lnSpc>
                <a:spcPts val="3600"/>
              </a:lnSpc>
              <a:spcBef>
                <a:spcPts val="0"/>
              </a:spcBef>
              <a:spcAft>
                <a:spcPts val="675"/>
              </a:spcAft>
              <a:buClrTx/>
              <a:buSzPct val="100000"/>
              <a:buFont typeface="+mj-lt"/>
              <a:buNone/>
              <a:defRPr sz="3375" b="0">
                <a:solidFill>
                  <a:schemeClr val="bg1"/>
                </a:solidFill>
                <a:latin typeface="+mn-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p:txBody>
      </p:sp>
    </p:spTree>
    <p:extLst>
      <p:ext uri="{BB962C8B-B14F-4D97-AF65-F5344CB8AC3E}">
        <p14:creationId xmlns:p14="http://schemas.microsoft.com/office/powerpoint/2010/main" val="34663463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mGrande">
    <p:spTree>
      <p:nvGrpSpPr>
        <p:cNvPr id="1" name=""/>
        <p:cNvGrpSpPr/>
        <p:nvPr/>
      </p:nvGrpSpPr>
      <p:grpSpPr>
        <a:xfrm>
          <a:off x="0" y="0"/>
          <a:ext cx="0" cy="0"/>
          <a:chOff x="0" y="0"/>
          <a:chExt cx="0" cy="0"/>
        </a:xfrm>
      </p:grpSpPr>
      <p:pic>
        <p:nvPicPr>
          <p:cNvPr id="5" name="Imagem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6" name="Espaço Reservado para Texto 2"/>
          <p:cNvSpPr>
            <a:spLocks noGrp="1"/>
          </p:cNvSpPr>
          <p:nvPr>
            <p:ph type="body" sz="quarter" idx="15"/>
          </p:nvPr>
        </p:nvSpPr>
        <p:spPr>
          <a:xfrm>
            <a:off x="553540" y="2875248"/>
            <a:ext cx="12608921" cy="4644516"/>
          </a:xfrm>
          <a:prstGeom prst="rect">
            <a:avLst/>
          </a:prstGeom>
        </p:spPr>
        <p:txBody>
          <a:bodyPr anchor="ctr">
            <a:normAutofit/>
          </a:bodyPr>
          <a:lstStyle>
            <a:lvl1pPr marL="0" indent="0" algn="ctr">
              <a:lnSpc>
                <a:spcPts val="3600"/>
              </a:lnSpc>
              <a:spcBef>
                <a:spcPts val="0"/>
              </a:spcBef>
              <a:spcAft>
                <a:spcPts val="675"/>
              </a:spcAft>
              <a:buClrTx/>
              <a:buSzPct val="100000"/>
              <a:buFont typeface="+mj-lt"/>
              <a:buNone/>
              <a:defRPr sz="3375" b="0">
                <a:solidFill>
                  <a:schemeClr val="bg1"/>
                </a:solidFill>
                <a:latin typeface="+mn-lt"/>
                <a:cs typeface="Arial" panose="020B0604020202020204" pitchFamily="34" charset="0"/>
              </a:defRPr>
            </a:lvl1pPr>
            <a:lvl2pPr marL="205364"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dirty="0"/>
              <a:t>Clique para editar o texto mestre</a:t>
            </a:r>
          </a:p>
        </p:txBody>
      </p:sp>
    </p:spTree>
    <p:extLst>
      <p:ext uri="{BB962C8B-B14F-4D97-AF65-F5344CB8AC3E}">
        <p14:creationId xmlns:p14="http://schemas.microsoft.com/office/powerpoint/2010/main" val="10583676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Final">
    <p:spTree>
      <p:nvGrpSpPr>
        <p:cNvPr id="1" name=""/>
        <p:cNvGrpSpPr/>
        <p:nvPr/>
      </p:nvGrpSpPr>
      <p:grpSpPr>
        <a:xfrm>
          <a:off x="0" y="0"/>
          <a:ext cx="0" cy="0"/>
          <a:chOff x="0" y="0"/>
          <a:chExt cx="0" cy="0"/>
        </a:xfrm>
      </p:grpSpPr>
      <p:pic>
        <p:nvPicPr>
          <p:cNvPr id="6" name="Imagem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3716000" cy="10287000"/>
          </a:xfrm>
          <a:prstGeom prst="rect">
            <a:avLst/>
          </a:prstGeom>
        </p:spPr>
      </p:pic>
      <p:sp>
        <p:nvSpPr>
          <p:cNvPr id="8" name="CaixaDeTexto 7"/>
          <p:cNvSpPr txBox="1"/>
          <p:nvPr userDrawn="1"/>
        </p:nvSpPr>
        <p:spPr>
          <a:xfrm>
            <a:off x="4319718" y="8959925"/>
            <a:ext cx="5076564" cy="323165"/>
          </a:xfrm>
          <a:prstGeom prst="rect">
            <a:avLst/>
          </a:prstGeom>
          <a:noFill/>
        </p:spPr>
        <p:txBody>
          <a:bodyPr wrap="square" rtlCol="0">
            <a:spAutoFit/>
          </a:bodyPr>
          <a:lstStyle/>
          <a:p>
            <a:pPr algn="ctr"/>
            <a:r>
              <a:rPr lang="pt-BR" sz="1500" b="1" dirty="0">
                <a:solidFill>
                  <a:srgbClr val="105B95"/>
                </a:solidFill>
                <a:latin typeface="+mj-lt"/>
              </a:rPr>
              <a:t>TODOS OS DIREITOS RESERVADOS.</a:t>
            </a:r>
          </a:p>
        </p:txBody>
      </p:sp>
      <p:pic>
        <p:nvPicPr>
          <p:cNvPr id="9" name="Imagem 8"/>
          <p:cNvPicPr>
            <a:picLocks noChangeAspect="1"/>
          </p:cNvPicPr>
          <p:nvPr userDrawn="1"/>
        </p:nvPicPr>
        <p:blipFill rotWithShape="1">
          <a:blip r:embed="rId3">
            <a:extLst>
              <a:ext uri="{28A0092B-C50C-407E-A947-70E740481C1C}">
                <a14:useLocalDpi xmlns:a14="http://schemas.microsoft.com/office/drawing/2010/main" val="0"/>
              </a:ext>
            </a:extLst>
          </a:blip>
          <a:srcRect r="41409" b="1149"/>
          <a:stretch/>
        </p:blipFill>
        <p:spPr>
          <a:xfrm>
            <a:off x="5753007" y="4579156"/>
            <a:ext cx="2209987" cy="564344"/>
          </a:xfrm>
          <a:prstGeom prst="rect">
            <a:avLst/>
          </a:prstGeom>
        </p:spPr>
      </p:pic>
    </p:spTree>
    <p:extLst>
      <p:ext uri="{BB962C8B-B14F-4D97-AF65-F5344CB8AC3E}">
        <p14:creationId xmlns:p14="http://schemas.microsoft.com/office/powerpoint/2010/main" val="831401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ítulo 2 linhas - conteúdo">
    <p:spTree>
      <p:nvGrpSpPr>
        <p:cNvPr id="1" name=""/>
        <p:cNvGrpSpPr/>
        <p:nvPr/>
      </p:nvGrpSpPr>
      <p:grpSpPr>
        <a:xfrm>
          <a:off x="0" y="0"/>
          <a:ext cx="0" cy="0"/>
          <a:chOff x="0" y="0"/>
          <a:chExt cx="0" cy="0"/>
        </a:xfrm>
      </p:grpSpPr>
      <p:sp>
        <p:nvSpPr>
          <p:cNvPr id="8" name="Espaço Reservado para Texto 2"/>
          <p:cNvSpPr>
            <a:spLocks noGrp="1"/>
          </p:cNvSpPr>
          <p:nvPr>
            <p:ph type="body" sz="quarter" idx="11" hasCustomPrompt="1"/>
          </p:nvPr>
        </p:nvSpPr>
        <p:spPr>
          <a:xfrm>
            <a:off x="532800" y="324000"/>
            <a:ext cx="9360000" cy="1196400"/>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5" name="Espaço Reservado para Texto 2"/>
          <p:cNvSpPr>
            <a:spLocks noGrp="1"/>
          </p:cNvSpPr>
          <p:nvPr>
            <p:ph type="body" sz="quarter" idx="13"/>
          </p:nvPr>
        </p:nvSpPr>
        <p:spPr>
          <a:xfrm>
            <a:off x="532800" y="2043896"/>
            <a:ext cx="12138171" cy="7708116"/>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1539801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3 linhas - conteúdo">
    <p:spTree>
      <p:nvGrpSpPr>
        <p:cNvPr id="1" name=""/>
        <p:cNvGrpSpPr/>
        <p:nvPr/>
      </p:nvGrpSpPr>
      <p:grpSpPr>
        <a:xfrm>
          <a:off x="0" y="0"/>
          <a:ext cx="0" cy="0"/>
          <a:chOff x="0" y="0"/>
          <a:chExt cx="0" cy="0"/>
        </a:xfrm>
      </p:grpSpPr>
      <p:sp>
        <p:nvSpPr>
          <p:cNvPr id="8" name="Espaço Reservado para Texto 2"/>
          <p:cNvSpPr>
            <a:spLocks noGrp="1"/>
          </p:cNvSpPr>
          <p:nvPr>
            <p:ph type="body" sz="quarter" idx="11" hasCustomPrompt="1"/>
          </p:nvPr>
        </p:nvSpPr>
        <p:spPr>
          <a:xfrm>
            <a:off x="532800" y="324000"/>
            <a:ext cx="9360000" cy="2075052"/>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5" name="Espaço Reservado para Texto 2"/>
          <p:cNvSpPr>
            <a:spLocks noGrp="1"/>
          </p:cNvSpPr>
          <p:nvPr>
            <p:ph type="body" sz="quarter" idx="13"/>
          </p:nvPr>
        </p:nvSpPr>
        <p:spPr>
          <a:xfrm>
            <a:off x="532799" y="2905352"/>
            <a:ext cx="12138172" cy="6846660"/>
          </a:xfrm>
          <a:prstGeom prst="rect">
            <a:avLst/>
          </a:prstGeom>
        </p:spPr>
        <p:txBody>
          <a:bodyPr anchor="t">
            <a:normAutofit/>
          </a:bodyPr>
          <a:lstStyle>
            <a:lvl1pPr marL="305388" indent="-305388" algn="l">
              <a:lnSpc>
                <a:spcPts val="3600"/>
              </a:lnSpc>
              <a:spcBef>
                <a:spcPts val="0"/>
              </a:spcBef>
              <a:spcAft>
                <a:spcPts val="675"/>
              </a:spcAft>
              <a:buClr>
                <a:srgbClr val="69ADE7"/>
              </a:buClr>
              <a:buSzPct val="80000"/>
              <a:buFont typeface="Wingdings" panose="05000000000000000000" pitchFamily="2" charset="2"/>
              <a:buChar char="§"/>
              <a:defRPr sz="3000" b="0">
                <a:solidFill>
                  <a:schemeClr val="tx1"/>
                </a:solidFill>
                <a:latin typeface="+mn-lt"/>
                <a:cs typeface="Arial" panose="020B0604020202020204" pitchFamily="34" charset="0"/>
              </a:defRPr>
            </a:lvl1pPr>
            <a:lvl2pPr marL="608990" indent="-303602" algn="l">
              <a:lnSpc>
                <a:spcPts val="3600"/>
              </a:lnSpc>
              <a:spcBef>
                <a:spcPts val="0"/>
              </a:spcBef>
              <a:spcAft>
                <a:spcPts val="675"/>
              </a:spcAft>
              <a:buClr>
                <a:srgbClr val="69ADE7"/>
              </a:buClr>
              <a:buSzPct val="60000"/>
              <a:buFont typeface="Wingdings" panose="05000000000000000000" pitchFamily="2" charset="2"/>
              <a:buChar char="§"/>
              <a:defRPr sz="30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pPr lvl="0"/>
            <a:r>
              <a:rPr lang="pt-BR"/>
              <a:t>Clique para editar o texto mestre</a:t>
            </a:r>
          </a:p>
          <a:p>
            <a:pPr lvl="1"/>
            <a:r>
              <a:rPr lang="pt-BR"/>
              <a:t>Segundo nível</a:t>
            </a:r>
          </a:p>
        </p:txBody>
      </p:sp>
    </p:spTree>
    <p:extLst>
      <p:ext uri="{BB962C8B-B14F-4D97-AF65-F5344CB8AC3E}">
        <p14:creationId xmlns:p14="http://schemas.microsoft.com/office/powerpoint/2010/main" val="249345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ítulo 1 linha - imagem">
    <p:spTree>
      <p:nvGrpSpPr>
        <p:cNvPr id="1" name=""/>
        <p:cNvGrpSpPr/>
        <p:nvPr/>
      </p:nvGrpSpPr>
      <p:grpSpPr>
        <a:xfrm>
          <a:off x="0" y="0"/>
          <a:ext cx="0" cy="0"/>
          <a:chOff x="0" y="0"/>
          <a:chExt cx="0" cy="0"/>
        </a:xfrm>
      </p:grpSpPr>
      <p:sp>
        <p:nvSpPr>
          <p:cNvPr id="8" name="Espaço Reservado para Imagem 2"/>
          <p:cNvSpPr>
            <a:spLocks noGrp="1"/>
          </p:cNvSpPr>
          <p:nvPr>
            <p:ph type="pic" sz="quarter" idx="14"/>
          </p:nvPr>
        </p:nvSpPr>
        <p:spPr>
          <a:xfrm>
            <a:off x="532799" y="1470968"/>
            <a:ext cx="12138172" cy="8281432"/>
          </a:xfrm>
          <a:prstGeom prst="rect">
            <a:avLst/>
          </a:prstGeom>
        </p:spPr>
        <p:txBody>
          <a:bodyPr/>
          <a:lstStyle/>
          <a:p>
            <a:r>
              <a:rPr lang="pt-BR"/>
              <a:t>Clique no ícone para adicionar uma imagem</a:t>
            </a:r>
            <a:endParaRPr lang="pt-BR" dirty="0"/>
          </a:p>
        </p:txBody>
      </p:sp>
      <p:sp>
        <p:nvSpPr>
          <p:cNvPr id="6" name="Espaço Reservado para Texto 2"/>
          <p:cNvSpPr>
            <a:spLocks noGrp="1"/>
          </p:cNvSpPr>
          <p:nvPr>
            <p:ph type="body" sz="quarter" idx="11" hasCustomPrompt="1"/>
          </p:nvPr>
        </p:nvSpPr>
        <p:spPr>
          <a:xfrm>
            <a:off x="532800" y="324000"/>
            <a:ext cx="9360000" cy="648071"/>
          </a:xfrm>
          <a:prstGeom prst="rect">
            <a:avLst/>
          </a:prstGeom>
        </p:spPr>
        <p:txBody>
          <a:bodyPr anchor="ctr">
            <a:noAutofit/>
          </a:bodyPr>
          <a:lstStyle>
            <a:lvl1pPr marL="0" indent="0" algn="l">
              <a:lnSpc>
                <a:spcPct val="100000"/>
              </a:lnSpc>
              <a:spcBef>
                <a:spcPts val="0"/>
              </a:spcBef>
              <a:buClrTx/>
              <a:buSzPct val="100000"/>
              <a:buFont typeface="+mj-lt"/>
              <a:buNone/>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p:txBody>
      </p:sp>
    </p:spTree>
    <p:extLst>
      <p:ext uri="{BB962C8B-B14F-4D97-AF65-F5344CB8AC3E}">
        <p14:creationId xmlns:p14="http://schemas.microsoft.com/office/powerpoint/2010/main" val="381486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ítulo 2 linhas - imagem">
    <p:spTree>
      <p:nvGrpSpPr>
        <p:cNvPr id="1" name=""/>
        <p:cNvGrpSpPr/>
        <p:nvPr/>
      </p:nvGrpSpPr>
      <p:grpSpPr>
        <a:xfrm>
          <a:off x="0" y="0"/>
          <a:ext cx="0" cy="0"/>
          <a:chOff x="0" y="0"/>
          <a:chExt cx="0" cy="0"/>
        </a:xfrm>
      </p:grpSpPr>
      <p:sp>
        <p:nvSpPr>
          <p:cNvPr id="7" name="Espaço Reservado para Texto 2"/>
          <p:cNvSpPr>
            <a:spLocks noGrp="1"/>
          </p:cNvSpPr>
          <p:nvPr>
            <p:ph type="body" sz="quarter" idx="11" hasCustomPrompt="1"/>
          </p:nvPr>
        </p:nvSpPr>
        <p:spPr>
          <a:xfrm>
            <a:off x="532800" y="324000"/>
            <a:ext cx="9360000" cy="1196400"/>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p:txBody>
      </p:sp>
      <p:sp>
        <p:nvSpPr>
          <p:cNvPr id="5" name="Espaço Reservado para Imagem 2"/>
          <p:cNvSpPr>
            <a:spLocks noGrp="1"/>
          </p:cNvSpPr>
          <p:nvPr>
            <p:ph type="pic" sz="quarter" idx="14"/>
          </p:nvPr>
        </p:nvSpPr>
        <p:spPr>
          <a:xfrm>
            <a:off x="532800" y="2020648"/>
            <a:ext cx="12138171" cy="7731364"/>
          </a:xfrm>
          <a:prstGeom prst="rect">
            <a:avLst/>
          </a:prstGeom>
        </p:spPr>
        <p:txBody>
          <a:bodyPr/>
          <a:lstStyle/>
          <a:p>
            <a:r>
              <a:rPr lang="pt-BR"/>
              <a:t>Clique no ícone para adicionar uma imagem</a:t>
            </a:r>
            <a:endParaRPr lang="pt-BR" dirty="0"/>
          </a:p>
        </p:txBody>
      </p:sp>
    </p:spTree>
    <p:extLst>
      <p:ext uri="{BB962C8B-B14F-4D97-AF65-F5344CB8AC3E}">
        <p14:creationId xmlns:p14="http://schemas.microsoft.com/office/powerpoint/2010/main" val="17063736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ítulo 3 linhas - imagem">
    <p:spTree>
      <p:nvGrpSpPr>
        <p:cNvPr id="1" name=""/>
        <p:cNvGrpSpPr/>
        <p:nvPr/>
      </p:nvGrpSpPr>
      <p:grpSpPr>
        <a:xfrm>
          <a:off x="0" y="0"/>
          <a:ext cx="0" cy="0"/>
          <a:chOff x="0" y="0"/>
          <a:chExt cx="0" cy="0"/>
        </a:xfrm>
      </p:grpSpPr>
      <p:sp>
        <p:nvSpPr>
          <p:cNvPr id="7" name="Espaço Reservado para Texto 2"/>
          <p:cNvSpPr>
            <a:spLocks noGrp="1"/>
          </p:cNvSpPr>
          <p:nvPr>
            <p:ph type="body" sz="quarter" idx="11" hasCustomPrompt="1"/>
          </p:nvPr>
        </p:nvSpPr>
        <p:spPr>
          <a:xfrm>
            <a:off x="532800" y="324000"/>
            <a:ext cx="9360000" cy="2075052"/>
          </a:xfrm>
          <a:prstGeom prst="rect">
            <a:avLst/>
          </a:prstGeom>
        </p:spPr>
        <p:txBody>
          <a:bodyPr anchor="ctr">
            <a:noAutofit/>
          </a:bodyPr>
          <a:lstStyle>
            <a:lvl1pPr marL="0" marR="0" indent="0" algn="l" defTabSz="1028675" rtl="0" eaLnBrk="0" fontAlgn="base" latinLnBrk="0" hangingPunct="0">
              <a:lnSpc>
                <a:spcPct val="100000"/>
              </a:lnSpc>
              <a:spcBef>
                <a:spcPts val="0"/>
              </a:spcBef>
              <a:spcAft>
                <a:spcPct val="0"/>
              </a:spcAft>
              <a:buClrTx/>
              <a:buSzPct val="100000"/>
              <a:buFont typeface="+mj-lt"/>
              <a:buNone/>
              <a:tabLst/>
              <a:defRPr sz="4050" b="1" cap="none" baseline="0">
                <a:solidFill>
                  <a:srgbClr val="69ADE7"/>
                </a:solidFill>
                <a:effectLst/>
                <a:latin typeface="+mj-lt"/>
                <a:cs typeface="Arial" panose="020B0604020202020204" pitchFamily="34" charset="0"/>
              </a:defRPr>
            </a:lvl1pPr>
            <a:lvl2pPr marL="205359" indent="0" algn="just">
              <a:lnSpc>
                <a:spcPts val="2363"/>
              </a:lnSpc>
              <a:spcBef>
                <a:spcPts val="0"/>
              </a:spcBef>
              <a:buClr>
                <a:srgbClr val="7CAEC5"/>
              </a:buClr>
              <a:buFont typeface="Arial" pitchFamily="34" charset="0"/>
              <a:buNone/>
              <a:defRPr sz="1800"/>
            </a:lvl2pPr>
            <a:lvl3pPr>
              <a:lnSpc>
                <a:spcPts val="2587"/>
              </a:lnSpc>
              <a:spcBef>
                <a:spcPts val="0"/>
              </a:spcBef>
              <a:defRPr sz="2024"/>
            </a:lvl3pPr>
            <a:lvl4pPr>
              <a:lnSpc>
                <a:spcPts val="2587"/>
              </a:lnSpc>
              <a:spcBef>
                <a:spcPts val="0"/>
              </a:spcBef>
              <a:defRPr sz="2024"/>
            </a:lvl4pPr>
            <a:lvl5pPr>
              <a:lnSpc>
                <a:spcPts val="2587"/>
              </a:lnSpc>
              <a:spcBef>
                <a:spcPts val="0"/>
              </a:spcBef>
              <a:defRPr sz="2024"/>
            </a:lvl5pPr>
          </a:lstStyle>
          <a:p>
            <a:r>
              <a:rPr lang="pt-BR" dirty="0"/>
              <a:t>&lt;Título do slide&gt;</a:t>
            </a:r>
          </a:p>
          <a:p>
            <a:r>
              <a:rPr lang="pt-BR" dirty="0"/>
              <a:t>&lt;Título do slide&gt;</a:t>
            </a:r>
          </a:p>
          <a:p>
            <a:r>
              <a:rPr lang="pt-BR" dirty="0"/>
              <a:t>&lt;Título do slide&gt;</a:t>
            </a:r>
          </a:p>
        </p:txBody>
      </p:sp>
      <p:sp>
        <p:nvSpPr>
          <p:cNvPr id="5" name="Espaço Reservado para Imagem 2"/>
          <p:cNvSpPr>
            <a:spLocks noGrp="1"/>
          </p:cNvSpPr>
          <p:nvPr>
            <p:ph type="pic" sz="quarter" idx="14"/>
          </p:nvPr>
        </p:nvSpPr>
        <p:spPr>
          <a:xfrm>
            <a:off x="532800" y="2897948"/>
            <a:ext cx="12138171" cy="6854063"/>
          </a:xfrm>
          <a:prstGeom prst="rect">
            <a:avLst/>
          </a:prstGeom>
        </p:spPr>
        <p:txBody>
          <a:bodyPr/>
          <a:lstStyle/>
          <a:p>
            <a:r>
              <a:rPr lang="pt-BR"/>
              <a:t>Clique no ícone para adicionar uma imagem</a:t>
            </a:r>
            <a:endParaRPr lang="pt-BR" dirty="0"/>
          </a:p>
        </p:txBody>
      </p:sp>
    </p:spTree>
    <p:extLst>
      <p:ext uri="{BB962C8B-B14F-4D97-AF65-F5344CB8AC3E}">
        <p14:creationId xmlns:p14="http://schemas.microsoft.com/office/powerpoint/2010/main" val="3235044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5.jp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Imagem 4"/>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4287" y="0"/>
            <a:ext cx="13687425" cy="10287000"/>
          </a:xfrm>
          <a:prstGeom prst="rect">
            <a:avLst/>
          </a:prstGeom>
        </p:spPr>
      </p:pic>
      <p:pic>
        <p:nvPicPr>
          <p:cNvPr id="4" name="Imagem 3">
            <a:extLst>
              <a:ext uri="{FF2B5EF4-FFF2-40B4-BE49-F238E27FC236}">
                <a16:creationId xmlns:a16="http://schemas.microsoft.com/office/drawing/2014/main" id="{DDF081E1-D31E-4FA8-B695-1D2D0AC03E83}"/>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1250488" y="490427"/>
            <a:ext cx="1440160" cy="259762"/>
          </a:xfrm>
          <a:prstGeom prst="rect">
            <a:avLst/>
          </a:prstGeom>
        </p:spPr>
      </p:pic>
    </p:spTree>
  </p:cSld>
  <p:clrMap bg1="lt1" tx1="dk1" bg2="lt2" tx2="dk2" accent1="accent1" accent2="accent2" accent3="accent3" accent4="accent4" accent5="accent5" accent6="accent6" hlink="hlink" folHlink="folHlink"/>
  <p:sldLayoutIdLst>
    <p:sldLayoutId id="2147484355" r:id="rId1"/>
    <p:sldLayoutId id="2147484351" r:id="rId2"/>
    <p:sldLayoutId id="2147484356" r:id="rId3"/>
    <p:sldLayoutId id="2147484315" r:id="rId4"/>
    <p:sldLayoutId id="2147484343" r:id="rId5"/>
    <p:sldLayoutId id="2147484344" r:id="rId6"/>
    <p:sldLayoutId id="2147484339" r:id="rId7"/>
    <p:sldLayoutId id="2147484349" r:id="rId8"/>
    <p:sldLayoutId id="2147484350" r:id="rId9"/>
    <p:sldLayoutId id="2147484340" r:id="rId10"/>
    <p:sldLayoutId id="2147484345" r:id="rId11"/>
    <p:sldLayoutId id="2147484346" r:id="rId12"/>
    <p:sldLayoutId id="2147484357" r:id="rId13"/>
    <p:sldLayoutId id="2147484358" r:id="rId14"/>
    <p:sldLayoutId id="2147484359" r:id="rId15"/>
    <p:sldLayoutId id="2147484360" r:id="rId16"/>
    <p:sldLayoutId id="2147484361" r:id="rId17"/>
    <p:sldLayoutId id="2147484362" r:id="rId18"/>
    <p:sldLayoutId id="2147484364" r:id="rId19"/>
    <p:sldLayoutId id="2147484365" r:id="rId20"/>
    <p:sldLayoutId id="2147484366" r:id="rId21"/>
    <p:sldLayoutId id="2147484367" r:id="rId22"/>
    <p:sldLayoutId id="2147484368" r:id="rId23"/>
    <p:sldLayoutId id="2147484369" r:id="rId24"/>
    <p:sldLayoutId id="2147484370" r:id="rId25"/>
    <p:sldLayoutId id="2147484371" r:id="rId26"/>
    <p:sldLayoutId id="2147484395" r:id="rId27"/>
  </p:sldLayoutIdLst>
  <p:txStyles>
    <p:titleStyle>
      <a:lvl1pPr algn="ctr" rtl="0" eaLnBrk="1" fontAlgn="base" hangingPunct="1">
        <a:spcBef>
          <a:spcPct val="0"/>
        </a:spcBef>
        <a:spcAft>
          <a:spcPct val="0"/>
        </a:spcAft>
        <a:defRPr sz="4951" kern="1200">
          <a:solidFill>
            <a:schemeClr val="tx1"/>
          </a:solidFill>
          <a:latin typeface="+mj-lt"/>
          <a:ea typeface="+mj-ea"/>
          <a:cs typeface="+mj-cs"/>
        </a:defRPr>
      </a:lvl1pPr>
      <a:lvl2pPr algn="ctr" rtl="0" eaLnBrk="1" fontAlgn="base" hangingPunct="1">
        <a:spcBef>
          <a:spcPct val="0"/>
        </a:spcBef>
        <a:spcAft>
          <a:spcPct val="0"/>
        </a:spcAft>
        <a:defRPr sz="4951">
          <a:solidFill>
            <a:schemeClr val="tx1"/>
          </a:solidFill>
          <a:latin typeface="Calibri" pitchFamily="34" charset="0"/>
        </a:defRPr>
      </a:lvl2pPr>
      <a:lvl3pPr algn="ctr" rtl="0" eaLnBrk="1" fontAlgn="base" hangingPunct="1">
        <a:spcBef>
          <a:spcPct val="0"/>
        </a:spcBef>
        <a:spcAft>
          <a:spcPct val="0"/>
        </a:spcAft>
        <a:defRPr sz="4951">
          <a:solidFill>
            <a:schemeClr val="tx1"/>
          </a:solidFill>
          <a:latin typeface="Calibri" pitchFamily="34" charset="0"/>
        </a:defRPr>
      </a:lvl3pPr>
      <a:lvl4pPr algn="ctr" rtl="0" eaLnBrk="1" fontAlgn="base" hangingPunct="1">
        <a:spcBef>
          <a:spcPct val="0"/>
        </a:spcBef>
        <a:spcAft>
          <a:spcPct val="0"/>
        </a:spcAft>
        <a:defRPr sz="4951">
          <a:solidFill>
            <a:schemeClr val="tx1"/>
          </a:solidFill>
          <a:latin typeface="Calibri" pitchFamily="34" charset="0"/>
        </a:defRPr>
      </a:lvl4pPr>
      <a:lvl5pPr algn="ctr" rtl="0" eaLnBrk="1" fontAlgn="base" hangingPunct="1">
        <a:spcBef>
          <a:spcPct val="0"/>
        </a:spcBef>
        <a:spcAft>
          <a:spcPct val="0"/>
        </a:spcAft>
        <a:defRPr sz="4951">
          <a:solidFill>
            <a:schemeClr val="tx1"/>
          </a:solidFill>
          <a:latin typeface="Calibri" pitchFamily="34" charset="0"/>
        </a:defRPr>
      </a:lvl5pPr>
      <a:lvl6pPr marL="514287" algn="ctr" rtl="0" eaLnBrk="1" fontAlgn="base" hangingPunct="1">
        <a:spcBef>
          <a:spcPct val="0"/>
        </a:spcBef>
        <a:spcAft>
          <a:spcPct val="0"/>
        </a:spcAft>
        <a:defRPr sz="4951">
          <a:solidFill>
            <a:schemeClr val="tx1"/>
          </a:solidFill>
          <a:latin typeface="Calibri" pitchFamily="34" charset="0"/>
        </a:defRPr>
      </a:lvl6pPr>
      <a:lvl7pPr marL="1028573" algn="ctr" rtl="0" eaLnBrk="1" fontAlgn="base" hangingPunct="1">
        <a:spcBef>
          <a:spcPct val="0"/>
        </a:spcBef>
        <a:spcAft>
          <a:spcPct val="0"/>
        </a:spcAft>
        <a:defRPr sz="4951">
          <a:solidFill>
            <a:schemeClr val="tx1"/>
          </a:solidFill>
          <a:latin typeface="Calibri" pitchFamily="34" charset="0"/>
        </a:defRPr>
      </a:lvl7pPr>
      <a:lvl8pPr marL="1542859" algn="ctr" rtl="0" eaLnBrk="1" fontAlgn="base" hangingPunct="1">
        <a:spcBef>
          <a:spcPct val="0"/>
        </a:spcBef>
        <a:spcAft>
          <a:spcPct val="0"/>
        </a:spcAft>
        <a:defRPr sz="4951">
          <a:solidFill>
            <a:schemeClr val="tx1"/>
          </a:solidFill>
          <a:latin typeface="Calibri" pitchFamily="34" charset="0"/>
        </a:defRPr>
      </a:lvl8pPr>
      <a:lvl9pPr marL="2057144" algn="ctr" rtl="0" eaLnBrk="1" fontAlgn="base" hangingPunct="1">
        <a:spcBef>
          <a:spcPct val="0"/>
        </a:spcBef>
        <a:spcAft>
          <a:spcPct val="0"/>
        </a:spcAft>
        <a:defRPr sz="4951">
          <a:solidFill>
            <a:schemeClr val="tx1"/>
          </a:solidFill>
          <a:latin typeface="Calibri" pitchFamily="34" charset="0"/>
        </a:defRPr>
      </a:lvl9pPr>
    </p:titleStyle>
    <p:bodyStyle>
      <a:lvl1pPr marL="385715" indent="-385715" algn="l" rtl="0" eaLnBrk="1" fontAlgn="base" hangingPunct="1">
        <a:spcBef>
          <a:spcPct val="20000"/>
        </a:spcBef>
        <a:spcAft>
          <a:spcPct val="0"/>
        </a:spcAft>
        <a:buFont typeface="Arial" panose="020B0604020202020204" pitchFamily="34" charset="0"/>
        <a:buChar char="•"/>
        <a:defRPr sz="3600" kern="1200">
          <a:solidFill>
            <a:schemeClr val="tx1"/>
          </a:solidFill>
          <a:latin typeface="+mn-lt"/>
          <a:ea typeface="+mn-ea"/>
          <a:cs typeface="+mn-cs"/>
        </a:defRPr>
      </a:lvl1pPr>
      <a:lvl2pPr marL="835715" indent="-321429" algn="l"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2pPr>
      <a:lvl3pPr marL="1285716" indent="-257144" algn="l" rtl="0" eaLnBrk="1" fontAlgn="base" hangingPunct="1">
        <a:spcBef>
          <a:spcPct val="20000"/>
        </a:spcBef>
        <a:spcAft>
          <a:spcPct val="0"/>
        </a:spcAft>
        <a:buFont typeface="Arial" panose="020B0604020202020204" pitchFamily="34" charset="0"/>
        <a:buChar char="•"/>
        <a:defRPr sz="2700" kern="1200">
          <a:solidFill>
            <a:schemeClr val="tx1"/>
          </a:solidFill>
          <a:latin typeface="+mn-lt"/>
          <a:ea typeface="+mn-ea"/>
          <a:cs typeface="+mn-cs"/>
        </a:defRPr>
      </a:lvl3pPr>
      <a:lvl4pPr marL="1800000"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4pPr>
      <a:lvl5pPr marL="2314289"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5pPr>
      <a:lvl6pPr marL="2828574"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6pPr>
      <a:lvl7pPr marL="3342860"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7pPr>
      <a:lvl8pPr marL="3857147"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8pPr>
      <a:lvl9pPr marL="4371432"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9pPr>
    </p:bodyStyle>
    <p:otherStyle>
      <a:defPPr>
        <a:defRPr lang="pt-BR"/>
      </a:defPPr>
      <a:lvl1pPr marL="0" algn="l" defTabSz="1028573" rtl="0" eaLnBrk="1" latinLnBrk="0" hangingPunct="1">
        <a:defRPr sz="2024" kern="1200">
          <a:solidFill>
            <a:schemeClr val="tx1"/>
          </a:solidFill>
          <a:latin typeface="+mn-lt"/>
          <a:ea typeface="+mn-ea"/>
          <a:cs typeface="+mn-cs"/>
        </a:defRPr>
      </a:lvl1pPr>
      <a:lvl2pPr marL="514287" algn="l" defTabSz="1028573" rtl="0" eaLnBrk="1" latinLnBrk="0" hangingPunct="1">
        <a:defRPr sz="2024" kern="1200">
          <a:solidFill>
            <a:schemeClr val="tx1"/>
          </a:solidFill>
          <a:latin typeface="+mn-lt"/>
          <a:ea typeface="+mn-ea"/>
          <a:cs typeface="+mn-cs"/>
        </a:defRPr>
      </a:lvl2pPr>
      <a:lvl3pPr marL="1028573" algn="l" defTabSz="1028573" rtl="0" eaLnBrk="1" latinLnBrk="0" hangingPunct="1">
        <a:defRPr sz="2024" kern="1200">
          <a:solidFill>
            <a:schemeClr val="tx1"/>
          </a:solidFill>
          <a:latin typeface="+mn-lt"/>
          <a:ea typeface="+mn-ea"/>
          <a:cs typeface="+mn-cs"/>
        </a:defRPr>
      </a:lvl3pPr>
      <a:lvl4pPr marL="1542859" algn="l" defTabSz="1028573" rtl="0" eaLnBrk="1" latinLnBrk="0" hangingPunct="1">
        <a:defRPr sz="2024" kern="1200">
          <a:solidFill>
            <a:schemeClr val="tx1"/>
          </a:solidFill>
          <a:latin typeface="+mn-lt"/>
          <a:ea typeface="+mn-ea"/>
          <a:cs typeface="+mn-cs"/>
        </a:defRPr>
      </a:lvl4pPr>
      <a:lvl5pPr marL="2057144" algn="l" defTabSz="1028573" rtl="0" eaLnBrk="1" latinLnBrk="0" hangingPunct="1">
        <a:defRPr sz="2024" kern="1200">
          <a:solidFill>
            <a:schemeClr val="tx1"/>
          </a:solidFill>
          <a:latin typeface="+mn-lt"/>
          <a:ea typeface="+mn-ea"/>
          <a:cs typeface="+mn-cs"/>
        </a:defRPr>
      </a:lvl5pPr>
      <a:lvl6pPr marL="2571431" algn="l" defTabSz="1028573" rtl="0" eaLnBrk="1" latinLnBrk="0" hangingPunct="1">
        <a:defRPr sz="2024" kern="1200">
          <a:solidFill>
            <a:schemeClr val="tx1"/>
          </a:solidFill>
          <a:latin typeface="+mn-lt"/>
          <a:ea typeface="+mn-ea"/>
          <a:cs typeface="+mn-cs"/>
        </a:defRPr>
      </a:lvl6pPr>
      <a:lvl7pPr marL="3085719" algn="l" defTabSz="1028573" rtl="0" eaLnBrk="1" latinLnBrk="0" hangingPunct="1">
        <a:defRPr sz="2024" kern="1200">
          <a:solidFill>
            <a:schemeClr val="tx1"/>
          </a:solidFill>
          <a:latin typeface="+mn-lt"/>
          <a:ea typeface="+mn-ea"/>
          <a:cs typeface="+mn-cs"/>
        </a:defRPr>
      </a:lvl7pPr>
      <a:lvl8pPr marL="3600002" algn="l" defTabSz="1028573" rtl="0" eaLnBrk="1" latinLnBrk="0" hangingPunct="1">
        <a:defRPr sz="2024" kern="1200">
          <a:solidFill>
            <a:schemeClr val="tx1"/>
          </a:solidFill>
          <a:latin typeface="+mn-lt"/>
          <a:ea typeface="+mn-ea"/>
          <a:cs typeface="+mn-cs"/>
        </a:defRPr>
      </a:lvl8pPr>
      <a:lvl9pPr marL="4114289" algn="l" defTabSz="1028573" rtl="0" eaLnBrk="1" latinLnBrk="0" hangingPunct="1">
        <a:defRPr sz="20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07" userDrawn="1">
          <p15:clr>
            <a:srgbClr val="F26B43"/>
          </p15:clr>
        </p15:guide>
        <p15:guide id="2" pos="43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58" y="643"/>
            <a:ext cx="13714285" cy="10285714"/>
          </a:xfrm>
          <a:prstGeom prst="rect">
            <a:avLst/>
          </a:prstGeom>
        </p:spPr>
      </p:pic>
    </p:spTree>
    <p:extLst>
      <p:ext uri="{BB962C8B-B14F-4D97-AF65-F5344CB8AC3E}">
        <p14:creationId xmlns:p14="http://schemas.microsoft.com/office/powerpoint/2010/main" val="3599985080"/>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Lst>
  <p:txStyles>
    <p:titleStyle>
      <a:lvl1pPr algn="ctr" rtl="0" eaLnBrk="0" fontAlgn="base" hangingPunct="0">
        <a:spcBef>
          <a:spcPct val="0"/>
        </a:spcBef>
        <a:spcAft>
          <a:spcPct val="0"/>
        </a:spcAft>
        <a:defRPr sz="4951" kern="1200">
          <a:solidFill>
            <a:schemeClr val="tx1"/>
          </a:solidFill>
          <a:latin typeface="+mj-lt"/>
          <a:ea typeface="+mj-ea"/>
          <a:cs typeface="+mj-cs"/>
        </a:defRPr>
      </a:lvl1pPr>
      <a:lvl2pPr algn="ctr" rtl="0" eaLnBrk="0" fontAlgn="base" hangingPunct="0">
        <a:spcBef>
          <a:spcPct val="0"/>
        </a:spcBef>
        <a:spcAft>
          <a:spcPct val="0"/>
        </a:spcAft>
        <a:defRPr sz="4951">
          <a:solidFill>
            <a:schemeClr val="tx1"/>
          </a:solidFill>
          <a:latin typeface="Calibri" pitchFamily="34" charset="0"/>
        </a:defRPr>
      </a:lvl2pPr>
      <a:lvl3pPr algn="ctr" rtl="0" eaLnBrk="0" fontAlgn="base" hangingPunct="0">
        <a:spcBef>
          <a:spcPct val="0"/>
        </a:spcBef>
        <a:spcAft>
          <a:spcPct val="0"/>
        </a:spcAft>
        <a:defRPr sz="4951">
          <a:solidFill>
            <a:schemeClr val="tx1"/>
          </a:solidFill>
          <a:latin typeface="Calibri" pitchFamily="34" charset="0"/>
        </a:defRPr>
      </a:lvl3pPr>
      <a:lvl4pPr algn="ctr" rtl="0" eaLnBrk="0" fontAlgn="base" hangingPunct="0">
        <a:spcBef>
          <a:spcPct val="0"/>
        </a:spcBef>
        <a:spcAft>
          <a:spcPct val="0"/>
        </a:spcAft>
        <a:defRPr sz="4951">
          <a:solidFill>
            <a:schemeClr val="tx1"/>
          </a:solidFill>
          <a:latin typeface="Calibri" pitchFamily="34" charset="0"/>
        </a:defRPr>
      </a:lvl4pPr>
      <a:lvl5pPr algn="ctr" rtl="0" eaLnBrk="0" fontAlgn="base" hangingPunct="0">
        <a:spcBef>
          <a:spcPct val="0"/>
        </a:spcBef>
        <a:spcAft>
          <a:spcPct val="0"/>
        </a:spcAft>
        <a:defRPr sz="4951">
          <a:solidFill>
            <a:schemeClr val="tx1"/>
          </a:solidFill>
          <a:latin typeface="Calibri" pitchFamily="34" charset="0"/>
        </a:defRPr>
      </a:lvl5pPr>
      <a:lvl6pPr marL="514300" algn="ctr" rtl="0" fontAlgn="base">
        <a:spcBef>
          <a:spcPct val="0"/>
        </a:spcBef>
        <a:spcAft>
          <a:spcPct val="0"/>
        </a:spcAft>
        <a:defRPr sz="4951">
          <a:solidFill>
            <a:schemeClr val="tx1"/>
          </a:solidFill>
          <a:latin typeface="Calibri" pitchFamily="34" charset="0"/>
        </a:defRPr>
      </a:lvl6pPr>
      <a:lvl7pPr marL="1028598" algn="ctr" rtl="0" fontAlgn="base">
        <a:spcBef>
          <a:spcPct val="0"/>
        </a:spcBef>
        <a:spcAft>
          <a:spcPct val="0"/>
        </a:spcAft>
        <a:defRPr sz="4951">
          <a:solidFill>
            <a:schemeClr val="tx1"/>
          </a:solidFill>
          <a:latin typeface="Calibri" pitchFamily="34" charset="0"/>
        </a:defRPr>
      </a:lvl7pPr>
      <a:lvl8pPr marL="1542897" algn="ctr" rtl="0" fontAlgn="base">
        <a:spcBef>
          <a:spcPct val="0"/>
        </a:spcBef>
        <a:spcAft>
          <a:spcPct val="0"/>
        </a:spcAft>
        <a:defRPr sz="4951">
          <a:solidFill>
            <a:schemeClr val="tx1"/>
          </a:solidFill>
          <a:latin typeface="Calibri" pitchFamily="34" charset="0"/>
        </a:defRPr>
      </a:lvl8pPr>
      <a:lvl9pPr marL="2057195" algn="ctr" rtl="0" fontAlgn="base">
        <a:spcBef>
          <a:spcPct val="0"/>
        </a:spcBef>
        <a:spcAft>
          <a:spcPct val="0"/>
        </a:spcAft>
        <a:defRPr sz="4951">
          <a:solidFill>
            <a:schemeClr val="tx1"/>
          </a:solidFill>
          <a:latin typeface="Calibri" pitchFamily="34" charset="0"/>
        </a:defRPr>
      </a:lvl9pPr>
    </p:titleStyle>
    <p:bodyStyle>
      <a:lvl1pPr marL="385724" indent="-385724" algn="l" rtl="0" eaLnBrk="0" fontAlgn="base" hangingPunct="0">
        <a:spcBef>
          <a:spcPct val="20000"/>
        </a:spcBef>
        <a:spcAft>
          <a:spcPct val="0"/>
        </a:spcAft>
        <a:buFont typeface="Arial" panose="020B0604020202020204" pitchFamily="34" charset="0"/>
        <a:buChar char="•"/>
        <a:defRPr sz="3600" kern="1200">
          <a:solidFill>
            <a:schemeClr val="tx1"/>
          </a:solidFill>
          <a:latin typeface="+mn-lt"/>
          <a:ea typeface="+mn-ea"/>
          <a:cs typeface="+mn-cs"/>
        </a:defRPr>
      </a:lvl1pPr>
      <a:lvl2pPr marL="835736" indent="-321437" algn="l" rtl="0" eaLnBrk="0" fontAlgn="base" hangingPunct="0">
        <a:spcBef>
          <a:spcPct val="20000"/>
        </a:spcBef>
        <a:spcAft>
          <a:spcPct val="0"/>
        </a:spcAft>
        <a:buFont typeface="Arial" panose="020B0604020202020204" pitchFamily="34" charset="0"/>
        <a:buChar char="–"/>
        <a:defRPr sz="3150" kern="1200">
          <a:solidFill>
            <a:schemeClr val="tx1"/>
          </a:solidFill>
          <a:latin typeface="+mn-lt"/>
          <a:ea typeface="+mn-ea"/>
          <a:cs typeface="+mn-cs"/>
        </a:defRPr>
      </a:lvl2pPr>
      <a:lvl3pPr marL="1285748" indent="-257150" algn="l" rtl="0" eaLnBrk="0" fontAlgn="base" hangingPunct="0">
        <a:spcBef>
          <a:spcPct val="20000"/>
        </a:spcBef>
        <a:spcAft>
          <a:spcPct val="0"/>
        </a:spcAft>
        <a:buFont typeface="Arial" panose="020B0604020202020204" pitchFamily="34" charset="0"/>
        <a:buChar char="•"/>
        <a:defRPr sz="2700" kern="1200">
          <a:solidFill>
            <a:schemeClr val="tx1"/>
          </a:solidFill>
          <a:latin typeface="+mn-lt"/>
          <a:ea typeface="+mn-ea"/>
          <a:cs typeface="+mn-cs"/>
        </a:defRPr>
      </a:lvl3pPr>
      <a:lvl4pPr marL="1800045" indent="-257150" algn="l" rtl="0" eaLnBrk="0" fontAlgn="base" hangingPunct="0">
        <a:spcBef>
          <a:spcPct val="20000"/>
        </a:spcBef>
        <a:spcAft>
          <a:spcPct val="0"/>
        </a:spcAft>
        <a:buFont typeface="Arial" panose="020B0604020202020204" pitchFamily="34" charset="0"/>
        <a:buChar char="–"/>
        <a:defRPr sz="2249" kern="1200">
          <a:solidFill>
            <a:schemeClr val="tx1"/>
          </a:solidFill>
          <a:latin typeface="+mn-lt"/>
          <a:ea typeface="+mn-ea"/>
          <a:cs typeface="+mn-cs"/>
        </a:defRPr>
      </a:lvl4pPr>
      <a:lvl5pPr marL="2314346" indent="-257150" algn="l" rtl="0" eaLnBrk="0" fontAlgn="base" hangingPunct="0">
        <a:spcBef>
          <a:spcPct val="20000"/>
        </a:spcBef>
        <a:spcAft>
          <a:spcPct val="0"/>
        </a:spcAft>
        <a:buFont typeface="Arial" panose="020B0604020202020204" pitchFamily="34" charset="0"/>
        <a:buChar char="»"/>
        <a:defRPr sz="2249" kern="1200">
          <a:solidFill>
            <a:schemeClr val="tx1"/>
          </a:solidFill>
          <a:latin typeface="+mn-lt"/>
          <a:ea typeface="+mn-ea"/>
          <a:cs typeface="+mn-cs"/>
        </a:defRPr>
      </a:lvl5pPr>
      <a:lvl6pPr marL="2828645" indent="-257150" algn="l" defTabSz="1028598" rtl="0" eaLnBrk="1" latinLnBrk="0" hangingPunct="1">
        <a:spcBef>
          <a:spcPct val="20000"/>
        </a:spcBef>
        <a:buFont typeface="Arial" pitchFamily="34" charset="0"/>
        <a:buChar char="•"/>
        <a:defRPr sz="2249" kern="1200">
          <a:solidFill>
            <a:schemeClr val="tx1"/>
          </a:solidFill>
          <a:latin typeface="+mn-lt"/>
          <a:ea typeface="+mn-ea"/>
          <a:cs typeface="+mn-cs"/>
        </a:defRPr>
      </a:lvl6pPr>
      <a:lvl7pPr marL="3342944" indent="-257150" algn="l" defTabSz="1028598" rtl="0" eaLnBrk="1" latinLnBrk="0" hangingPunct="1">
        <a:spcBef>
          <a:spcPct val="20000"/>
        </a:spcBef>
        <a:buFont typeface="Arial" pitchFamily="34" charset="0"/>
        <a:buChar char="•"/>
        <a:defRPr sz="2249" kern="1200">
          <a:solidFill>
            <a:schemeClr val="tx1"/>
          </a:solidFill>
          <a:latin typeface="+mn-lt"/>
          <a:ea typeface="+mn-ea"/>
          <a:cs typeface="+mn-cs"/>
        </a:defRPr>
      </a:lvl7pPr>
      <a:lvl8pPr marL="3857244" indent="-257150" algn="l" defTabSz="1028598" rtl="0" eaLnBrk="1" latinLnBrk="0" hangingPunct="1">
        <a:spcBef>
          <a:spcPct val="20000"/>
        </a:spcBef>
        <a:buFont typeface="Arial" pitchFamily="34" charset="0"/>
        <a:buChar char="•"/>
        <a:defRPr sz="2249" kern="1200">
          <a:solidFill>
            <a:schemeClr val="tx1"/>
          </a:solidFill>
          <a:latin typeface="+mn-lt"/>
          <a:ea typeface="+mn-ea"/>
          <a:cs typeface="+mn-cs"/>
        </a:defRPr>
      </a:lvl8pPr>
      <a:lvl9pPr marL="4371541" indent="-257150" algn="l" defTabSz="1028598" rtl="0" eaLnBrk="1" latinLnBrk="0" hangingPunct="1">
        <a:spcBef>
          <a:spcPct val="20000"/>
        </a:spcBef>
        <a:buFont typeface="Arial" pitchFamily="34" charset="0"/>
        <a:buChar char="•"/>
        <a:defRPr sz="2249" kern="1200">
          <a:solidFill>
            <a:schemeClr val="tx1"/>
          </a:solidFill>
          <a:latin typeface="+mn-lt"/>
          <a:ea typeface="+mn-ea"/>
          <a:cs typeface="+mn-cs"/>
        </a:defRPr>
      </a:lvl9pPr>
    </p:bodyStyle>
    <p:otherStyle>
      <a:defPPr>
        <a:defRPr lang="pt-BR"/>
      </a:defPPr>
      <a:lvl1pPr marL="0" algn="l" defTabSz="1028598" rtl="0" eaLnBrk="1" latinLnBrk="0" hangingPunct="1">
        <a:defRPr sz="2024" kern="1200">
          <a:solidFill>
            <a:schemeClr val="tx1"/>
          </a:solidFill>
          <a:latin typeface="+mn-lt"/>
          <a:ea typeface="+mn-ea"/>
          <a:cs typeface="+mn-cs"/>
        </a:defRPr>
      </a:lvl1pPr>
      <a:lvl2pPr marL="514300" algn="l" defTabSz="1028598" rtl="0" eaLnBrk="1" latinLnBrk="0" hangingPunct="1">
        <a:defRPr sz="2024" kern="1200">
          <a:solidFill>
            <a:schemeClr val="tx1"/>
          </a:solidFill>
          <a:latin typeface="+mn-lt"/>
          <a:ea typeface="+mn-ea"/>
          <a:cs typeface="+mn-cs"/>
        </a:defRPr>
      </a:lvl2pPr>
      <a:lvl3pPr marL="1028598" algn="l" defTabSz="1028598" rtl="0" eaLnBrk="1" latinLnBrk="0" hangingPunct="1">
        <a:defRPr sz="2024" kern="1200">
          <a:solidFill>
            <a:schemeClr val="tx1"/>
          </a:solidFill>
          <a:latin typeface="+mn-lt"/>
          <a:ea typeface="+mn-ea"/>
          <a:cs typeface="+mn-cs"/>
        </a:defRPr>
      </a:lvl3pPr>
      <a:lvl4pPr marL="1542897" algn="l" defTabSz="1028598" rtl="0" eaLnBrk="1" latinLnBrk="0" hangingPunct="1">
        <a:defRPr sz="2024" kern="1200">
          <a:solidFill>
            <a:schemeClr val="tx1"/>
          </a:solidFill>
          <a:latin typeface="+mn-lt"/>
          <a:ea typeface="+mn-ea"/>
          <a:cs typeface="+mn-cs"/>
        </a:defRPr>
      </a:lvl4pPr>
      <a:lvl5pPr marL="2057195" algn="l" defTabSz="1028598" rtl="0" eaLnBrk="1" latinLnBrk="0" hangingPunct="1">
        <a:defRPr sz="2024" kern="1200">
          <a:solidFill>
            <a:schemeClr val="tx1"/>
          </a:solidFill>
          <a:latin typeface="+mn-lt"/>
          <a:ea typeface="+mn-ea"/>
          <a:cs typeface="+mn-cs"/>
        </a:defRPr>
      </a:lvl5pPr>
      <a:lvl6pPr marL="2571495" algn="l" defTabSz="1028598" rtl="0" eaLnBrk="1" latinLnBrk="0" hangingPunct="1">
        <a:defRPr sz="2024" kern="1200">
          <a:solidFill>
            <a:schemeClr val="tx1"/>
          </a:solidFill>
          <a:latin typeface="+mn-lt"/>
          <a:ea typeface="+mn-ea"/>
          <a:cs typeface="+mn-cs"/>
        </a:defRPr>
      </a:lvl6pPr>
      <a:lvl7pPr marL="3085796" algn="l" defTabSz="1028598" rtl="0" eaLnBrk="1" latinLnBrk="0" hangingPunct="1">
        <a:defRPr sz="2024" kern="1200">
          <a:solidFill>
            <a:schemeClr val="tx1"/>
          </a:solidFill>
          <a:latin typeface="+mn-lt"/>
          <a:ea typeface="+mn-ea"/>
          <a:cs typeface="+mn-cs"/>
        </a:defRPr>
      </a:lvl7pPr>
      <a:lvl8pPr marL="3600092" algn="l" defTabSz="1028598" rtl="0" eaLnBrk="1" latinLnBrk="0" hangingPunct="1">
        <a:defRPr sz="2024" kern="1200">
          <a:solidFill>
            <a:schemeClr val="tx1"/>
          </a:solidFill>
          <a:latin typeface="+mn-lt"/>
          <a:ea typeface="+mn-ea"/>
          <a:cs typeface="+mn-cs"/>
        </a:defRPr>
      </a:lvl8pPr>
      <a:lvl9pPr marL="4114391" algn="l" defTabSz="1028598" rtl="0" eaLnBrk="1" latinLnBrk="0" hangingPunct="1">
        <a:defRPr sz="20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07">
          <p15:clr>
            <a:srgbClr val="F26B43"/>
          </p15:clr>
        </p15:guide>
        <p15:guide id="2" pos="57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0.xml"/><Relationship Id="rId1" Type="http://schemas.openxmlformats.org/officeDocument/2006/relationships/tags" Target="../tags/tag7.xml"/></Relationships>
</file>

<file path=ppt/slides/_rels/slide100.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slideLayout" Target="../slideLayouts/slideLayout19.xml"/><Relationship Id="rId1" Type="http://schemas.openxmlformats.org/officeDocument/2006/relationships/tags" Target="../tags/tag209.xml"/><Relationship Id="rId4" Type="http://schemas.openxmlformats.org/officeDocument/2006/relationships/image" Target="../media/image211.jpe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9.xml"/><Relationship Id="rId1" Type="http://schemas.openxmlformats.org/officeDocument/2006/relationships/tags" Target="../tags/tag210.xml"/><Relationship Id="rId4" Type="http://schemas.openxmlformats.org/officeDocument/2006/relationships/image" Target="../media/image212.jpeg"/></Relationships>
</file>

<file path=ppt/slides/_rels/slide10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slideLayout" Target="../slideLayouts/slideLayout20.xml"/><Relationship Id="rId1" Type="http://schemas.openxmlformats.org/officeDocument/2006/relationships/tags" Target="../tags/tag211.xml"/><Relationship Id="rId4" Type="http://schemas.openxmlformats.org/officeDocument/2006/relationships/image" Target="../media/image214.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4.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slideLayout" Target="../slideLayouts/slideLayout20.xml"/><Relationship Id="rId1" Type="http://schemas.openxmlformats.org/officeDocument/2006/relationships/tags" Target="../tags/tag21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9.xml"/><Relationship Id="rId1" Type="http://schemas.openxmlformats.org/officeDocument/2006/relationships/tags" Target="../tags/tag213.xml"/><Relationship Id="rId4" Type="http://schemas.openxmlformats.org/officeDocument/2006/relationships/image" Target="../media/image216.png"/></Relationships>
</file>

<file path=ppt/slides/_rels/slide106.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slideLayout" Target="../slideLayouts/slideLayout20.xml"/><Relationship Id="rId1" Type="http://schemas.openxmlformats.org/officeDocument/2006/relationships/tags" Target="../tags/tag214.xml"/><Relationship Id="rId4" Type="http://schemas.openxmlformats.org/officeDocument/2006/relationships/image" Target="../media/image218.png"/></Relationships>
</file>

<file path=ppt/slides/_rels/slide107.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slideLayout" Target="../slideLayouts/slideLayout20.xml"/><Relationship Id="rId1" Type="http://schemas.openxmlformats.org/officeDocument/2006/relationships/tags" Target="../tags/tag215.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22.png"/><Relationship Id="rId2" Type="http://schemas.openxmlformats.org/officeDocument/2006/relationships/slideLayout" Target="../slideLayouts/slideLayout20.xml"/><Relationship Id="rId1" Type="http://schemas.openxmlformats.org/officeDocument/2006/relationships/tags" Target="../tags/tag216.xml"/><Relationship Id="rId6" Type="http://schemas.openxmlformats.org/officeDocument/2006/relationships/image" Target="../media/image221.png"/><Relationship Id="rId5" Type="http://schemas.openxmlformats.org/officeDocument/2006/relationships/oleObject" Target="../embeddings/oleObject4.bin"/><Relationship Id="rId4" Type="http://schemas.openxmlformats.org/officeDocument/2006/relationships/image" Target="../media/image220.png"/></Relationships>
</file>

<file path=ppt/slides/_rels/slide109.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slideLayout" Target="../slideLayouts/slideLayout20.xml"/><Relationship Id="rId1" Type="http://schemas.openxmlformats.org/officeDocument/2006/relationships/tags" Target="../tags/tag21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0.xml"/><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slideLayout" Target="../slideLayouts/slideLayout20.xml"/><Relationship Id="rId1" Type="http://schemas.openxmlformats.org/officeDocument/2006/relationships/tags" Target="../tags/tag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0.xml"/><Relationship Id="rId1" Type="http://schemas.openxmlformats.org/officeDocument/2006/relationships/tags" Target="../tags/tag10.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9.xml"/><Relationship Id="rId1" Type="http://schemas.openxmlformats.org/officeDocument/2006/relationships/tags" Target="../tags/tag11.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0.xml"/><Relationship Id="rId1" Type="http://schemas.openxmlformats.org/officeDocument/2006/relationships/tags" Target="../tags/tag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14.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15.xml"/></Relationships>
</file>

<file path=ppt/slides/_rels/slide19.xml.rels><?xml version="1.0" encoding="UTF-8" standalone="yes"?>
<Relationships xmlns="http://schemas.openxmlformats.org/package/2006/relationships"><Relationship Id="rId3" Type="http://schemas.openxmlformats.org/officeDocument/2006/relationships/image" Target="../media/image31.wmf"/><Relationship Id="rId7" Type="http://schemas.openxmlformats.org/officeDocument/2006/relationships/image" Target="../media/image34.png"/><Relationship Id="rId2" Type="http://schemas.openxmlformats.org/officeDocument/2006/relationships/slideLayout" Target="../slideLayouts/slideLayout20.xml"/><Relationship Id="rId1" Type="http://schemas.openxmlformats.org/officeDocument/2006/relationships/tags" Target="../tags/tag16.xml"/><Relationship Id="rId6" Type="http://schemas.openxmlformats.org/officeDocument/2006/relationships/oleObject" Target="../embeddings/oleObject2.bin"/><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9.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0.xml"/><Relationship Id="rId1" Type="http://schemas.openxmlformats.org/officeDocument/2006/relationships/tags" Target="../tags/tag17.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slideLayout" Target="../slideLayouts/slideLayout19.xml"/><Relationship Id="rId1" Type="http://schemas.openxmlformats.org/officeDocument/2006/relationships/tags" Target="../tags/tag18.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20.xml"/><Relationship Id="rId1" Type="http://schemas.openxmlformats.org/officeDocument/2006/relationships/tags" Target="../tags/tag20.xml"/></Relationships>
</file>

<file path=ppt/slides/_rels/slide24.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slideLayout" Target="../slideLayouts/slideLayout20.xml"/><Relationship Id="rId1" Type="http://schemas.openxmlformats.org/officeDocument/2006/relationships/tags" Target="../tags/tag21.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20.xml"/><Relationship Id="rId1" Type="http://schemas.openxmlformats.org/officeDocument/2006/relationships/tags" Target="../tags/tag22.xml"/></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Layout" Target="../slideLayouts/slideLayout20.xml"/><Relationship Id="rId1" Type="http://schemas.openxmlformats.org/officeDocument/2006/relationships/tags" Target="../tags/tag23.xml"/></Relationships>
</file>

<file path=ppt/slides/_rels/slide2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Layout" Target="../slideLayouts/slideLayout20.xml"/><Relationship Id="rId1" Type="http://schemas.openxmlformats.org/officeDocument/2006/relationships/tags" Target="../tags/tag2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25.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0.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27.xml"/></Relationships>
</file>

<file path=ppt/slides/_rels/slide3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Layout" Target="../slideLayouts/slideLayout20.xml"/><Relationship Id="rId1" Type="http://schemas.openxmlformats.org/officeDocument/2006/relationships/tags" Target="../tags/tag28.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19.xml"/><Relationship Id="rId1" Type="http://schemas.openxmlformats.org/officeDocument/2006/relationships/tags" Target="../tags/tag29.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30.xml"/></Relationships>
</file>

<file path=ppt/slides/_rels/slide34.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slideLayout" Target="../slideLayouts/slideLayout20.xml"/><Relationship Id="rId1" Type="http://schemas.openxmlformats.org/officeDocument/2006/relationships/tags" Target="../tags/tag31.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20.xml"/><Relationship Id="rId1" Type="http://schemas.openxmlformats.org/officeDocument/2006/relationships/tags" Target="../tags/tag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20.xml"/><Relationship Id="rId1" Type="http://schemas.openxmlformats.org/officeDocument/2006/relationships/tags" Target="../tags/tag3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9.xml"/><Relationship Id="rId1" Type="http://schemas.openxmlformats.org/officeDocument/2006/relationships/tags" Target="../tags/tag34.xml"/><Relationship Id="rId4" Type="http://schemas.openxmlformats.org/officeDocument/2006/relationships/image" Target="../media/image54.png"/></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20.xml"/><Relationship Id="rId1" Type="http://schemas.openxmlformats.org/officeDocument/2006/relationships/tags" Target="../tags/tag35.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36.xml"/></Relationships>
</file>

<file path=ppt/slides/_rels/slide4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20.xml"/><Relationship Id="rId1" Type="http://schemas.openxmlformats.org/officeDocument/2006/relationships/tags" Target="../tags/tag37.xml"/></Relationships>
</file>

<file path=ppt/slides/_rels/slide4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Layout" Target="../slideLayouts/slideLayout20.xml"/><Relationship Id="rId1" Type="http://schemas.openxmlformats.org/officeDocument/2006/relationships/tags" Target="../tags/tag38.xml"/></Relationships>
</file>

<file path=ppt/slides/_rels/slide4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tags" Target="../tags/tag39.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20.xml"/><Relationship Id="rId1" Type="http://schemas.openxmlformats.org/officeDocument/2006/relationships/tags" Target="../tags/tag40.xml"/></Relationships>
</file>

<file path=ppt/slides/_rels/slide4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Layout" Target="../slideLayouts/slideLayout20.xml"/><Relationship Id="rId1" Type="http://schemas.openxmlformats.org/officeDocument/2006/relationships/tags" Target="../tags/tag4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xml"/><Relationship Id="rId1" Type="http://schemas.openxmlformats.org/officeDocument/2006/relationships/tags" Target="../tags/tag42.xml"/><Relationship Id="rId6" Type="http://schemas.openxmlformats.org/officeDocument/2006/relationships/image" Target="../media/image63.png"/><Relationship Id="rId5" Type="http://schemas.openxmlformats.org/officeDocument/2006/relationships/image" Target="../media/image62.jpeg"/><Relationship Id="rId4" Type="http://schemas.openxmlformats.org/officeDocument/2006/relationships/image" Target="../media/image61.png"/></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43.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9.xml"/><Relationship Id="rId1" Type="http://schemas.openxmlformats.org/officeDocument/2006/relationships/tags" Target="../tags/tag44.xml"/><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3.xml"/></Relationships>
</file>

<file path=ppt/slides/_rels/slide5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19.xml"/><Relationship Id="rId1" Type="http://schemas.openxmlformats.org/officeDocument/2006/relationships/tags" Target="../tags/tag45.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19.xml"/><Relationship Id="rId1" Type="http://schemas.openxmlformats.org/officeDocument/2006/relationships/tags" Target="../tags/tag46.xml"/><Relationship Id="rId4" Type="http://schemas.openxmlformats.org/officeDocument/2006/relationships/image" Target="../media/image68.png"/></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47.xml"/></Relationships>
</file>

<file path=ppt/slides/_rels/slide5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19.xml"/><Relationship Id="rId1" Type="http://schemas.openxmlformats.org/officeDocument/2006/relationships/tags" Target="../tags/tag48.xml"/><Relationship Id="rId4" Type="http://schemas.openxmlformats.org/officeDocument/2006/relationships/image" Target="../media/image70.pn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19.xml"/><Relationship Id="rId1" Type="http://schemas.openxmlformats.org/officeDocument/2006/relationships/tags" Target="../tags/tag49.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0.xml"/><Relationship Id="rId1" Type="http://schemas.openxmlformats.org/officeDocument/2006/relationships/tags" Target="../tags/tag5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9.xml"/><Relationship Id="rId1" Type="http://schemas.openxmlformats.org/officeDocument/2006/relationships/tags" Target="../tags/tag51.xml"/><Relationship Id="rId4" Type="http://schemas.openxmlformats.org/officeDocument/2006/relationships/image" Target="../media/image73.emf"/></Relationships>
</file>

<file path=ppt/slides/_rels/slide5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ags" Target="../tags/tag52.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5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Layout" Target="../slideLayouts/slideLayout25.xml"/><Relationship Id="rId6" Type="http://schemas.openxmlformats.org/officeDocument/2006/relationships/image" Target="../media/image79.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54.xml"/><Relationship Id="rId4" Type="http://schemas.openxmlformats.org/officeDocument/2006/relationships/image" Target="../media/image8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hyperlink" Target="http://www2.dbd.puc-rio.br/pergamum/tesesabertas/0511098_07_cap_03.pdf" TargetMode="External"/><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 Type="http://schemas.openxmlformats.org/officeDocument/2006/relationships/image" Target="../media/image89.png"/><Relationship Id="rId16" Type="http://schemas.openxmlformats.org/officeDocument/2006/relationships/image" Target="../media/image103.png"/><Relationship Id="rId1" Type="http://schemas.openxmlformats.org/officeDocument/2006/relationships/slideLayout" Target="../slideLayouts/slideLayout25.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5" Type="http://schemas.openxmlformats.org/officeDocument/2006/relationships/image" Target="../media/image10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0.xml"/><Relationship Id="rId1" Type="http://schemas.openxmlformats.org/officeDocument/2006/relationships/tags" Target="../tags/tag4.xml"/></Relationships>
</file>

<file path=ppt/slides/_rels/slide70.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18" Type="http://schemas.openxmlformats.org/officeDocument/2006/relationships/image" Target="../media/image121.png"/><Relationship Id="rId3" Type="http://schemas.openxmlformats.org/officeDocument/2006/relationships/image" Target="../media/image106.png"/><Relationship Id="rId21" Type="http://schemas.openxmlformats.org/officeDocument/2006/relationships/image" Target="../media/image124.png"/><Relationship Id="rId7" Type="http://schemas.openxmlformats.org/officeDocument/2006/relationships/image" Target="../media/image110.png"/><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image" Target="../media/image105.png"/><Relationship Id="rId16" Type="http://schemas.openxmlformats.org/officeDocument/2006/relationships/image" Target="../media/image119.png"/><Relationship Id="rId20" Type="http://schemas.openxmlformats.org/officeDocument/2006/relationships/image" Target="../media/image123.png"/><Relationship Id="rId1" Type="http://schemas.openxmlformats.org/officeDocument/2006/relationships/slideLayout" Target="../slideLayouts/slideLayout25.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png"/><Relationship Id="rId19" Type="http://schemas.openxmlformats.org/officeDocument/2006/relationships/image" Target="../media/image122.png"/><Relationship Id="rId4" Type="http://schemas.openxmlformats.org/officeDocument/2006/relationships/image" Target="../media/image107.png"/><Relationship Id="rId9" Type="http://schemas.openxmlformats.org/officeDocument/2006/relationships/image" Target="../media/image112.png"/><Relationship Id="rId14" Type="http://schemas.openxmlformats.org/officeDocument/2006/relationships/image" Target="../media/image117.png"/></Relationships>
</file>

<file path=ppt/slides/_rels/slide71.xml.rels><?xml version="1.0" encoding="UTF-8" standalone="yes"?>
<Relationships xmlns="http://schemas.openxmlformats.org/package/2006/relationships"><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49.png"/><Relationship Id="rId39" Type="http://schemas.openxmlformats.org/officeDocument/2006/relationships/image" Target="../media/image162.png"/><Relationship Id="rId3" Type="http://schemas.openxmlformats.org/officeDocument/2006/relationships/image" Target="../media/image126.png"/><Relationship Id="rId21" Type="http://schemas.openxmlformats.org/officeDocument/2006/relationships/image" Target="../media/image144.png"/><Relationship Id="rId34" Type="http://schemas.openxmlformats.org/officeDocument/2006/relationships/image" Target="../media/image157.png"/><Relationship Id="rId42" Type="http://schemas.openxmlformats.org/officeDocument/2006/relationships/image" Target="../media/image165.png"/><Relationship Id="rId47" Type="http://schemas.openxmlformats.org/officeDocument/2006/relationships/image" Target="../media/image170.png"/><Relationship Id="rId50" Type="http://schemas.openxmlformats.org/officeDocument/2006/relationships/image" Target="../media/image173.png"/><Relationship Id="rId7" Type="http://schemas.openxmlformats.org/officeDocument/2006/relationships/image" Target="../media/image130.png"/><Relationship Id="rId12" Type="http://schemas.openxmlformats.org/officeDocument/2006/relationships/image" Target="../media/image135.png"/><Relationship Id="rId17" Type="http://schemas.openxmlformats.org/officeDocument/2006/relationships/image" Target="../media/image140.png"/><Relationship Id="rId25" Type="http://schemas.openxmlformats.org/officeDocument/2006/relationships/image" Target="../media/image148.png"/><Relationship Id="rId33" Type="http://schemas.openxmlformats.org/officeDocument/2006/relationships/image" Target="../media/image156.png"/><Relationship Id="rId38" Type="http://schemas.openxmlformats.org/officeDocument/2006/relationships/image" Target="../media/image161.png"/><Relationship Id="rId46" Type="http://schemas.openxmlformats.org/officeDocument/2006/relationships/image" Target="../media/image169.png"/><Relationship Id="rId2" Type="http://schemas.openxmlformats.org/officeDocument/2006/relationships/image" Target="../media/image125.png"/><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image" Target="../media/image152.png"/><Relationship Id="rId41" Type="http://schemas.openxmlformats.org/officeDocument/2006/relationships/image" Target="../media/image164.png"/><Relationship Id="rId1" Type="http://schemas.openxmlformats.org/officeDocument/2006/relationships/slideLayout" Target="../slideLayouts/slideLayout25.xml"/><Relationship Id="rId6" Type="http://schemas.openxmlformats.org/officeDocument/2006/relationships/image" Target="../media/image129.png"/><Relationship Id="rId11" Type="http://schemas.openxmlformats.org/officeDocument/2006/relationships/image" Target="../media/image134.png"/><Relationship Id="rId24" Type="http://schemas.openxmlformats.org/officeDocument/2006/relationships/image" Target="../media/image147.png"/><Relationship Id="rId32" Type="http://schemas.openxmlformats.org/officeDocument/2006/relationships/image" Target="../media/image155.png"/><Relationship Id="rId37" Type="http://schemas.openxmlformats.org/officeDocument/2006/relationships/image" Target="../media/image160.png"/><Relationship Id="rId40" Type="http://schemas.openxmlformats.org/officeDocument/2006/relationships/image" Target="../media/image163.png"/><Relationship Id="rId45" Type="http://schemas.openxmlformats.org/officeDocument/2006/relationships/image" Target="../media/image168.png"/><Relationship Id="rId5" Type="http://schemas.openxmlformats.org/officeDocument/2006/relationships/image" Target="../media/image128.png"/><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51.png"/><Relationship Id="rId36" Type="http://schemas.openxmlformats.org/officeDocument/2006/relationships/image" Target="../media/image159.png"/><Relationship Id="rId49" Type="http://schemas.openxmlformats.org/officeDocument/2006/relationships/image" Target="../media/image172.png"/><Relationship Id="rId10" Type="http://schemas.openxmlformats.org/officeDocument/2006/relationships/image" Target="../media/image133.png"/><Relationship Id="rId19" Type="http://schemas.openxmlformats.org/officeDocument/2006/relationships/image" Target="../media/image142.png"/><Relationship Id="rId31" Type="http://schemas.openxmlformats.org/officeDocument/2006/relationships/image" Target="../media/image154.png"/><Relationship Id="rId44" Type="http://schemas.openxmlformats.org/officeDocument/2006/relationships/image" Target="../media/image167.png"/><Relationship Id="rId52" Type="http://schemas.openxmlformats.org/officeDocument/2006/relationships/image" Target="../media/image175.png"/><Relationship Id="rId4" Type="http://schemas.openxmlformats.org/officeDocument/2006/relationships/image" Target="../media/image127.png"/><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png"/><Relationship Id="rId30" Type="http://schemas.openxmlformats.org/officeDocument/2006/relationships/image" Target="../media/image153.png"/><Relationship Id="rId35" Type="http://schemas.openxmlformats.org/officeDocument/2006/relationships/image" Target="../media/image158.png"/><Relationship Id="rId43" Type="http://schemas.openxmlformats.org/officeDocument/2006/relationships/image" Target="../media/image166.png"/><Relationship Id="rId48" Type="http://schemas.openxmlformats.org/officeDocument/2006/relationships/image" Target="../media/image171.png"/><Relationship Id="rId8" Type="http://schemas.openxmlformats.org/officeDocument/2006/relationships/image" Target="../media/image131.png"/><Relationship Id="rId51" Type="http://schemas.openxmlformats.org/officeDocument/2006/relationships/image" Target="../media/image174.png"/></Relationships>
</file>

<file path=ppt/slides/_rels/slide7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55.xml"/><Relationship Id="rId4" Type="http://schemas.openxmlformats.org/officeDocument/2006/relationships/image" Target="../media/image177.png"/></Relationships>
</file>

<file path=ppt/slides/_rels/slide7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slideLayout" Target="../slideLayouts/slideLayout19.xml"/><Relationship Id="rId1" Type="http://schemas.openxmlformats.org/officeDocument/2006/relationships/tags" Target="../tags/tag56.xml"/></Relationships>
</file>

<file path=ppt/slides/_rels/slide7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slideLayout" Target="../slideLayouts/slideLayout20.xml"/><Relationship Id="rId1" Type="http://schemas.openxmlformats.org/officeDocument/2006/relationships/tags" Target="../tags/tag57.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ags" Target="../tags/tag58.xml"/><Relationship Id="rId4" Type="http://schemas.openxmlformats.org/officeDocument/2006/relationships/image" Target="../media/image180.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8.xml.rels><?xml version="1.0" encoding="UTF-8" standalone="yes"?>
<Relationships xmlns="http://schemas.openxmlformats.org/package/2006/relationships"><Relationship Id="rId8" Type="http://schemas.openxmlformats.org/officeDocument/2006/relationships/image" Target="../media/image186.jpeg"/><Relationship Id="rId13" Type="http://schemas.openxmlformats.org/officeDocument/2006/relationships/image" Target="../media/image191.jpeg"/><Relationship Id="rId3" Type="http://schemas.openxmlformats.org/officeDocument/2006/relationships/image" Target="../media/image181.jpeg"/><Relationship Id="rId7" Type="http://schemas.openxmlformats.org/officeDocument/2006/relationships/image" Target="../media/image185.jpeg"/><Relationship Id="rId12" Type="http://schemas.openxmlformats.org/officeDocument/2006/relationships/image" Target="../media/image190.png"/><Relationship Id="rId2" Type="http://schemas.openxmlformats.org/officeDocument/2006/relationships/slideLayout" Target="../slideLayouts/slideLayout20.xml"/><Relationship Id="rId1" Type="http://schemas.openxmlformats.org/officeDocument/2006/relationships/tags" Target="../tags/tag59.xml"/><Relationship Id="rId6" Type="http://schemas.openxmlformats.org/officeDocument/2006/relationships/image" Target="../media/image184.jpeg"/><Relationship Id="rId11" Type="http://schemas.openxmlformats.org/officeDocument/2006/relationships/image" Target="../media/image189.png"/><Relationship Id="rId5" Type="http://schemas.openxmlformats.org/officeDocument/2006/relationships/image" Target="../media/image183.jpeg"/><Relationship Id="rId10" Type="http://schemas.openxmlformats.org/officeDocument/2006/relationships/image" Target="../media/image188.jpeg"/><Relationship Id="rId4" Type="http://schemas.openxmlformats.org/officeDocument/2006/relationships/image" Target="../media/image182.jpeg"/><Relationship Id="rId9" Type="http://schemas.openxmlformats.org/officeDocument/2006/relationships/image" Target="../media/image187.jpeg"/></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60.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0.xml"/><Relationship Id="rId1" Type="http://schemas.openxmlformats.org/officeDocument/2006/relationships/tags" Target="../tags/tag5.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ags" Target="../tags/tag61.xml"/><Relationship Id="rId5" Type="http://schemas.openxmlformats.org/officeDocument/2006/relationships/image" Target="../media/image193.png"/><Relationship Id="rId4" Type="http://schemas.openxmlformats.org/officeDocument/2006/relationships/image" Target="../media/image192.jpe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9.xml"/><Relationship Id="rId1" Type="http://schemas.openxmlformats.org/officeDocument/2006/relationships/tags" Target="../tags/tag62.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6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xml"/><Relationship Id="rId1" Type="http://schemas.openxmlformats.org/officeDocument/2006/relationships/tags" Target="../tags/tag64.xml"/><Relationship Id="rId4" Type="http://schemas.openxmlformats.org/officeDocument/2006/relationships/image" Target="../media/image194.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98.jpeg"/><Relationship Id="rId2" Type="http://schemas.openxmlformats.org/officeDocument/2006/relationships/slideLayout" Target="../slideLayouts/slideLayout19.xml"/><Relationship Id="rId1" Type="http://schemas.openxmlformats.org/officeDocument/2006/relationships/tags" Target="../tags/tag65.xml"/><Relationship Id="rId6" Type="http://schemas.openxmlformats.org/officeDocument/2006/relationships/image" Target="../media/image197.jpeg"/><Relationship Id="rId5" Type="http://schemas.openxmlformats.org/officeDocument/2006/relationships/image" Target="../media/image196.jpeg"/><Relationship Id="rId4" Type="http://schemas.openxmlformats.org/officeDocument/2006/relationships/image" Target="../media/image195.jpeg"/></Relationships>
</file>

<file path=ppt/slides/_rels/slide85.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slideLayout" Target="../slideLayouts/slideLayout20.xml"/><Relationship Id="rId1" Type="http://schemas.openxmlformats.org/officeDocument/2006/relationships/tags" Target="../tags/tag66.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7.xml"/><Relationship Id="rId1" Type="http://schemas.openxmlformats.org/officeDocument/2006/relationships/tags" Target="../tags/tag67.xml"/></Relationships>
</file>

<file path=ppt/slides/_rels/slide8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8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slideLayout" Target="../slideLayouts/slideLayout19.xml"/><Relationship Id="rId1" Type="http://schemas.openxmlformats.org/officeDocument/2006/relationships/tags" Target="../tags/tag6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0.xml"/><Relationship Id="rId1" Type="http://schemas.openxmlformats.org/officeDocument/2006/relationships/tags" Target="../tags/tag6.xml"/></Relationships>
</file>

<file path=ppt/slides/_rels/slide9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slideLayout" Target="../slideLayouts/slideLayout20.xml"/><Relationship Id="rId1" Type="http://schemas.openxmlformats.org/officeDocument/2006/relationships/tags" Target="../tags/tag69.xml"/></Relationships>
</file>

<file path=ppt/slides/_rels/slide9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19.xml"/><Relationship Id="rId4" Type="http://schemas.openxmlformats.org/officeDocument/2006/relationships/image" Target="../media/image204.png"/></Relationships>
</file>

<file path=ppt/slides/_rels/slide9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19.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xml"/><Relationship Id="rId1" Type="http://schemas.openxmlformats.org/officeDocument/2006/relationships/tags" Target="../tags/tag70.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0.xml"/><Relationship Id="rId1" Type="http://schemas.openxmlformats.org/officeDocument/2006/relationships/tags" Target="../tags/tag71.xml"/></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72.xml"/></Relationships>
</file>

<file path=ppt/slides/_rels/slide96.xml.rels><?xml version="1.0" encoding="UTF-8" standalone="yes"?>
<Relationships xmlns="http://schemas.openxmlformats.org/package/2006/relationships"><Relationship Id="rId26" Type="http://schemas.openxmlformats.org/officeDocument/2006/relationships/tags" Target="../tags/tag98.xml"/><Relationship Id="rId117" Type="http://schemas.openxmlformats.org/officeDocument/2006/relationships/tags" Target="../tags/tag189.xml"/><Relationship Id="rId21" Type="http://schemas.openxmlformats.org/officeDocument/2006/relationships/tags" Target="../tags/tag93.xml"/><Relationship Id="rId42" Type="http://schemas.openxmlformats.org/officeDocument/2006/relationships/tags" Target="../tags/tag114.xml"/><Relationship Id="rId47" Type="http://schemas.openxmlformats.org/officeDocument/2006/relationships/tags" Target="../tags/tag119.xml"/><Relationship Id="rId63" Type="http://schemas.openxmlformats.org/officeDocument/2006/relationships/tags" Target="../tags/tag135.xml"/><Relationship Id="rId68" Type="http://schemas.openxmlformats.org/officeDocument/2006/relationships/tags" Target="../tags/tag140.xml"/><Relationship Id="rId84" Type="http://schemas.openxmlformats.org/officeDocument/2006/relationships/tags" Target="../tags/tag156.xml"/><Relationship Id="rId89" Type="http://schemas.openxmlformats.org/officeDocument/2006/relationships/tags" Target="../tags/tag161.xml"/><Relationship Id="rId112" Type="http://schemas.openxmlformats.org/officeDocument/2006/relationships/tags" Target="../tags/tag184.xml"/><Relationship Id="rId133" Type="http://schemas.openxmlformats.org/officeDocument/2006/relationships/tags" Target="../tags/tag205.xml"/><Relationship Id="rId16" Type="http://schemas.openxmlformats.org/officeDocument/2006/relationships/tags" Target="../tags/tag88.xml"/><Relationship Id="rId107" Type="http://schemas.openxmlformats.org/officeDocument/2006/relationships/tags" Target="../tags/tag179.xml"/><Relationship Id="rId11" Type="http://schemas.openxmlformats.org/officeDocument/2006/relationships/tags" Target="../tags/tag83.xml"/><Relationship Id="rId32" Type="http://schemas.openxmlformats.org/officeDocument/2006/relationships/tags" Target="../tags/tag104.xml"/><Relationship Id="rId37" Type="http://schemas.openxmlformats.org/officeDocument/2006/relationships/tags" Target="../tags/tag109.xml"/><Relationship Id="rId53" Type="http://schemas.openxmlformats.org/officeDocument/2006/relationships/tags" Target="../tags/tag125.xml"/><Relationship Id="rId58" Type="http://schemas.openxmlformats.org/officeDocument/2006/relationships/tags" Target="../tags/tag130.xml"/><Relationship Id="rId74" Type="http://schemas.openxmlformats.org/officeDocument/2006/relationships/tags" Target="../tags/tag146.xml"/><Relationship Id="rId79" Type="http://schemas.openxmlformats.org/officeDocument/2006/relationships/tags" Target="../tags/tag151.xml"/><Relationship Id="rId102" Type="http://schemas.openxmlformats.org/officeDocument/2006/relationships/tags" Target="../tags/tag174.xml"/><Relationship Id="rId123" Type="http://schemas.openxmlformats.org/officeDocument/2006/relationships/tags" Target="../tags/tag195.xml"/><Relationship Id="rId128" Type="http://schemas.openxmlformats.org/officeDocument/2006/relationships/tags" Target="../tags/tag200.xml"/><Relationship Id="rId5" Type="http://schemas.openxmlformats.org/officeDocument/2006/relationships/tags" Target="../tags/tag77.xml"/><Relationship Id="rId90" Type="http://schemas.openxmlformats.org/officeDocument/2006/relationships/tags" Target="../tags/tag162.xml"/><Relationship Id="rId95" Type="http://schemas.openxmlformats.org/officeDocument/2006/relationships/tags" Target="../tags/tag167.xml"/><Relationship Id="rId14" Type="http://schemas.openxmlformats.org/officeDocument/2006/relationships/tags" Target="../tags/tag86.xml"/><Relationship Id="rId22" Type="http://schemas.openxmlformats.org/officeDocument/2006/relationships/tags" Target="../tags/tag94.xml"/><Relationship Id="rId27" Type="http://schemas.openxmlformats.org/officeDocument/2006/relationships/tags" Target="../tags/tag99.xml"/><Relationship Id="rId30" Type="http://schemas.openxmlformats.org/officeDocument/2006/relationships/tags" Target="../tags/tag102.xml"/><Relationship Id="rId35" Type="http://schemas.openxmlformats.org/officeDocument/2006/relationships/tags" Target="../tags/tag107.xml"/><Relationship Id="rId43" Type="http://schemas.openxmlformats.org/officeDocument/2006/relationships/tags" Target="../tags/tag115.xml"/><Relationship Id="rId48" Type="http://schemas.openxmlformats.org/officeDocument/2006/relationships/tags" Target="../tags/tag120.xml"/><Relationship Id="rId56" Type="http://schemas.openxmlformats.org/officeDocument/2006/relationships/tags" Target="../tags/tag128.xml"/><Relationship Id="rId64" Type="http://schemas.openxmlformats.org/officeDocument/2006/relationships/tags" Target="../tags/tag136.xml"/><Relationship Id="rId69" Type="http://schemas.openxmlformats.org/officeDocument/2006/relationships/tags" Target="../tags/tag141.xml"/><Relationship Id="rId77" Type="http://schemas.openxmlformats.org/officeDocument/2006/relationships/tags" Target="../tags/tag149.xml"/><Relationship Id="rId100" Type="http://schemas.openxmlformats.org/officeDocument/2006/relationships/tags" Target="../tags/tag172.xml"/><Relationship Id="rId105" Type="http://schemas.openxmlformats.org/officeDocument/2006/relationships/tags" Target="../tags/tag177.xml"/><Relationship Id="rId113" Type="http://schemas.openxmlformats.org/officeDocument/2006/relationships/tags" Target="../tags/tag185.xml"/><Relationship Id="rId118" Type="http://schemas.openxmlformats.org/officeDocument/2006/relationships/tags" Target="../tags/tag190.xml"/><Relationship Id="rId126" Type="http://schemas.openxmlformats.org/officeDocument/2006/relationships/tags" Target="../tags/tag198.xml"/><Relationship Id="rId134" Type="http://schemas.openxmlformats.org/officeDocument/2006/relationships/tags" Target="../tags/tag206.xml"/><Relationship Id="rId8" Type="http://schemas.openxmlformats.org/officeDocument/2006/relationships/tags" Target="../tags/tag80.xml"/><Relationship Id="rId51" Type="http://schemas.openxmlformats.org/officeDocument/2006/relationships/tags" Target="../tags/tag123.xml"/><Relationship Id="rId72" Type="http://schemas.openxmlformats.org/officeDocument/2006/relationships/tags" Target="../tags/tag144.xml"/><Relationship Id="rId80" Type="http://schemas.openxmlformats.org/officeDocument/2006/relationships/tags" Target="../tags/tag152.xml"/><Relationship Id="rId85" Type="http://schemas.openxmlformats.org/officeDocument/2006/relationships/tags" Target="../tags/tag157.xml"/><Relationship Id="rId93" Type="http://schemas.openxmlformats.org/officeDocument/2006/relationships/tags" Target="../tags/tag165.xml"/><Relationship Id="rId98" Type="http://schemas.openxmlformats.org/officeDocument/2006/relationships/tags" Target="../tags/tag170.xml"/><Relationship Id="rId121" Type="http://schemas.openxmlformats.org/officeDocument/2006/relationships/tags" Target="../tags/tag193.xml"/><Relationship Id="rId3" Type="http://schemas.openxmlformats.org/officeDocument/2006/relationships/tags" Target="../tags/tag75.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tags" Target="../tags/tag97.xml"/><Relationship Id="rId33" Type="http://schemas.openxmlformats.org/officeDocument/2006/relationships/tags" Target="../tags/tag105.xml"/><Relationship Id="rId38" Type="http://schemas.openxmlformats.org/officeDocument/2006/relationships/tags" Target="../tags/tag110.xml"/><Relationship Id="rId46" Type="http://schemas.openxmlformats.org/officeDocument/2006/relationships/tags" Target="../tags/tag118.xml"/><Relationship Id="rId59" Type="http://schemas.openxmlformats.org/officeDocument/2006/relationships/tags" Target="../tags/tag131.xml"/><Relationship Id="rId67" Type="http://schemas.openxmlformats.org/officeDocument/2006/relationships/tags" Target="../tags/tag139.xml"/><Relationship Id="rId103" Type="http://schemas.openxmlformats.org/officeDocument/2006/relationships/tags" Target="../tags/tag175.xml"/><Relationship Id="rId108" Type="http://schemas.openxmlformats.org/officeDocument/2006/relationships/tags" Target="../tags/tag180.xml"/><Relationship Id="rId116" Type="http://schemas.openxmlformats.org/officeDocument/2006/relationships/tags" Target="../tags/tag188.xml"/><Relationship Id="rId124" Type="http://schemas.openxmlformats.org/officeDocument/2006/relationships/tags" Target="../tags/tag196.xml"/><Relationship Id="rId129" Type="http://schemas.openxmlformats.org/officeDocument/2006/relationships/tags" Target="../tags/tag201.xml"/><Relationship Id="rId20" Type="http://schemas.openxmlformats.org/officeDocument/2006/relationships/tags" Target="../tags/tag92.xml"/><Relationship Id="rId41" Type="http://schemas.openxmlformats.org/officeDocument/2006/relationships/tags" Target="../tags/tag113.xml"/><Relationship Id="rId54" Type="http://schemas.openxmlformats.org/officeDocument/2006/relationships/tags" Target="../tags/tag126.xml"/><Relationship Id="rId62" Type="http://schemas.openxmlformats.org/officeDocument/2006/relationships/tags" Target="../tags/tag134.xml"/><Relationship Id="rId70" Type="http://schemas.openxmlformats.org/officeDocument/2006/relationships/tags" Target="../tags/tag142.xml"/><Relationship Id="rId75" Type="http://schemas.openxmlformats.org/officeDocument/2006/relationships/tags" Target="../tags/tag147.xml"/><Relationship Id="rId83" Type="http://schemas.openxmlformats.org/officeDocument/2006/relationships/tags" Target="../tags/tag155.xml"/><Relationship Id="rId88" Type="http://schemas.openxmlformats.org/officeDocument/2006/relationships/tags" Target="../tags/tag160.xml"/><Relationship Id="rId91" Type="http://schemas.openxmlformats.org/officeDocument/2006/relationships/tags" Target="../tags/tag163.xml"/><Relationship Id="rId96" Type="http://schemas.openxmlformats.org/officeDocument/2006/relationships/tags" Target="../tags/tag168.xml"/><Relationship Id="rId111" Type="http://schemas.openxmlformats.org/officeDocument/2006/relationships/tags" Target="../tags/tag183.xml"/><Relationship Id="rId132" Type="http://schemas.openxmlformats.org/officeDocument/2006/relationships/tags" Target="../tags/tag204.xml"/><Relationship Id="rId1" Type="http://schemas.openxmlformats.org/officeDocument/2006/relationships/tags" Target="../tags/tag73.xml"/><Relationship Id="rId6" Type="http://schemas.openxmlformats.org/officeDocument/2006/relationships/tags" Target="../tags/tag78.xml"/><Relationship Id="rId15" Type="http://schemas.openxmlformats.org/officeDocument/2006/relationships/tags" Target="../tags/tag87.xml"/><Relationship Id="rId23" Type="http://schemas.openxmlformats.org/officeDocument/2006/relationships/tags" Target="../tags/tag95.xml"/><Relationship Id="rId28" Type="http://schemas.openxmlformats.org/officeDocument/2006/relationships/tags" Target="../tags/tag100.xml"/><Relationship Id="rId36" Type="http://schemas.openxmlformats.org/officeDocument/2006/relationships/tags" Target="../tags/tag108.xml"/><Relationship Id="rId49" Type="http://schemas.openxmlformats.org/officeDocument/2006/relationships/tags" Target="../tags/tag121.xml"/><Relationship Id="rId57" Type="http://schemas.openxmlformats.org/officeDocument/2006/relationships/tags" Target="../tags/tag129.xml"/><Relationship Id="rId106" Type="http://schemas.openxmlformats.org/officeDocument/2006/relationships/tags" Target="../tags/tag178.xml"/><Relationship Id="rId114" Type="http://schemas.openxmlformats.org/officeDocument/2006/relationships/tags" Target="../tags/tag186.xml"/><Relationship Id="rId119" Type="http://schemas.openxmlformats.org/officeDocument/2006/relationships/tags" Target="../tags/tag191.xml"/><Relationship Id="rId127" Type="http://schemas.openxmlformats.org/officeDocument/2006/relationships/tags" Target="../tags/tag199.xml"/><Relationship Id="rId10" Type="http://schemas.openxmlformats.org/officeDocument/2006/relationships/tags" Target="../tags/tag82.xml"/><Relationship Id="rId31" Type="http://schemas.openxmlformats.org/officeDocument/2006/relationships/tags" Target="../tags/tag103.xml"/><Relationship Id="rId44" Type="http://schemas.openxmlformats.org/officeDocument/2006/relationships/tags" Target="../tags/tag116.xml"/><Relationship Id="rId52" Type="http://schemas.openxmlformats.org/officeDocument/2006/relationships/tags" Target="../tags/tag124.xml"/><Relationship Id="rId60" Type="http://schemas.openxmlformats.org/officeDocument/2006/relationships/tags" Target="../tags/tag132.xml"/><Relationship Id="rId65" Type="http://schemas.openxmlformats.org/officeDocument/2006/relationships/tags" Target="../tags/tag137.xml"/><Relationship Id="rId73" Type="http://schemas.openxmlformats.org/officeDocument/2006/relationships/tags" Target="../tags/tag145.xml"/><Relationship Id="rId78" Type="http://schemas.openxmlformats.org/officeDocument/2006/relationships/tags" Target="../tags/tag150.xml"/><Relationship Id="rId81" Type="http://schemas.openxmlformats.org/officeDocument/2006/relationships/tags" Target="../tags/tag153.xml"/><Relationship Id="rId86" Type="http://schemas.openxmlformats.org/officeDocument/2006/relationships/tags" Target="../tags/tag158.xml"/><Relationship Id="rId94" Type="http://schemas.openxmlformats.org/officeDocument/2006/relationships/tags" Target="../tags/tag166.xml"/><Relationship Id="rId99" Type="http://schemas.openxmlformats.org/officeDocument/2006/relationships/tags" Target="../tags/tag171.xml"/><Relationship Id="rId101" Type="http://schemas.openxmlformats.org/officeDocument/2006/relationships/tags" Target="../tags/tag173.xml"/><Relationship Id="rId122" Type="http://schemas.openxmlformats.org/officeDocument/2006/relationships/tags" Target="../tags/tag194.xml"/><Relationship Id="rId130" Type="http://schemas.openxmlformats.org/officeDocument/2006/relationships/tags" Target="../tags/tag202.xml"/><Relationship Id="rId135" Type="http://schemas.openxmlformats.org/officeDocument/2006/relationships/slideLayout" Target="../slideLayouts/slideLayout22.xml"/><Relationship Id="rId4" Type="http://schemas.openxmlformats.org/officeDocument/2006/relationships/tags" Target="../tags/tag76.xml"/><Relationship Id="rId9" Type="http://schemas.openxmlformats.org/officeDocument/2006/relationships/tags" Target="../tags/tag81.xml"/><Relationship Id="rId13" Type="http://schemas.openxmlformats.org/officeDocument/2006/relationships/tags" Target="../tags/tag85.xml"/><Relationship Id="rId18" Type="http://schemas.openxmlformats.org/officeDocument/2006/relationships/tags" Target="../tags/tag90.xml"/><Relationship Id="rId39" Type="http://schemas.openxmlformats.org/officeDocument/2006/relationships/tags" Target="../tags/tag111.xml"/><Relationship Id="rId109" Type="http://schemas.openxmlformats.org/officeDocument/2006/relationships/tags" Target="../tags/tag181.xml"/><Relationship Id="rId34" Type="http://schemas.openxmlformats.org/officeDocument/2006/relationships/tags" Target="../tags/tag106.xml"/><Relationship Id="rId50" Type="http://schemas.openxmlformats.org/officeDocument/2006/relationships/tags" Target="../tags/tag122.xml"/><Relationship Id="rId55" Type="http://schemas.openxmlformats.org/officeDocument/2006/relationships/tags" Target="../tags/tag127.xml"/><Relationship Id="rId76" Type="http://schemas.openxmlformats.org/officeDocument/2006/relationships/tags" Target="../tags/tag148.xml"/><Relationship Id="rId97" Type="http://schemas.openxmlformats.org/officeDocument/2006/relationships/tags" Target="../tags/tag169.xml"/><Relationship Id="rId104" Type="http://schemas.openxmlformats.org/officeDocument/2006/relationships/tags" Target="../tags/tag176.xml"/><Relationship Id="rId120" Type="http://schemas.openxmlformats.org/officeDocument/2006/relationships/tags" Target="../tags/tag192.xml"/><Relationship Id="rId125" Type="http://schemas.openxmlformats.org/officeDocument/2006/relationships/tags" Target="../tags/tag197.xml"/><Relationship Id="rId7" Type="http://schemas.openxmlformats.org/officeDocument/2006/relationships/tags" Target="../tags/tag79.xml"/><Relationship Id="rId71" Type="http://schemas.openxmlformats.org/officeDocument/2006/relationships/tags" Target="../tags/tag143.xml"/><Relationship Id="rId92" Type="http://schemas.openxmlformats.org/officeDocument/2006/relationships/tags" Target="../tags/tag164.xml"/><Relationship Id="rId2" Type="http://schemas.openxmlformats.org/officeDocument/2006/relationships/tags" Target="../tags/tag74.xml"/><Relationship Id="rId29" Type="http://schemas.openxmlformats.org/officeDocument/2006/relationships/tags" Target="../tags/tag101.xml"/><Relationship Id="rId24" Type="http://schemas.openxmlformats.org/officeDocument/2006/relationships/tags" Target="../tags/tag96.xml"/><Relationship Id="rId40" Type="http://schemas.openxmlformats.org/officeDocument/2006/relationships/tags" Target="../tags/tag112.xml"/><Relationship Id="rId45" Type="http://schemas.openxmlformats.org/officeDocument/2006/relationships/tags" Target="../tags/tag117.xml"/><Relationship Id="rId66" Type="http://schemas.openxmlformats.org/officeDocument/2006/relationships/tags" Target="../tags/tag138.xml"/><Relationship Id="rId87" Type="http://schemas.openxmlformats.org/officeDocument/2006/relationships/tags" Target="../tags/tag159.xml"/><Relationship Id="rId110" Type="http://schemas.openxmlformats.org/officeDocument/2006/relationships/tags" Target="../tags/tag182.xml"/><Relationship Id="rId115" Type="http://schemas.openxmlformats.org/officeDocument/2006/relationships/tags" Target="../tags/tag187.xml"/><Relationship Id="rId131" Type="http://schemas.openxmlformats.org/officeDocument/2006/relationships/tags" Target="../tags/tag203.xml"/><Relationship Id="rId61" Type="http://schemas.openxmlformats.org/officeDocument/2006/relationships/tags" Target="../tags/tag133.xml"/><Relationship Id="rId82" Type="http://schemas.openxmlformats.org/officeDocument/2006/relationships/tags" Target="../tags/tag154.xml"/><Relationship Id="rId19" Type="http://schemas.openxmlformats.org/officeDocument/2006/relationships/tags" Target="../tags/tag91.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xml"/><Relationship Id="rId1" Type="http://schemas.openxmlformats.org/officeDocument/2006/relationships/tags" Target="../tags/tag207.xml"/><Relationship Id="rId5" Type="http://schemas.openxmlformats.org/officeDocument/2006/relationships/image" Target="../media/image207.png"/><Relationship Id="rId4" Type="http://schemas.openxmlformats.org/officeDocument/2006/relationships/image" Target="../media/image206.jpeg"/></Relationships>
</file>

<file path=ppt/slides/_rels/slide98.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slideLayout" Target="../slideLayouts/slideLayout19.xml"/><Relationship Id="rId1" Type="http://schemas.openxmlformats.org/officeDocument/2006/relationships/tags" Target="../tags/tag208.xml"/></Relationships>
</file>

<file path=ppt/slides/_rels/slide9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a:xfrm>
            <a:off x="2897560" y="967036"/>
            <a:ext cx="6858000" cy="2862322"/>
          </a:xfrm>
          <a:prstGeom prst="rect">
            <a:avLst/>
          </a:prstGeom>
        </p:spPr>
        <p:txBody>
          <a:bodyPr>
            <a:spAutoFit/>
          </a:bodyPr>
          <a:lstStyle/>
          <a:p>
            <a:pPr lvl="0" algn="ctr">
              <a:defRPr/>
            </a:pPr>
            <a:r>
              <a:rPr lang="pt-BR" sz="6000" b="1" dirty="0">
                <a:solidFill>
                  <a:schemeClr val="accent1">
                    <a:lumMod val="75000"/>
                  </a:schemeClr>
                </a:solidFill>
                <a:latin typeface="+mj-lt"/>
                <a:ea typeface="+mj-ea"/>
                <a:cs typeface="+mj-cs"/>
              </a:rPr>
              <a:t>GERENCIAMENTO DE PROGRAMAS, PORTFOLIO E PMO</a:t>
            </a:r>
          </a:p>
        </p:txBody>
      </p:sp>
      <p:sp>
        <p:nvSpPr>
          <p:cNvPr id="7" name="Text Box 1036"/>
          <p:cNvSpPr txBox="1">
            <a:spLocks noChangeArrowheads="1"/>
          </p:cNvSpPr>
          <p:nvPr/>
        </p:nvSpPr>
        <p:spPr bwMode="auto">
          <a:xfrm>
            <a:off x="1385392" y="3775348"/>
            <a:ext cx="10248676" cy="880236"/>
          </a:xfrm>
          <a:prstGeom prst="rect">
            <a:avLst/>
          </a:prstGeom>
          <a:noFill/>
          <a:ln>
            <a:noFill/>
          </a:ln>
          <a:effectLst/>
        </p:spPr>
        <p:txBody>
          <a:bodyPr wrap="square" lIns="117218" tIns="58608" rIns="117218" bIns="58608">
            <a:spAutoFit/>
          </a:bodyPr>
          <a:lstStyle/>
          <a:p>
            <a:pPr algn="ctr">
              <a:spcBef>
                <a:spcPct val="50000"/>
              </a:spcBef>
              <a:defRPr/>
            </a:pPr>
            <a:r>
              <a:rPr lang="pt-BR" sz="4951" dirty="0">
                <a:solidFill>
                  <a:srgbClr val="FF0000"/>
                </a:solidFill>
                <a:latin typeface="+mj-lt"/>
                <a:ea typeface="+mj-ea"/>
                <a:cs typeface="+mj-cs"/>
              </a:rPr>
              <a:t>MBA em Gerenciamento de Projetos</a:t>
            </a:r>
          </a:p>
        </p:txBody>
      </p:sp>
      <p:sp>
        <p:nvSpPr>
          <p:cNvPr id="8" name="Text Box 1037"/>
          <p:cNvSpPr txBox="1">
            <a:spLocks noChangeArrowheads="1"/>
          </p:cNvSpPr>
          <p:nvPr/>
        </p:nvSpPr>
        <p:spPr bwMode="auto">
          <a:xfrm>
            <a:off x="4697760" y="7807796"/>
            <a:ext cx="8153400" cy="1726493"/>
          </a:xfrm>
          <a:prstGeom prst="rect">
            <a:avLst/>
          </a:prstGeom>
          <a:noFill/>
          <a:ln>
            <a:noFill/>
          </a:ln>
          <a:effectLst/>
        </p:spPr>
        <p:txBody>
          <a:bodyPr lIns="117218" tIns="58608" rIns="117218" bIns="58608">
            <a:spAutoFit/>
          </a:bodyPr>
          <a:lstStyle/>
          <a:p>
            <a:pPr algn="ctr">
              <a:spcBef>
                <a:spcPct val="50000"/>
              </a:spcBef>
              <a:defRPr/>
            </a:pPr>
            <a:r>
              <a:rPr lang="pt-BR" sz="2800" b="1" i="1" dirty="0">
                <a:solidFill>
                  <a:srgbClr val="000066"/>
                </a:solidFill>
                <a:effectLst>
                  <a:outerShdw blurRad="38100" dist="38100" dir="2700000" algn="tl">
                    <a:srgbClr val="C0C0C0"/>
                  </a:outerShdw>
                </a:effectLst>
                <a:latin typeface="Arial" charset="0"/>
                <a:cs typeface="Arial" charset="0"/>
              </a:rPr>
              <a:t>Prof. Roberto Pallesi</a:t>
            </a:r>
            <a:r>
              <a:rPr lang="pt-BR" sz="2800" b="1" dirty="0">
                <a:solidFill>
                  <a:srgbClr val="000066"/>
                </a:solidFill>
                <a:effectLst>
                  <a:outerShdw blurRad="38100" dist="38100" dir="2700000" algn="tl">
                    <a:srgbClr val="C0C0C0"/>
                  </a:outerShdw>
                </a:effectLst>
                <a:latin typeface="Arial" charset="0"/>
                <a:cs typeface="Arial" charset="0"/>
              </a:rPr>
              <a:t>, Doutor, PMP, BB, MCTS</a:t>
            </a:r>
          </a:p>
          <a:p>
            <a:pPr algn="ctr">
              <a:spcBef>
                <a:spcPct val="50000"/>
              </a:spcBef>
              <a:defRPr/>
            </a:pPr>
            <a:r>
              <a:rPr lang="pt-BR" sz="2550" dirty="0">
                <a:solidFill>
                  <a:srgbClr val="000066"/>
                </a:solidFill>
                <a:effectLst>
                  <a:outerShdw blurRad="38100" dist="38100" dir="2700000" algn="tl">
                    <a:srgbClr val="C0C0C0"/>
                  </a:outerShdw>
                </a:effectLst>
                <a:latin typeface="Arial" charset="0"/>
                <a:cs typeface="Arial" charset="0"/>
              </a:rPr>
              <a:t>rpallesi@fgvmail.br</a:t>
            </a:r>
          </a:p>
          <a:p>
            <a:pPr algn="ctr">
              <a:spcBef>
                <a:spcPct val="50000"/>
              </a:spcBef>
              <a:defRPr/>
            </a:pPr>
            <a:r>
              <a:rPr lang="pt-BR" sz="2550" dirty="0">
                <a:solidFill>
                  <a:srgbClr val="000066"/>
                </a:solidFill>
                <a:effectLst>
                  <a:outerShdw blurRad="38100" dist="38100" dir="2700000" algn="tl">
                    <a:srgbClr val="C0C0C0"/>
                  </a:outerShdw>
                </a:effectLst>
                <a:latin typeface="Arial" charset="0"/>
                <a:cs typeface="Arial" charset="0"/>
              </a:rPr>
              <a:t>Versão: 3.2 - 06/2023</a:t>
            </a:r>
          </a:p>
        </p:txBody>
      </p:sp>
      <p:pic>
        <p:nvPicPr>
          <p:cNvPr id="2" name="Imagem 1">
            <a:extLst>
              <a:ext uri="{FF2B5EF4-FFF2-40B4-BE49-F238E27FC236}">
                <a16:creationId xmlns:a16="http://schemas.microsoft.com/office/drawing/2014/main" id="{D926A518-1AD7-42BD-AB26-C1471D3E4B47}"/>
              </a:ext>
            </a:extLst>
          </p:cNvPr>
          <p:cNvPicPr>
            <a:picLocks noChangeAspect="1"/>
          </p:cNvPicPr>
          <p:nvPr/>
        </p:nvPicPr>
        <p:blipFill>
          <a:blip r:embed="rId2"/>
          <a:stretch>
            <a:fillRect/>
          </a:stretch>
        </p:blipFill>
        <p:spPr>
          <a:xfrm>
            <a:off x="4617132" y="4834608"/>
            <a:ext cx="4481736" cy="2447264"/>
          </a:xfrm>
          <a:prstGeom prst="rect">
            <a:avLst/>
          </a:prstGeom>
        </p:spPr>
      </p:pic>
    </p:spTree>
    <p:extLst>
      <p:ext uri="{BB962C8B-B14F-4D97-AF65-F5344CB8AC3E}">
        <p14:creationId xmlns:p14="http://schemas.microsoft.com/office/powerpoint/2010/main" val="363095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1464" y="606996"/>
            <a:ext cx="11287125" cy="11531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lgn="ctr">
              <a:spcBef>
                <a:spcPct val="50000"/>
              </a:spcBef>
            </a:pPr>
            <a:r>
              <a:rPr lang="pt-BR" altLang="pt-BR" sz="3600">
                <a:solidFill>
                  <a:schemeClr val="tx1"/>
                </a:solidFill>
              </a:rPr>
              <a:t>Escritório de Projetos por Unidade de Negócios</a:t>
            </a:r>
            <a:br>
              <a:rPr lang="pt-BR" altLang="pt-BR">
                <a:solidFill>
                  <a:schemeClr val="tx1"/>
                </a:solidFill>
              </a:rPr>
            </a:br>
            <a:endParaRPr lang="pt-BR" altLang="pt-BR">
              <a:solidFill>
                <a:schemeClr val="tx1"/>
              </a:solidFill>
            </a:endParaRPr>
          </a:p>
        </p:txBody>
      </p:sp>
      <p:sp>
        <p:nvSpPr>
          <p:cNvPr id="19459" name="Rectangle 3"/>
          <p:cNvSpPr>
            <a:spLocks noGrp="1" noChangeArrowheads="1"/>
          </p:cNvSpPr>
          <p:nvPr>
            <p:ph type="body" idx="4294967295"/>
          </p:nvPr>
        </p:nvSpPr>
        <p:spPr>
          <a:xfrm>
            <a:off x="376238" y="1602583"/>
            <a:ext cx="12949238" cy="6110288"/>
          </a:xfrm>
          <a:prstGeom prst="rect">
            <a:avLst/>
          </a:prstGeom>
        </p:spPr>
        <p:txBody>
          <a:bodyPr lIns="136145" tIns="68058" rIns="136145" bIns="68058"/>
          <a:lstStyle/>
          <a:p>
            <a:r>
              <a:rPr lang="pt-BR" altLang="pt-BR"/>
              <a:t>Atende uma área de negócio ou funcional;</a:t>
            </a:r>
          </a:p>
          <a:p>
            <a:r>
              <a:rPr lang="pt-BR" altLang="pt-BR" b="1">
                <a:solidFill>
                  <a:srgbClr val="990000"/>
                </a:solidFill>
              </a:rPr>
              <a:t>No Brasil, maioria dos escritórios de projetos são desse tipo;</a:t>
            </a:r>
          </a:p>
          <a:p>
            <a:r>
              <a:rPr lang="pt-BR" altLang="pt-BR"/>
              <a:t>São predominantes dos setores de Tecnologia da Informação;</a:t>
            </a:r>
          </a:p>
          <a:p>
            <a:r>
              <a:rPr lang="pt-BR" altLang="pt-BR" b="1">
                <a:solidFill>
                  <a:srgbClr val="990000"/>
                </a:solidFill>
              </a:rPr>
              <a:t>Apoio a diversos projetos simultâneos da unidade de negócios;</a:t>
            </a:r>
          </a:p>
          <a:p>
            <a:r>
              <a:rPr lang="pt-BR" altLang="pt-BR"/>
              <a:t>Fornece suporte, ferramentas e serviços para planejamento, controle de qualidade, prazos e custos (apoio administrativo), para diferentes projetos da área funcional em questão;</a:t>
            </a:r>
          </a:p>
          <a:p>
            <a:r>
              <a:rPr lang="pt-BR" altLang="pt-BR" b="1">
                <a:solidFill>
                  <a:srgbClr val="990000"/>
                </a:solidFill>
              </a:rPr>
              <a:t>Apoio na alocação de recursos técnicos, desenvolvimento de treinamentos, contratação de terceiros, disponibilização de metodologia, e base de conhecimento. Segundo nível de escalação na unidade de negócios.</a:t>
            </a:r>
          </a:p>
          <a:p>
            <a:endParaRPr lang="pt-BR" altLang="pt-BR" b="1">
              <a:solidFill>
                <a:srgbClr val="990000"/>
              </a:solidFill>
            </a:endParaRPr>
          </a:p>
          <a:p>
            <a:endParaRPr lang="pt-BR" altLang="pt-BR" b="1">
              <a:solidFill>
                <a:srgbClr val="333399"/>
              </a:solidFill>
            </a:endParaRPr>
          </a:p>
          <a:p>
            <a:endParaRPr lang="en-US" altLang="pt-BR" sz="2700" b="1">
              <a:solidFill>
                <a:srgbClr val="333399"/>
              </a:solidFill>
            </a:endParaRPr>
          </a:p>
        </p:txBody>
      </p:sp>
      <p:pic>
        <p:nvPicPr>
          <p:cNvPr id="19460" name="Imagem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06272" y="7740131"/>
            <a:ext cx="2578893" cy="2578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352300166"/>
      </p:ext>
    </p:extLst>
  </p:cSld>
  <p:clrMapOvr>
    <a:masterClrMapping/>
  </p:clrMapOvr>
  <p:transition>
    <p:strips dir="rd"/>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txBox="1">
            <a:spLocks noChangeArrowheads="1"/>
          </p:cNvSpPr>
          <p:nvPr/>
        </p:nvSpPr>
        <p:spPr bwMode="auto">
          <a:xfrm>
            <a:off x="235745" y="250033"/>
            <a:ext cx="11418093"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Balanceando o Portfólio</a:t>
            </a:r>
            <a:endParaRPr lang="en-US" altLang="pt-BR" sz="3600" b="1" dirty="0">
              <a:solidFill>
                <a:schemeClr val="tx1"/>
              </a:solidFill>
              <a:latin typeface="Myriad Pro" pitchFamily="34" charset="0"/>
              <a:ea typeface="Verdana" panose="020B0604030504040204" pitchFamily="34" charset="0"/>
              <a:cs typeface="Verdana" panose="020B0604030504040204" pitchFamily="34" charset="0"/>
            </a:endParaRPr>
          </a:p>
        </p:txBody>
      </p:sp>
      <p:grpSp>
        <p:nvGrpSpPr>
          <p:cNvPr id="3" name="Agrupar 2">
            <a:extLst>
              <a:ext uri="{FF2B5EF4-FFF2-40B4-BE49-F238E27FC236}">
                <a16:creationId xmlns:a16="http://schemas.microsoft.com/office/drawing/2014/main" id="{73452DE3-34C6-42FA-8223-0C790A7A6B21}"/>
              </a:ext>
            </a:extLst>
          </p:cNvPr>
          <p:cNvGrpSpPr/>
          <p:nvPr/>
        </p:nvGrpSpPr>
        <p:grpSpPr>
          <a:xfrm>
            <a:off x="162474" y="983824"/>
            <a:ext cx="12759950" cy="8763164"/>
            <a:chOff x="162474" y="983824"/>
            <a:chExt cx="12759950" cy="8763164"/>
          </a:xfrm>
        </p:grpSpPr>
        <p:grpSp>
          <p:nvGrpSpPr>
            <p:cNvPr id="114691" name="Grupo 2"/>
            <p:cNvGrpSpPr>
              <a:grpSpLocks/>
            </p:cNvGrpSpPr>
            <p:nvPr/>
          </p:nvGrpSpPr>
          <p:grpSpPr bwMode="auto">
            <a:xfrm>
              <a:off x="162474" y="983824"/>
              <a:ext cx="12492355" cy="8763164"/>
              <a:chOff x="360364" y="800100"/>
              <a:chExt cx="8532811" cy="5842109"/>
            </a:xfrm>
          </p:grpSpPr>
          <p:grpSp>
            <p:nvGrpSpPr>
              <p:cNvPr id="114693" name="Grupo 1"/>
              <p:cNvGrpSpPr>
                <a:grpSpLocks/>
              </p:cNvGrpSpPr>
              <p:nvPr/>
            </p:nvGrpSpPr>
            <p:grpSpPr bwMode="auto">
              <a:xfrm>
                <a:off x="360364" y="800100"/>
                <a:ext cx="8532811" cy="5252860"/>
                <a:chOff x="0" y="0"/>
                <a:chExt cx="9144000" cy="6888998"/>
              </a:xfrm>
            </p:grpSpPr>
            <p:pic>
              <p:nvPicPr>
                <p:cNvPr id="114696" name="Picture 2" descr="pcv00001328_bgr92df25e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7" name="Text Box 3"/>
                <p:cNvSpPr txBox="1">
                  <a:spLocks noChangeArrowheads="1"/>
                </p:cNvSpPr>
                <p:nvPr/>
              </p:nvSpPr>
              <p:spPr bwMode="auto">
                <a:xfrm>
                  <a:off x="3137191" y="381001"/>
                  <a:ext cx="2329407" cy="784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545"/>
                    </a:lnSpc>
                    <a:spcBef>
                      <a:spcPct val="0"/>
                    </a:spcBef>
                    <a:buNone/>
                  </a:pPr>
                  <a:r>
                    <a:rPr lang="pt-BR" altLang="pt-BR" sz="2400">
                      <a:solidFill>
                        <a:srgbClr val="FFFEFF"/>
                      </a:solidFill>
                      <a:latin typeface="Arial" panose="020B0604020202020204" pitchFamily="34" charset="0"/>
                    </a:rPr>
                    <a:t>Balanceando o Portfólio </a:t>
                  </a:r>
                </a:p>
                <a:p>
                  <a:pPr>
                    <a:lnSpc>
                      <a:spcPts val="3545"/>
                    </a:lnSpc>
                    <a:spcBef>
                      <a:spcPct val="0"/>
                    </a:spcBef>
                    <a:buNone/>
                  </a:pPr>
                  <a:endParaRPr lang="pt-BR" altLang="pt-BR" sz="2400">
                    <a:solidFill>
                      <a:srgbClr val="FFFEFF"/>
                    </a:solidFill>
                    <a:latin typeface="Arial" panose="020B0604020202020204" pitchFamily="34" charset="0"/>
                  </a:endParaRPr>
                </a:p>
              </p:txBody>
            </p:sp>
            <p:sp>
              <p:nvSpPr>
                <p:cNvPr id="246790" name="Text Box 4"/>
                <p:cNvSpPr txBox="1">
                  <a:spLocks noChangeArrowheads="1"/>
                </p:cNvSpPr>
                <p:nvPr/>
              </p:nvSpPr>
              <p:spPr bwMode="auto">
                <a:xfrm>
                  <a:off x="172362" y="1329488"/>
                  <a:ext cx="6618231" cy="1076377"/>
                </a:xfrm>
                <a:prstGeom prst="rect">
                  <a:avLst/>
                </a:prstGeom>
                <a:noFill/>
                <a:ln>
                  <a:noFill/>
                </a:ln>
                <a:effectLst/>
              </p:spPr>
              <p:txBody>
                <a:bodyPr lIns="0" tIns="0" rIns="0" bIns="0">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marL="514350" indent="-514350">
                    <a:lnSpc>
                      <a:spcPts val="3150"/>
                    </a:lnSpc>
                    <a:buFont typeface="Wingdings" pitchFamily="2" charset="2"/>
                    <a:buChar char="ü"/>
                    <a:defRPr/>
                  </a:pPr>
                  <a:r>
                    <a:rPr lang="pt-BR" sz="3200" i="0" dirty="0">
                      <a:solidFill>
                        <a:srgbClr val="000000"/>
                      </a:solidFill>
                      <a:latin typeface="Calibri" pitchFamily="34" charset="0"/>
                    </a:rPr>
                    <a:t>Projetos podem e devem ser realizados em paralelo caso não haja restrições que impeçam; </a:t>
                  </a:r>
                </a:p>
                <a:p>
                  <a:pPr>
                    <a:lnSpc>
                      <a:spcPts val="3150"/>
                    </a:lnSpc>
                    <a:defRPr/>
                  </a:pPr>
                  <a:endParaRPr lang="pt-BR" sz="2400" i="0" dirty="0">
                    <a:solidFill>
                      <a:srgbClr val="000000"/>
                    </a:solidFill>
                  </a:endParaRPr>
                </a:p>
              </p:txBody>
            </p:sp>
            <p:sp>
              <p:nvSpPr>
                <p:cNvPr id="246791" name="Text Box 5"/>
                <p:cNvSpPr txBox="1">
                  <a:spLocks noChangeArrowheads="1"/>
                </p:cNvSpPr>
                <p:nvPr/>
              </p:nvSpPr>
              <p:spPr bwMode="auto">
                <a:xfrm>
                  <a:off x="53632" y="2253176"/>
                  <a:ext cx="7870819" cy="4635822"/>
                </a:xfrm>
                <a:prstGeom prst="rect">
                  <a:avLst/>
                </a:prstGeom>
                <a:noFill/>
                <a:ln>
                  <a:noFill/>
                </a:ln>
                <a:effectLst/>
              </p:spPr>
              <p:txBody>
                <a:bodyPr lIns="0" tIns="0" rIns="0" bIns="0">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marL="514350" indent="-514350">
                    <a:lnSpc>
                      <a:spcPts val="3150"/>
                    </a:lnSpc>
                    <a:buFont typeface="Wingdings" pitchFamily="2" charset="2"/>
                    <a:buChar char="ü"/>
                    <a:defRPr/>
                  </a:pPr>
                  <a:r>
                    <a:rPr lang="pt-BR" sz="3200" i="0" dirty="0">
                      <a:solidFill>
                        <a:srgbClr val="000000"/>
                      </a:solidFill>
                      <a:latin typeface="Calibri" pitchFamily="34" charset="0"/>
                    </a:rPr>
                    <a:t>Para possibilitar que mais projetos sejam realizados em paralelo, a única alternativa viável é explorar a restrição existente, como contratar novos recursos,  alocar o projeto para terceiros, avaliar o melhor momento temporal e econômico para realização do projeto; </a:t>
                  </a:r>
                </a:p>
                <a:p>
                  <a:pPr marL="514350" indent="-514350">
                    <a:lnSpc>
                      <a:spcPts val="3150"/>
                    </a:lnSpc>
                    <a:buFont typeface="Wingdings" pitchFamily="2" charset="2"/>
                    <a:buChar char="ü"/>
                    <a:defRPr/>
                  </a:pPr>
                  <a:endParaRPr lang="pt-BR" sz="3600" i="0" dirty="0">
                    <a:solidFill>
                      <a:srgbClr val="000000"/>
                    </a:solidFill>
                    <a:latin typeface="Calibri" pitchFamily="34" charset="0"/>
                  </a:endParaRPr>
                </a:p>
                <a:p>
                  <a:pPr marL="514350" indent="-514350">
                    <a:lnSpc>
                      <a:spcPts val="3150"/>
                    </a:lnSpc>
                    <a:buFont typeface="Wingdings" pitchFamily="2" charset="2"/>
                    <a:buChar char="ü"/>
                    <a:defRPr/>
                  </a:pPr>
                  <a:r>
                    <a:rPr lang="pt-BR" sz="3200" i="0" dirty="0">
                      <a:solidFill>
                        <a:srgbClr val="000000"/>
                      </a:solidFill>
                      <a:latin typeface="Calibri" pitchFamily="34" charset="0"/>
                    </a:rPr>
                    <a:t>Em tempo de execução, como cada projeto está contribuindo para o alcance dos resultados? </a:t>
                  </a:r>
                  <a:r>
                    <a:rPr lang="pt-BR" sz="3200" b="1" i="0" dirty="0">
                      <a:solidFill>
                        <a:srgbClr val="000000"/>
                      </a:solidFill>
                      <a:latin typeface="Calibri" pitchFamily="34" charset="0"/>
                    </a:rPr>
                    <a:t>Será que o projeto permanece adequado? Será que é a melhor solução? O projeto precisa continuar existindo, ou deve ser eliminado e substituído por outro?</a:t>
                  </a:r>
                </a:p>
                <a:p>
                  <a:pPr marL="514350" indent="-514350">
                    <a:lnSpc>
                      <a:spcPts val="3150"/>
                    </a:lnSpc>
                    <a:buFont typeface="Wingdings" pitchFamily="2" charset="2"/>
                    <a:buChar char="ü"/>
                    <a:defRPr/>
                  </a:pPr>
                  <a:endParaRPr lang="pt-BR" sz="3600" i="0" dirty="0">
                    <a:solidFill>
                      <a:srgbClr val="000000"/>
                    </a:solidFill>
                    <a:latin typeface="Calibri" pitchFamily="34" charset="0"/>
                  </a:endParaRPr>
                </a:p>
                <a:p>
                  <a:pPr>
                    <a:lnSpc>
                      <a:spcPts val="3150"/>
                    </a:lnSpc>
                    <a:defRPr/>
                  </a:pPr>
                  <a:endParaRPr lang="pt-BR" sz="2400" i="0" dirty="0">
                    <a:solidFill>
                      <a:srgbClr val="000000"/>
                    </a:solidFill>
                  </a:endParaRPr>
                </a:p>
              </p:txBody>
            </p:sp>
          </p:grpSp>
          <p:sp>
            <p:nvSpPr>
              <p:cNvPr id="114694" name="Retângulo 1"/>
              <p:cNvSpPr>
                <a:spLocks noChangeArrowheads="1"/>
              </p:cNvSpPr>
              <p:nvPr/>
            </p:nvSpPr>
            <p:spPr bwMode="auto">
              <a:xfrm>
                <a:off x="368953" y="5595769"/>
                <a:ext cx="7452651"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 typeface="Wingdings" panose="05000000000000000000" pitchFamily="2" charset="2"/>
                  <a:buChar char="ü"/>
                </a:pPr>
                <a:r>
                  <a:rPr lang="pt-BR" altLang="pt-BR" dirty="0">
                    <a:solidFill>
                      <a:srgbClr val="000000"/>
                    </a:solidFill>
                    <a:latin typeface="Calibri" pitchFamily="34" charset="0"/>
                  </a:rPr>
                  <a:t>Balancear o Portfólio significa então, </a:t>
                </a:r>
                <a:r>
                  <a:rPr lang="pt-BR" altLang="pt-BR" b="1" dirty="0">
                    <a:solidFill>
                      <a:srgbClr val="000000"/>
                    </a:solidFill>
                    <a:latin typeface="Calibri" pitchFamily="34" charset="0"/>
                  </a:rPr>
                  <a:t>programar os projetos no tempo, levando-se em conta as restrições existentes </a:t>
                </a:r>
                <a:r>
                  <a:rPr lang="pt-BR" altLang="pt-BR" dirty="0">
                    <a:solidFill>
                      <a:srgbClr val="000000"/>
                    </a:solidFill>
                    <a:latin typeface="Calibri" pitchFamily="34" charset="0"/>
                  </a:rPr>
                  <a:t>na Organização atendendo os objetivos da empresa.</a:t>
                </a:r>
              </a:p>
            </p:txBody>
          </p:sp>
          <p:sp>
            <p:nvSpPr>
              <p:cNvPr id="2" name="Retângulo 1"/>
              <p:cNvSpPr/>
              <p:nvPr/>
            </p:nvSpPr>
            <p:spPr>
              <a:xfrm>
                <a:off x="612842" y="899046"/>
                <a:ext cx="8027854" cy="865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pt-BR"/>
              </a:p>
            </p:txBody>
          </p:sp>
        </p:grpSp>
        <p:pic>
          <p:nvPicPr>
            <p:cNvPr id="114692" name="Picture 11" descr="http://t2.gstatic.com/images?q=tbn:ANd9GcQUkMdnPByYDkbp2P5z1IOhpfhL7tmhAZpXwKsSerglQ8ihtDW3C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05367" y="1471459"/>
              <a:ext cx="3117057"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3591649810"/>
      </p:ext>
    </p:extLst>
  </p:cSld>
  <p:clrMapOvr>
    <a:masterClrMapping/>
  </p:clrMapOvr>
  <p:transition spd="slow">
    <p:strips dir="rd"/>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txBox="1">
            <a:spLocks noChangeArrowheads="1"/>
          </p:cNvSpPr>
          <p:nvPr/>
        </p:nvSpPr>
        <p:spPr bwMode="auto">
          <a:xfrm>
            <a:off x="328613" y="292895"/>
            <a:ext cx="1141809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Balanceando o Portfólio</a:t>
            </a:r>
            <a:endParaRPr lang="en-US" altLang="pt-BR" sz="3600" b="1" dirty="0">
              <a:solidFill>
                <a:schemeClr val="tx1"/>
              </a:solidFill>
              <a:latin typeface="Myriad Pro" pitchFamily="34" charset="0"/>
              <a:ea typeface="Verdana" panose="020B0604030504040204" pitchFamily="34" charset="0"/>
              <a:cs typeface="Verdana" panose="020B0604030504040204" pitchFamily="34" charset="0"/>
            </a:endParaRPr>
          </a:p>
        </p:txBody>
      </p:sp>
      <p:sp>
        <p:nvSpPr>
          <p:cNvPr id="6" name="CaixaDeTexto 71"/>
          <p:cNvSpPr txBox="1"/>
          <p:nvPr/>
        </p:nvSpPr>
        <p:spPr>
          <a:xfrm>
            <a:off x="7650088" y="3094225"/>
            <a:ext cx="4858923" cy="348813"/>
          </a:xfrm>
          <a:prstGeom prst="rect">
            <a:avLst/>
          </a:prstGeom>
          <a:noFill/>
        </p:spPr>
        <p:txBody>
          <a:bodyPr wrap="square">
            <a:spAutoFit/>
          </a:bodyPr>
          <a:lstStyle/>
          <a:p>
            <a:pPr defTabSz="1369220" fontAlgn="auto">
              <a:lnSpc>
                <a:spcPts val="1950"/>
              </a:lnSpc>
              <a:spcBef>
                <a:spcPts val="0"/>
              </a:spcBef>
              <a:spcAft>
                <a:spcPts val="0"/>
              </a:spcAft>
              <a:defRPr/>
            </a:pPr>
            <a:r>
              <a:rPr lang="pt-BR" sz="3000" kern="0" dirty="0">
                <a:solidFill>
                  <a:prstClr val="black"/>
                </a:solidFill>
              </a:rPr>
              <a:t>KR$                  Recursos</a:t>
            </a:r>
          </a:p>
        </p:txBody>
      </p:sp>
      <p:sp>
        <p:nvSpPr>
          <p:cNvPr id="7" name="CaixaDeTexto 73"/>
          <p:cNvSpPr txBox="1"/>
          <p:nvPr/>
        </p:nvSpPr>
        <p:spPr>
          <a:xfrm>
            <a:off x="4985792" y="3738043"/>
            <a:ext cx="2396420" cy="348813"/>
          </a:xfrm>
          <a:prstGeom prst="rect">
            <a:avLst/>
          </a:prstGeom>
          <a:noFill/>
        </p:spPr>
        <p:txBody>
          <a:bodyPr wrap="square">
            <a:spAutoFit/>
          </a:bodyPr>
          <a:lstStyle/>
          <a:p>
            <a:pPr defTabSz="1369220" fontAlgn="auto">
              <a:lnSpc>
                <a:spcPts val="1950"/>
              </a:lnSpc>
              <a:spcBef>
                <a:spcPts val="0"/>
              </a:spcBef>
              <a:spcAft>
                <a:spcPts val="0"/>
              </a:spcAft>
              <a:defRPr/>
            </a:pPr>
            <a:r>
              <a:rPr lang="pt-BR" sz="3000" kern="0" dirty="0">
                <a:solidFill>
                  <a:prstClr val="black"/>
                </a:solidFill>
              </a:rPr>
              <a:t>Limitações:</a:t>
            </a:r>
          </a:p>
        </p:txBody>
      </p:sp>
      <p:graphicFrame>
        <p:nvGraphicFramePr>
          <p:cNvPr id="11" name="Tabela 67"/>
          <p:cNvGraphicFramePr>
            <a:graphicFrameLocks noGrp="1"/>
          </p:cNvGraphicFramePr>
          <p:nvPr>
            <p:extLst>
              <p:ext uri="{D42A27DB-BD31-4B8C-83A1-F6EECF244321}">
                <p14:modId xmlns:p14="http://schemas.microsoft.com/office/powerpoint/2010/main" val="1454202872"/>
              </p:ext>
            </p:extLst>
          </p:nvPr>
        </p:nvGraphicFramePr>
        <p:xfrm>
          <a:off x="7383700" y="3459210"/>
          <a:ext cx="4984283" cy="914620"/>
        </p:xfrm>
        <a:graphic>
          <a:graphicData uri="http://schemas.openxmlformats.org/drawingml/2006/table">
            <a:tbl>
              <a:tblPr firstRow="1" bandRow="1"/>
              <a:tblGrid>
                <a:gridCol w="2254795">
                  <a:extLst>
                    <a:ext uri="{9D8B030D-6E8A-4147-A177-3AD203B41FA5}">
                      <a16:colId xmlns:a16="http://schemas.microsoft.com/office/drawing/2014/main" val="20000"/>
                    </a:ext>
                  </a:extLst>
                </a:gridCol>
                <a:gridCol w="2729488">
                  <a:extLst>
                    <a:ext uri="{9D8B030D-6E8A-4147-A177-3AD203B41FA5}">
                      <a16:colId xmlns:a16="http://schemas.microsoft.com/office/drawing/2014/main" val="20001"/>
                    </a:ext>
                  </a:extLst>
                </a:gridCol>
              </a:tblGrid>
              <a:tr h="595313">
                <a:tc>
                  <a:txBody>
                    <a:bodyPr/>
                    <a:lstStyle>
                      <a:lvl1pPr marL="0" algn="l" defTabSz="795827" rtl="0" eaLnBrk="1" latinLnBrk="0" hangingPunct="1">
                        <a:defRPr sz="1600" kern="1200">
                          <a:solidFill>
                            <a:schemeClr val="tx1"/>
                          </a:solidFill>
                          <a:latin typeface="Verdana"/>
                        </a:defRPr>
                      </a:lvl1pPr>
                      <a:lvl2pPr marL="397913" algn="l" defTabSz="795827" rtl="0" eaLnBrk="1" latinLnBrk="0" hangingPunct="1">
                        <a:defRPr sz="1600" kern="1200">
                          <a:solidFill>
                            <a:schemeClr val="tx1"/>
                          </a:solidFill>
                          <a:latin typeface="Verdana"/>
                        </a:defRPr>
                      </a:lvl2pPr>
                      <a:lvl3pPr marL="795827" algn="l" defTabSz="795827" rtl="0" eaLnBrk="1" latinLnBrk="0" hangingPunct="1">
                        <a:defRPr sz="1600" kern="1200">
                          <a:solidFill>
                            <a:schemeClr val="tx1"/>
                          </a:solidFill>
                          <a:latin typeface="Verdana"/>
                        </a:defRPr>
                      </a:lvl3pPr>
                      <a:lvl4pPr marL="1193759" algn="l" defTabSz="795827" rtl="0" eaLnBrk="1" latinLnBrk="0" hangingPunct="1">
                        <a:defRPr sz="1600" kern="1200">
                          <a:solidFill>
                            <a:schemeClr val="tx1"/>
                          </a:solidFill>
                          <a:latin typeface="Verdana"/>
                        </a:defRPr>
                      </a:lvl4pPr>
                      <a:lvl5pPr marL="1591675" algn="l" defTabSz="795827" rtl="0" eaLnBrk="1" latinLnBrk="0" hangingPunct="1">
                        <a:defRPr sz="1600" kern="1200">
                          <a:solidFill>
                            <a:schemeClr val="tx1"/>
                          </a:solidFill>
                          <a:latin typeface="Verdana"/>
                        </a:defRPr>
                      </a:lvl5pPr>
                      <a:lvl6pPr marL="1989599" algn="l" defTabSz="795827" rtl="0" eaLnBrk="1" latinLnBrk="0" hangingPunct="1">
                        <a:defRPr sz="1600" kern="1200">
                          <a:solidFill>
                            <a:schemeClr val="tx1"/>
                          </a:solidFill>
                          <a:latin typeface="Verdana"/>
                        </a:defRPr>
                      </a:lvl6pPr>
                      <a:lvl7pPr marL="2387519" algn="l" defTabSz="795827" rtl="0" eaLnBrk="1" latinLnBrk="0" hangingPunct="1">
                        <a:defRPr sz="1600" kern="1200">
                          <a:solidFill>
                            <a:schemeClr val="tx1"/>
                          </a:solidFill>
                          <a:latin typeface="Verdana"/>
                        </a:defRPr>
                      </a:lvl7pPr>
                      <a:lvl8pPr marL="2785446" algn="l" defTabSz="795827" rtl="0" eaLnBrk="1" latinLnBrk="0" hangingPunct="1">
                        <a:defRPr sz="1600" kern="1200">
                          <a:solidFill>
                            <a:schemeClr val="tx1"/>
                          </a:solidFill>
                          <a:latin typeface="Verdana"/>
                        </a:defRPr>
                      </a:lvl8pPr>
                      <a:lvl9pPr marL="3183360" algn="l" defTabSz="795827" rtl="0" eaLnBrk="1" latinLnBrk="0" hangingPunct="1">
                        <a:defRPr sz="1600" kern="1200">
                          <a:solidFill>
                            <a:schemeClr val="tx1"/>
                          </a:solidFill>
                          <a:latin typeface="Verdana"/>
                        </a:defRPr>
                      </a:lvl9pPr>
                    </a:lstStyle>
                    <a:p>
                      <a:pPr algn="ctr"/>
                      <a:r>
                        <a:rPr lang="pt-BR" sz="2100" dirty="0"/>
                        <a:t>KR$</a:t>
                      </a:r>
                      <a:r>
                        <a:rPr lang="pt-BR" sz="2100" baseline="0" dirty="0"/>
                        <a:t> </a:t>
                      </a:r>
                      <a:r>
                        <a:rPr lang="pt-BR" sz="3000" baseline="0" dirty="0"/>
                        <a:t>100,00</a:t>
                      </a:r>
                      <a:endParaRPr lang="pt-BR" sz="3000" dirty="0"/>
                    </a:p>
                  </a:txBody>
                  <a:tcPr marL="137159" marR="137159" marT="68690" marB="6869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E89DE5"/>
                    </a:solidFill>
                  </a:tcPr>
                </a:tc>
                <a:tc>
                  <a:txBody>
                    <a:bodyPr/>
                    <a:lstStyle>
                      <a:lvl1pPr marL="0" algn="l" defTabSz="795827" rtl="0" eaLnBrk="1" latinLnBrk="0" hangingPunct="1">
                        <a:defRPr sz="1600" kern="1200">
                          <a:solidFill>
                            <a:schemeClr val="tx1"/>
                          </a:solidFill>
                          <a:latin typeface="Verdana"/>
                        </a:defRPr>
                      </a:lvl1pPr>
                      <a:lvl2pPr marL="397913" algn="l" defTabSz="795827" rtl="0" eaLnBrk="1" latinLnBrk="0" hangingPunct="1">
                        <a:defRPr sz="1600" kern="1200">
                          <a:solidFill>
                            <a:schemeClr val="tx1"/>
                          </a:solidFill>
                          <a:latin typeface="Verdana"/>
                        </a:defRPr>
                      </a:lvl2pPr>
                      <a:lvl3pPr marL="795827" algn="l" defTabSz="795827" rtl="0" eaLnBrk="1" latinLnBrk="0" hangingPunct="1">
                        <a:defRPr sz="1600" kern="1200">
                          <a:solidFill>
                            <a:schemeClr val="tx1"/>
                          </a:solidFill>
                          <a:latin typeface="Verdana"/>
                        </a:defRPr>
                      </a:lvl3pPr>
                      <a:lvl4pPr marL="1193759" algn="l" defTabSz="795827" rtl="0" eaLnBrk="1" latinLnBrk="0" hangingPunct="1">
                        <a:defRPr sz="1600" kern="1200">
                          <a:solidFill>
                            <a:schemeClr val="tx1"/>
                          </a:solidFill>
                          <a:latin typeface="Verdana"/>
                        </a:defRPr>
                      </a:lvl4pPr>
                      <a:lvl5pPr marL="1591675" algn="l" defTabSz="795827" rtl="0" eaLnBrk="1" latinLnBrk="0" hangingPunct="1">
                        <a:defRPr sz="1600" kern="1200">
                          <a:solidFill>
                            <a:schemeClr val="tx1"/>
                          </a:solidFill>
                          <a:latin typeface="Verdana"/>
                        </a:defRPr>
                      </a:lvl5pPr>
                      <a:lvl6pPr marL="1989599" algn="l" defTabSz="795827" rtl="0" eaLnBrk="1" latinLnBrk="0" hangingPunct="1">
                        <a:defRPr sz="1600" kern="1200">
                          <a:solidFill>
                            <a:schemeClr val="tx1"/>
                          </a:solidFill>
                          <a:latin typeface="Verdana"/>
                        </a:defRPr>
                      </a:lvl6pPr>
                      <a:lvl7pPr marL="2387519" algn="l" defTabSz="795827" rtl="0" eaLnBrk="1" latinLnBrk="0" hangingPunct="1">
                        <a:defRPr sz="1600" kern="1200">
                          <a:solidFill>
                            <a:schemeClr val="tx1"/>
                          </a:solidFill>
                          <a:latin typeface="Verdana"/>
                        </a:defRPr>
                      </a:lvl7pPr>
                      <a:lvl8pPr marL="2785446" algn="l" defTabSz="795827" rtl="0" eaLnBrk="1" latinLnBrk="0" hangingPunct="1">
                        <a:defRPr sz="1600" kern="1200">
                          <a:solidFill>
                            <a:schemeClr val="tx1"/>
                          </a:solidFill>
                          <a:latin typeface="Verdana"/>
                        </a:defRPr>
                      </a:lvl8pPr>
                      <a:lvl9pPr marL="3183360" algn="l" defTabSz="795827" rtl="0" eaLnBrk="1" latinLnBrk="0" hangingPunct="1">
                        <a:defRPr sz="1600" kern="1200">
                          <a:solidFill>
                            <a:schemeClr val="tx1"/>
                          </a:solidFill>
                          <a:latin typeface="Verdana"/>
                        </a:defRPr>
                      </a:lvl9pPr>
                    </a:lstStyle>
                    <a:p>
                      <a:pPr algn="ctr"/>
                      <a:r>
                        <a:rPr lang="pt-BR" sz="3000" dirty="0"/>
                        <a:t>40</a:t>
                      </a:r>
                    </a:p>
                  </a:txBody>
                  <a:tcPr marL="137159" marR="137159" marT="68690" marB="6869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E89DE5"/>
                    </a:solidFill>
                  </a:tcPr>
                </a:tc>
                <a:extLst>
                  <a:ext uri="{0D108BD9-81ED-4DB2-BD59-A6C34878D82A}">
                    <a16:rowId xmlns:a16="http://schemas.microsoft.com/office/drawing/2014/main" val="10000"/>
                  </a:ext>
                </a:extLst>
              </a:tr>
            </a:tbl>
          </a:graphicData>
        </a:graphic>
      </p:graphicFrame>
      <p:pic>
        <p:nvPicPr>
          <p:cNvPr id="115725" name="Picture 11" descr="C:\Users\Pallesi\AppData\Roaming\PixelMetrics\CaptureWiz\Temp\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766" y="4433367"/>
            <a:ext cx="12909922" cy="3733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115726" name="Grupo 197"/>
          <p:cNvGrpSpPr>
            <a:grpSpLocks/>
          </p:cNvGrpSpPr>
          <p:nvPr/>
        </p:nvGrpSpPr>
        <p:grpSpPr bwMode="auto">
          <a:xfrm>
            <a:off x="881336" y="1471092"/>
            <a:ext cx="2883317" cy="2464593"/>
            <a:chOff x="5056188" y="979488"/>
            <a:chExt cx="3170237" cy="4229100"/>
          </a:xfrm>
        </p:grpSpPr>
        <p:grpSp>
          <p:nvGrpSpPr>
            <p:cNvPr id="115727" name="Group 538"/>
            <p:cNvGrpSpPr>
              <a:grpSpLocks/>
            </p:cNvGrpSpPr>
            <p:nvPr/>
          </p:nvGrpSpPr>
          <p:grpSpPr bwMode="auto">
            <a:xfrm>
              <a:off x="6678656" y="3159194"/>
              <a:ext cx="622304" cy="136528"/>
              <a:chOff x="4207" y="1990"/>
              <a:chExt cx="392" cy="86"/>
            </a:xfrm>
          </p:grpSpPr>
          <p:sp>
            <p:nvSpPr>
              <p:cNvPr id="97" name="Oval 393"/>
              <p:cNvSpPr>
                <a:spLocks noChangeArrowheads="1"/>
              </p:cNvSpPr>
              <p:nvPr/>
            </p:nvSpPr>
            <p:spPr bwMode="gray">
              <a:xfrm rot="10800000">
                <a:off x="4373" y="2017"/>
                <a:ext cx="55" cy="18"/>
              </a:xfrm>
              <a:prstGeom prst="ellipse">
                <a:avLst/>
              </a:prstGeom>
              <a:gradFill rotWithShape="1">
                <a:gsLst>
                  <a:gs pos="0">
                    <a:srgbClr val="C62C20">
                      <a:gamma/>
                      <a:shade val="46275"/>
                      <a:invGamma/>
                    </a:srgbClr>
                  </a:gs>
                  <a:gs pos="100000">
                    <a:srgbClr val="C62C2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98" name="Freeform 394"/>
              <p:cNvSpPr>
                <a:spLocks noEditPoints="1"/>
              </p:cNvSpPr>
              <p:nvPr/>
            </p:nvSpPr>
            <p:spPr bwMode="gray">
              <a:xfrm>
                <a:off x="4209" y="1989"/>
                <a:ext cx="386" cy="88"/>
              </a:xfrm>
              <a:custGeom>
                <a:avLst/>
                <a:gdLst>
                  <a:gd name="T0" fmla="*/ 428 w 856"/>
                  <a:gd name="T1" fmla="*/ 0 h 187"/>
                  <a:gd name="T2" fmla="*/ 0 w 856"/>
                  <a:gd name="T3" fmla="*/ 94 h 187"/>
                  <a:gd name="T4" fmla="*/ 428 w 856"/>
                  <a:gd name="T5" fmla="*/ 187 h 187"/>
                  <a:gd name="T6" fmla="*/ 856 w 856"/>
                  <a:gd name="T7" fmla="*/ 94 h 187"/>
                  <a:gd name="T8" fmla="*/ 428 w 856"/>
                  <a:gd name="T9" fmla="*/ 0 h 187"/>
                  <a:gd name="T10" fmla="*/ 428 w 856"/>
                  <a:gd name="T11" fmla="*/ 128 h 187"/>
                  <a:gd name="T12" fmla="*/ 105 w 856"/>
                  <a:gd name="T13" fmla="*/ 73 h 187"/>
                  <a:gd name="T14" fmla="*/ 428 w 856"/>
                  <a:gd name="T15" fmla="*/ 17 h 187"/>
                  <a:gd name="T16" fmla="*/ 751 w 856"/>
                  <a:gd name="T17" fmla="*/ 73 h 187"/>
                  <a:gd name="T18" fmla="*/ 428 w 856"/>
                  <a:gd name="T19" fmla="*/ 1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87">
                    <a:moveTo>
                      <a:pt x="428" y="0"/>
                    </a:moveTo>
                    <a:cubicBezTo>
                      <a:pt x="191" y="0"/>
                      <a:pt x="0" y="42"/>
                      <a:pt x="0" y="94"/>
                    </a:cubicBezTo>
                    <a:cubicBezTo>
                      <a:pt x="0" y="145"/>
                      <a:pt x="191" y="187"/>
                      <a:pt x="428" y="187"/>
                    </a:cubicBezTo>
                    <a:cubicBezTo>
                      <a:pt x="664" y="187"/>
                      <a:pt x="856" y="145"/>
                      <a:pt x="856" y="94"/>
                    </a:cubicBezTo>
                    <a:cubicBezTo>
                      <a:pt x="856" y="42"/>
                      <a:pt x="664" y="0"/>
                      <a:pt x="428" y="0"/>
                    </a:cubicBezTo>
                    <a:close/>
                    <a:moveTo>
                      <a:pt x="428" y="128"/>
                    </a:moveTo>
                    <a:cubicBezTo>
                      <a:pt x="250" y="128"/>
                      <a:pt x="105" y="103"/>
                      <a:pt x="105" y="73"/>
                    </a:cubicBezTo>
                    <a:cubicBezTo>
                      <a:pt x="105" y="42"/>
                      <a:pt x="250" y="17"/>
                      <a:pt x="428" y="17"/>
                    </a:cubicBezTo>
                    <a:cubicBezTo>
                      <a:pt x="606" y="17"/>
                      <a:pt x="751" y="42"/>
                      <a:pt x="751" y="73"/>
                    </a:cubicBezTo>
                    <a:cubicBezTo>
                      <a:pt x="751" y="103"/>
                      <a:pt x="606" y="128"/>
                      <a:pt x="428" y="128"/>
                    </a:cubicBezTo>
                    <a:close/>
                  </a:path>
                </a:pathLst>
              </a:custGeom>
              <a:solidFill>
                <a:sysClr val="windowText" lastClr="000000"/>
              </a:soli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28" name="Group 537"/>
            <p:cNvGrpSpPr>
              <a:grpSpLocks/>
            </p:cNvGrpSpPr>
            <p:nvPr/>
          </p:nvGrpSpPr>
          <p:grpSpPr bwMode="auto">
            <a:xfrm>
              <a:off x="6740527" y="4063963"/>
              <a:ext cx="1485900" cy="325434"/>
              <a:chOff x="4246" y="2560"/>
              <a:chExt cx="936" cy="205"/>
            </a:xfrm>
          </p:grpSpPr>
          <p:sp>
            <p:nvSpPr>
              <p:cNvPr id="95" name="Oval 395"/>
              <p:cNvSpPr>
                <a:spLocks noChangeArrowheads="1"/>
              </p:cNvSpPr>
              <p:nvPr/>
            </p:nvSpPr>
            <p:spPr bwMode="gray">
              <a:xfrm rot="10800000">
                <a:off x="4645" y="2625"/>
                <a:ext cx="125" cy="28"/>
              </a:xfrm>
              <a:prstGeom prst="ellipse">
                <a:avLst/>
              </a:prstGeom>
              <a:gradFill rotWithShape="1">
                <a:gsLst>
                  <a:gs pos="0">
                    <a:srgbClr val="C62C20">
                      <a:gamma/>
                      <a:shade val="46275"/>
                      <a:invGamma/>
                    </a:srgbClr>
                  </a:gs>
                  <a:gs pos="100000">
                    <a:srgbClr val="C62C2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96" name="Freeform 396"/>
              <p:cNvSpPr>
                <a:spLocks noEditPoints="1"/>
              </p:cNvSpPr>
              <p:nvPr/>
            </p:nvSpPr>
            <p:spPr bwMode="gray">
              <a:xfrm>
                <a:off x="4246" y="2560"/>
                <a:ext cx="936" cy="206"/>
              </a:xfrm>
              <a:custGeom>
                <a:avLst/>
                <a:gdLst>
                  <a:gd name="T0" fmla="*/ 428 w 856"/>
                  <a:gd name="T1" fmla="*/ 0 h 187"/>
                  <a:gd name="T2" fmla="*/ 0 w 856"/>
                  <a:gd name="T3" fmla="*/ 94 h 187"/>
                  <a:gd name="T4" fmla="*/ 428 w 856"/>
                  <a:gd name="T5" fmla="*/ 187 h 187"/>
                  <a:gd name="T6" fmla="*/ 856 w 856"/>
                  <a:gd name="T7" fmla="*/ 94 h 187"/>
                  <a:gd name="T8" fmla="*/ 428 w 856"/>
                  <a:gd name="T9" fmla="*/ 0 h 187"/>
                  <a:gd name="T10" fmla="*/ 428 w 856"/>
                  <a:gd name="T11" fmla="*/ 128 h 187"/>
                  <a:gd name="T12" fmla="*/ 105 w 856"/>
                  <a:gd name="T13" fmla="*/ 73 h 187"/>
                  <a:gd name="T14" fmla="*/ 428 w 856"/>
                  <a:gd name="T15" fmla="*/ 17 h 187"/>
                  <a:gd name="T16" fmla="*/ 751 w 856"/>
                  <a:gd name="T17" fmla="*/ 73 h 187"/>
                  <a:gd name="T18" fmla="*/ 428 w 856"/>
                  <a:gd name="T19" fmla="*/ 1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87">
                    <a:moveTo>
                      <a:pt x="428" y="0"/>
                    </a:moveTo>
                    <a:cubicBezTo>
                      <a:pt x="191" y="0"/>
                      <a:pt x="0" y="42"/>
                      <a:pt x="0" y="94"/>
                    </a:cubicBezTo>
                    <a:cubicBezTo>
                      <a:pt x="0" y="145"/>
                      <a:pt x="191" y="187"/>
                      <a:pt x="428" y="187"/>
                    </a:cubicBezTo>
                    <a:cubicBezTo>
                      <a:pt x="664" y="187"/>
                      <a:pt x="856" y="145"/>
                      <a:pt x="856" y="94"/>
                    </a:cubicBezTo>
                    <a:cubicBezTo>
                      <a:pt x="856" y="42"/>
                      <a:pt x="664" y="0"/>
                      <a:pt x="428" y="0"/>
                    </a:cubicBezTo>
                    <a:close/>
                    <a:moveTo>
                      <a:pt x="428" y="128"/>
                    </a:moveTo>
                    <a:cubicBezTo>
                      <a:pt x="250" y="128"/>
                      <a:pt x="105" y="103"/>
                      <a:pt x="105" y="73"/>
                    </a:cubicBezTo>
                    <a:cubicBezTo>
                      <a:pt x="105" y="42"/>
                      <a:pt x="250" y="17"/>
                      <a:pt x="428" y="17"/>
                    </a:cubicBezTo>
                    <a:cubicBezTo>
                      <a:pt x="606" y="17"/>
                      <a:pt x="751" y="42"/>
                      <a:pt x="751" y="73"/>
                    </a:cubicBezTo>
                    <a:cubicBezTo>
                      <a:pt x="751" y="103"/>
                      <a:pt x="606" y="128"/>
                      <a:pt x="428" y="128"/>
                    </a:cubicBezTo>
                    <a:close/>
                  </a:path>
                </a:pathLst>
              </a:custGeom>
              <a:solidFill>
                <a:sysClr val="windowText" lastClr="000000"/>
              </a:soli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29" name="Group 539"/>
            <p:cNvGrpSpPr>
              <a:grpSpLocks/>
            </p:cNvGrpSpPr>
            <p:nvPr/>
          </p:nvGrpSpPr>
          <p:grpSpPr bwMode="auto">
            <a:xfrm>
              <a:off x="6054725" y="3578284"/>
              <a:ext cx="836613" cy="184153"/>
              <a:chOff x="3814" y="2254"/>
              <a:chExt cx="527" cy="116"/>
            </a:xfrm>
          </p:grpSpPr>
          <p:sp>
            <p:nvSpPr>
              <p:cNvPr id="93" name="Oval 397"/>
              <p:cNvSpPr>
                <a:spLocks noChangeArrowheads="1"/>
              </p:cNvSpPr>
              <p:nvPr/>
            </p:nvSpPr>
            <p:spPr bwMode="gray">
              <a:xfrm>
                <a:off x="4037" y="2293"/>
                <a:ext cx="71" cy="15"/>
              </a:xfrm>
              <a:prstGeom prst="ellipse">
                <a:avLst/>
              </a:prstGeom>
              <a:gradFill rotWithShape="1">
                <a:gsLst>
                  <a:gs pos="0">
                    <a:srgbClr val="C62C20">
                      <a:gamma/>
                      <a:shade val="46275"/>
                      <a:invGamma/>
                    </a:srgbClr>
                  </a:gs>
                  <a:gs pos="100000">
                    <a:srgbClr val="C62C2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94" name="Freeform 398"/>
              <p:cNvSpPr>
                <a:spLocks noEditPoints="1"/>
              </p:cNvSpPr>
              <p:nvPr/>
            </p:nvSpPr>
            <p:spPr bwMode="gray">
              <a:xfrm>
                <a:off x="3814" y="2254"/>
                <a:ext cx="527" cy="116"/>
              </a:xfrm>
              <a:custGeom>
                <a:avLst/>
                <a:gdLst>
                  <a:gd name="T0" fmla="*/ 428 w 856"/>
                  <a:gd name="T1" fmla="*/ 0 h 187"/>
                  <a:gd name="T2" fmla="*/ 0 w 856"/>
                  <a:gd name="T3" fmla="*/ 94 h 187"/>
                  <a:gd name="T4" fmla="*/ 428 w 856"/>
                  <a:gd name="T5" fmla="*/ 187 h 187"/>
                  <a:gd name="T6" fmla="*/ 856 w 856"/>
                  <a:gd name="T7" fmla="*/ 94 h 187"/>
                  <a:gd name="T8" fmla="*/ 428 w 856"/>
                  <a:gd name="T9" fmla="*/ 0 h 187"/>
                  <a:gd name="T10" fmla="*/ 428 w 856"/>
                  <a:gd name="T11" fmla="*/ 128 h 187"/>
                  <a:gd name="T12" fmla="*/ 105 w 856"/>
                  <a:gd name="T13" fmla="*/ 73 h 187"/>
                  <a:gd name="T14" fmla="*/ 428 w 856"/>
                  <a:gd name="T15" fmla="*/ 17 h 187"/>
                  <a:gd name="T16" fmla="*/ 751 w 856"/>
                  <a:gd name="T17" fmla="*/ 73 h 187"/>
                  <a:gd name="T18" fmla="*/ 428 w 856"/>
                  <a:gd name="T19" fmla="*/ 1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87">
                    <a:moveTo>
                      <a:pt x="428" y="0"/>
                    </a:moveTo>
                    <a:cubicBezTo>
                      <a:pt x="191" y="0"/>
                      <a:pt x="0" y="42"/>
                      <a:pt x="0" y="94"/>
                    </a:cubicBezTo>
                    <a:cubicBezTo>
                      <a:pt x="0" y="145"/>
                      <a:pt x="191" y="187"/>
                      <a:pt x="428" y="187"/>
                    </a:cubicBezTo>
                    <a:cubicBezTo>
                      <a:pt x="664" y="187"/>
                      <a:pt x="856" y="145"/>
                      <a:pt x="856" y="94"/>
                    </a:cubicBezTo>
                    <a:cubicBezTo>
                      <a:pt x="856" y="42"/>
                      <a:pt x="664" y="0"/>
                      <a:pt x="428" y="0"/>
                    </a:cubicBezTo>
                    <a:close/>
                    <a:moveTo>
                      <a:pt x="428" y="128"/>
                    </a:moveTo>
                    <a:cubicBezTo>
                      <a:pt x="250" y="128"/>
                      <a:pt x="105" y="103"/>
                      <a:pt x="105" y="73"/>
                    </a:cubicBezTo>
                    <a:cubicBezTo>
                      <a:pt x="105" y="42"/>
                      <a:pt x="250" y="17"/>
                      <a:pt x="428" y="17"/>
                    </a:cubicBezTo>
                    <a:cubicBezTo>
                      <a:pt x="606" y="17"/>
                      <a:pt x="751" y="42"/>
                      <a:pt x="751" y="73"/>
                    </a:cubicBezTo>
                    <a:cubicBezTo>
                      <a:pt x="751" y="103"/>
                      <a:pt x="606" y="128"/>
                      <a:pt x="428" y="128"/>
                    </a:cubicBezTo>
                    <a:close/>
                  </a:path>
                </a:pathLst>
              </a:custGeom>
              <a:solidFill>
                <a:sysClr val="windowText" lastClr="000000"/>
              </a:soli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30" name="Group 536"/>
            <p:cNvGrpSpPr>
              <a:grpSpLocks/>
            </p:cNvGrpSpPr>
            <p:nvPr/>
          </p:nvGrpSpPr>
          <p:grpSpPr bwMode="auto">
            <a:xfrm>
              <a:off x="5216757" y="4638790"/>
              <a:ext cx="2595560" cy="569793"/>
              <a:chOff x="3122" y="3061"/>
              <a:chExt cx="1767" cy="388"/>
            </a:xfrm>
          </p:grpSpPr>
          <p:sp>
            <p:nvSpPr>
              <p:cNvPr id="90" name="Oval 399"/>
              <p:cNvSpPr>
                <a:spLocks noChangeArrowheads="1"/>
              </p:cNvSpPr>
              <p:nvPr/>
            </p:nvSpPr>
            <p:spPr bwMode="gray">
              <a:xfrm>
                <a:off x="3875" y="3185"/>
                <a:ext cx="238" cy="53"/>
              </a:xfrm>
              <a:prstGeom prst="ellipse">
                <a:avLst/>
              </a:prstGeom>
              <a:gradFill rotWithShape="1">
                <a:gsLst>
                  <a:gs pos="0">
                    <a:srgbClr val="C62C20">
                      <a:gamma/>
                      <a:shade val="46275"/>
                      <a:invGamma/>
                    </a:srgbClr>
                  </a:gs>
                  <a:gs pos="100000">
                    <a:srgbClr val="C62C2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91" name="Freeform 432"/>
              <p:cNvSpPr>
                <a:spLocks noEditPoints="1"/>
              </p:cNvSpPr>
              <p:nvPr/>
            </p:nvSpPr>
            <p:spPr bwMode="gray">
              <a:xfrm>
                <a:off x="3122" y="3062"/>
                <a:ext cx="1767" cy="387"/>
              </a:xfrm>
              <a:custGeom>
                <a:avLst/>
                <a:gdLst>
                  <a:gd name="T0" fmla="*/ 428 w 856"/>
                  <a:gd name="T1" fmla="*/ 0 h 187"/>
                  <a:gd name="T2" fmla="*/ 0 w 856"/>
                  <a:gd name="T3" fmla="*/ 94 h 187"/>
                  <a:gd name="T4" fmla="*/ 428 w 856"/>
                  <a:gd name="T5" fmla="*/ 187 h 187"/>
                  <a:gd name="T6" fmla="*/ 856 w 856"/>
                  <a:gd name="T7" fmla="*/ 94 h 187"/>
                  <a:gd name="T8" fmla="*/ 428 w 856"/>
                  <a:gd name="T9" fmla="*/ 0 h 187"/>
                  <a:gd name="T10" fmla="*/ 428 w 856"/>
                  <a:gd name="T11" fmla="*/ 128 h 187"/>
                  <a:gd name="T12" fmla="*/ 105 w 856"/>
                  <a:gd name="T13" fmla="*/ 73 h 187"/>
                  <a:gd name="T14" fmla="*/ 428 w 856"/>
                  <a:gd name="T15" fmla="*/ 17 h 187"/>
                  <a:gd name="T16" fmla="*/ 751 w 856"/>
                  <a:gd name="T17" fmla="*/ 73 h 187"/>
                  <a:gd name="T18" fmla="*/ 428 w 856"/>
                  <a:gd name="T19" fmla="*/ 1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87">
                    <a:moveTo>
                      <a:pt x="428" y="0"/>
                    </a:moveTo>
                    <a:cubicBezTo>
                      <a:pt x="191" y="0"/>
                      <a:pt x="0" y="42"/>
                      <a:pt x="0" y="94"/>
                    </a:cubicBezTo>
                    <a:cubicBezTo>
                      <a:pt x="0" y="145"/>
                      <a:pt x="191" y="187"/>
                      <a:pt x="428" y="187"/>
                    </a:cubicBezTo>
                    <a:cubicBezTo>
                      <a:pt x="664" y="187"/>
                      <a:pt x="856" y="145"/>
                      <a:pt x="856" y="94"/>
                    </a:cubicBezTo>
                    <a:cubicBezTo>
                      <a:pt x="856" y="42"/>
                      <a:pt x="664" y="0"/>
                      <a:pt x="428" y="0"/>
                    </a:cubicBezTo>
                    <a:close/>
                    <a:moveTo>
                      <a:pt x="428" y="128"/>
                    </a:moveTo>
                    <a:cubicBezTo>
                      <a:pt x="250" y="128"/>
                      <a:pt x="105" y="103"/>
                      <a:pt x="105" y="73"/>
                    </a:cubicBezTo>
                    <a:cubicBezTo>
                      <a:pt x="105" y="42"/>
                      <a:pt x="250" y="17"/>
                      <a:pt x="428" y="17"/>
                    </a:cubicBezTo>
                    <a:cubicBezTo>
                      <a:pt x="606" y="17"/>
                      <a:pt x="751" y="42"/>
                      <a:pt x="751" y="73"/>
                    </a:cubicBezTo>
                    <a:cubicBezTo>
                      <a:pt x="751" y="103"/>
                      <a:pt x="606" y="128"/>
                      <a:pt x="428" y="128"/>
                    </a:cubicBezTo>
                    <a:close/>
                  </a:path>
                </a:pathLst>
              </a:custGeom>
              <a:solidFill>
                <a:sysClr val="windowText" lastClr="000000"/>
              </a:soli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31" name="Group 416"/>
            <p:cNvGrpSpPr>
              <a:grpSpLocks/>
            </p:cNvGrpSpPr>
            <p:nvPr/>
          </p:nvGrpSpPr>
          <p:grpSpPr bwMode="auto">
            <a:xfrm rot="237794">
              <a:off x="5959481" y="1531741"/>
              <a:ext cx="699931" cy="2113121"/>
              <a:chOff x="939" y="1356"/>
              <a:chExt cx="420" cy="1268"/>
            </a:xfrm>
          </p:grpSpPr>
          <p:sp>
            <p:nvSpPr>
              <p:cNvPr id="75" name="Freeform 417"/>
              <p:cNvSpPr>
                <a:spLocks/>
              </p:cNvSpPr>
              <p:nvPr/>
            </p:nvSpPr>
            <p:spPr bwMode="gray">
              <a:xfrm rot="259156">
                <a:off x="940" y="1355"/>
                <a:ext cx="417" cy="1089"/>
              </a:xfrm>
              <a:custGeom>
                <a:avLst/>
                <a:gdLst>
                  <a:gd name="T0" fmla="*/ 379 w 385"/>
                  <a:gd name="T1" fmla="*/ 911 h 997"/>
                  <a:gd name="T2" fmla="*/ 337 w 385"/>
                  <a:gd name="T3" fmla="*/ 749 h 997"/>
                  <a:gd name="T4" fmla="*/ 328 w 385"/>
                  <a:gd name="T5" fmla="*/ 727 h 997"/>
                  <a:gd name="T6" fmla="*/ 215 w 385"/>
                  <a:gd name="T7" fmla="*/ 358 h 997"/>
                  <a:gd name="T8" fmla="*/ 215 w 385"/>
                  <a:gd name="T9" fmla="*/ 357 h 997"/>
                  <a:gd name="T10" fmla="*/ 264 w 385"/>
                  <a:gd name="T11" fmla="*/ 193 h 997"/>
                  <a:gd name="T12" fmla="*/ 277 w 385"/>
                  <a:gd name="T13" fmla="*/ 116 h 997"/>
                  <a:gd name="T14" fmla="*/ 187 w 385"/>
                  <a:gd name="T15" fmla="*/ 11 h 997"/>
                  <a:gd name="T16" fmla="*/ 145 w 385"/>
                  <a:gd name="T17" fmla="*/ 59 h 997"/>
                  <a:gd name="T18" fmla="*/ 138 w 385"/>
                  <a:gd name="T19" fmla="*/ 33 h 997"/>
                  <a:gd name="T20" fmla="*/ 124 w 385"/>
                  <a:gd name="T21" fmla="*/ 74 h 997"/>
                  <a:gd name="T22" fmla="*/ 82 w 385"/>
                  <a:gd name="T23" fmla="*/ 12 h 997"/>
                  <a:gd name="T24" fmla="*/ 75 w 385"/>
                  <a:gd name="T25" fmla="*/ 57 h 997"/>
                  <a:gd name="T26" fmla="*/ 42 w 385"/>
                  <a:gd name="T27" fmla="*/ 50 h 997"/>
                  <a:gd name="T28" fmla="*/ 11 w 385"/>
                  <a:gd name="T29" fmla="*/ 111 h 997"/>
                  <a:gd name="T30" fmla="*/ 11 w 385"/>
                  <a:gd name="T31" fmla="*/ 204 h 997"/>
                  <a:gd name="T32" fmla="*/ 173 w 385"/>
                  <a:gd name="T33" fmla="*/ 371 h 997"/>
                  <a:gd name="T34" fmla="*/ 249 w 385"/>
                  <a:gd name="T35" fmla="*/ 751 h 997"/>
                  <a:gd name="T36" fmla="*/ 250 w 385"/>
                  <a:gd name="T37" fmla="*/ 770 h 997"/>
                  <a:gd name="T38" fmla="*/ 290 w 385"/>
                  <a:gd name="T39" fmla="*/ 939 h 997"/>
                  <a:gd name="T40" fmla="*/ 310 w 385"/>
                  <a:gd name="T41" fmla="*/ 984 h 997"/>
                  <a:gd name="T42" fmla="*/ 379 w 385"/>
                  <a:gd name="T43" fmla="*/ 971 h 997"/>
                  <a:gd name="T44" fmla="*/ 379 w 385"/>
                  <a:gd name="T45" fmla="*/ 91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5" h="997">
                    <a:moveTo>
                      <a:pt x="379" y="911"/>
                    </a:moveTo>
                    <a:cubicBezTo>
                      <a:pt x="337" y="749"/>
                      <a:pt x="337" y="749"/>
                      <a:pt x="337" y="749"/>
                    </a:cubicBezTo>
                    <a:cubicBezTo>
                      <a:pt x="337" y="749"/>
                      <a:pt x="333" y="736"/>
                      <a:pt x="328" y="727"/>
                    </a:cubicBezTo>
                    <a:cubicBezTo>
                      <a:pt x="215" y="358"/>
                      <a:pt x="215" y="358"/>
                      <a:pt x="215" y="358"/>
                    </a:cubicBezTo>
                    <a:cubicBezTo>
                      <a:pt x="215" y="357"/>
                      <a:pt x="215" y="357"/>
                      <a:pt x="215" y="357"/>
                    </a:cubicBezTo>
                    <a:cubicBezTo>
                      <a:pt x="264" y="193"/>
                      <a:pt x="264" y="193"/>
                      <a:pt x="264" y="193"/>
                    </a:cubicBezTo>
                    <a:cubicBezTo>
                      <a:pt x="276" y="170"/>
                      <a:pt x="277" y="116"/>
                      <a:pt x="277" y="116"/>
                    </a:cubicBezTo>
                    <a:cubicBezTo>
                      <a:pt x="253" y="42"/>
                      <a:pt x="187" y="11"/>
                      <a:pt x="187" y="11"/>
                    </a:cubicBezTo>
                    <a:cubicBezTo>
                      <a:pt x="187" y="11"/>
                      <a:pt x="156" y="46"/>
                      <a:pt x="145" y="59"/>
                    </a:cubicBezTo>
                    <a:cubicBezTo>
                      <a:pt x="144" y="41"/>
                      <a:pt x="138" y="33"/>
                      <a:pt x="138" y="33"/>
                    </a:cubicBezTo>
                    <a:cubicBezTo>
                      <a:pt x="134" y="34"/>
                      <a:pt x="127" y="59"/>
                      <a:pt x="124" y="74"/>
                    </a:cubicBezTo>
                    <a:cubicBezTo>
                      <a:pt x="93" y="0"/>
                      <a:pt x="82" y="12"/>
                      <a:pt x="82" y="12"/>
                    </a:cubicBezTo>
                    <a:cubicBezTo>
                      <a:pt x="75" y="57"/>
                      <a:pt x="75" y="57"/>
                      <a:pt x="75" y="57"/>
                    </a:cubicBezTo>
                    <a:cubicBezTo>
                      <a:pt x="75" y="57"/>
                      <a:pt x="50" y="49"/>
                      <a:pt x="42" y="50"/>
                    </a:cubicBezTo>
                    <a:cubicBezTo>
                      <a:pt x="24" y="52"/>
                      <a:pt x="11" y="111"/>
                      <a:pt x="11" y="111"/>
                    </a:cubicBezTo>
                    <a:cubicBezTo>
                      <a:pt x="0" y="157"/>
                      <a:pt x="0" y="184"/>
                      <a:pt x="11" y="204"/>
                    </a:cubicBezTo>
                    <a:cubicBezTo>
                      <a:pt x="34" y="243"/>
                      <a:pt x="125" y="328"/>
                      <a:pt x="173" y="371"/>
                    </a:cubicBezTo>
                    <a:cubicBezTo>
                      <a:pt x="193" y="469"/>
                      <a:pt x="249" y="752"/>
                      <a:pt x="249" y="751"/>
                    </a:cubicBezTo>
                    <a:cubicBezTo>
                      <a:pt x="249" y="753"/>
                      <a:pt x="250" y="762"/>
                      <a:pt x="250" y="770"/>
                    </a:cubicBezTo>
                    <a:cubicBezTo>
                      <a:pt x="290" y="939"/>
                      <a:pt x="290" y="939"/>
                      <a:pt x="290" y="939"/>
                    </a:cubicBezTo>
                    <a:cubicBezTo>
                      <a:pt x="290" y="939"/>
                      <a:pt x="299" y="971"/>
                      <a:pt x="310" y="984"/>
                    </a:cubicBezTo>
                    <a:cubicBezTo>
                      <a:pt x="310" y="984"/>
                      <a:pt x="351" y="997"/>
                      <a:pt x="379" y="971"/>
                    </a:cubicBezTo>
                    <a:cubicBezTo>
                      <a:pt x="379" y="971"/>
                      <a:pt x="385" y="940"/>
                      <a:pt x="379" y="911"/>
                    </a:cubicBezTo>
                    <a:close/>
                  </a:path>
                </a:pathLst>
              </a:custGeom>
              <a:gradFill rotWithShape="1">
                <a:gsLst>
                  <a:gs pos="0">
                    <a:srgbClr val="4C7013">
                      <a:gamma/>
                      <a:shade val="46275"/>
                      <a:invGamma/>
                    </a:srgbClr>
                  </a:gs>
                  <a:gs pos="100000">
                    <a:srgbClr val="4C7013"/>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6" name="Freeform 418"/>
              <p:cNvSpPr>
                <a:spLocks/>
              </p:cNvSpPr>
              <p:nvPr/>
            </p:nvSpPr>
            <p:spPr bwMode="gray">
              <a:xfrm rot="259156">
                <a:off x="1101" y="1365"/>
                <a:ext cx="170" cy="429"/>
              </a:xfrm>
              <a:custGeom>
                <a:avLst/>
                <a:gdLst>
                  <a:gd name="T0" fmla="*/ 0 w 156"/>
                  <a:gd name="T1" fmla="*/ 64 h 389"/>
                  <a:gd name="T2" fmla="*/ 79 w 156"/>
                  <a:gd name="T3" fmla="*/ 387 h 389"/>
                  <a:gd name="T4" fmla="*/ 102 w 156"/>
                  <a:gd name="T5" fmla="*/ 315 h 389"/>
                  <a:gd name="T6" fmla="*/ 145 w 156"/>
                  <a:gd name="T7" fmla="*/ 170 h 389"/>
                  <a:gd name="T8" fmla="*/ 153 w 156"/>
                  <a:gd name="T9" fmla="*/ 106 h 389"/>
                  <a:gd name="T10" fmla="*/ 63 w 156"/>
                  <a:gd name="T11" fmla="*/ 1 h 389"/>
                  <a:gd name="T12" fmla="*/ 0 w 156"/>
                  <a:gd name="T13" fmla="*/ 64 h 389"/>
                </a:gdLst>
                <a:ahLst/>
                <a:cxnLst>
                  <a:cxn ang="0">
                    <a:pos x="T0" y="T1"/>
                  </a:cxn>
                  <a:cxn ang="0">
                    <a:pos x="T2" y="T3"/>
                  </a:cxn>
                  <a:cxn ang="0">
                    <a:pos x="T4" y="T5"/>
                  </a:cxn>
                  <a:cxn ang="0">
                    <a:pos x="T6" y="T7"/>
                  </a:cxn>
                  <a:cxn ang="0">
                    <a:pos x="T8" y="T9"/>
                  </a:cxn>
                  <a:cxn ang="0">
                    <a:pos x="T10" y="T11"/>
                  </a:cxn>
                  <a:cxn ang="0">
                    <a:pos x="T12" y="T13"/>
                  </a:cxn>
                </a:cxnLst>
                <a:rect l="0" t="0" r="r" b="b"/>
                <a:pathLst>
                  <a:path w="156" h="389">
                    <a:moveTo>
                      <a:pt x="0" y="64"/>
                    </a:moveTo>
                    <a:cubicBezTo>
                      <a:pt x="0" y="64"/>
                      <a:pt x="66" y="329"/>
                      <a:pt x="79" y="387"/>
                    </a:cubicBezTo>
                    <a:cubicBezTo>
                      <a:pt x="79" y="389"/>
                      <a:pt x="101" y="320"/>
                      <a:pt x="102" y="315"/>
                    </a:cubicBezTo>
                    <a:cubicBezTo>
                      <a:pt x="118" y="266"/>
                      <a:pt x="145" y="170"/>
                      <a:pt x="145" y="170"/>
                    </a:cubicBezTo>
                    <a:cubicBezTo>
                      <a:pt x="145" y="170"/>
                      <a:pt x="156" y="134"/>
                      <a:pt x="153" y="106"/>
                    </a:cubicBezTo>
                    <a:cubicBezTo>
                      <a:pt x="149" y="72"/>
                      <a:pt x="91" y="0"/>
                      <a:pt x="63" y="1"/>
                    </a:cubicBezTo>
                    <a:cubicBezTo>
                      <a:pt x="39" y="2"/>
                      <a:pt x="0" y="64"/>
                      <a:pt x="0" y="64"/>
                    </a:cubicBezTo>
                    <a:close/>
                  </a:path>
                </a:pathLst>
              </a:custGeom>
              <a:gradFill rotWithShape="1">
                <a:gsLst>
                  <a:gs pos="0">
                    <a:srgbClr val="699B1A">
                      <a:gamma/>
                      <a:shade val="46275"/>
                      <a:invGamma/>
                    </a:srgbClr>
                  </a:gs>
                  <a:gs pos="100000">
                    <a:srgbClr val="699B1A"/>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7" name="Freeform 419"/>
              <p:cNvSpPr>
                <a:spLocks/>
              </p:cNvSpPr>
              <p:nvPr/>
            </p:nvSpPr>
            <p:spPr bwMode="gray">
              <a:xfrm rot="259156">
                <a:off x="937" y="1328"/>
                <a:ext cx="328" cy="802"/>
              </a:xfrm>
              <a:custGeom>
                <a:avLst/>
                <a:gdLst>
                  <a:gd name="T0" fmla="*/ 259 w 302"/>
                  <a:gd name="T1" fmla="*/ 721 h 721"/>
                  <a:gd name="T2" fmla="*/ 302 w 302"/>
                  <a:gd name="T3" fmla="*/ 710 h 721"/>
                  <a:gd name="T4" fmla="*/ 203 w 302"/>
                  <a:gd name="T5" fmla="*/ 315 h 721"/>
                  <a:gd name="T6" fmla="*/ 126 w 302"/>
                  <a:gd name="T7" fmla="*/ 28 h 721"/>
                  <a:gd name="T8" fmla="*/ 51 w 302"/>
                  <a:gd name="T9" fmla="*/ 1 h 721"/>
                  <a:gd name="T10" fmla="*/ 23 w 302"/>
                  <a:gd name="T11" fmla="*/ 49 h 721"/>
                  <a:gd name="T12" fmla="*/ 20 w 302"/>
                  <a:gd name="T13" fmla="*/ 155 h 721"/>
                  <a:gd name="T14" fmla="*/ 80 w 302"/>
                  <a:gd name="T15" fmla="*/ 225 h 721"/>
                  <a:gd name="T16" fmla="*/ 182 w 302"/>
                  <a:gd name="T17" fmla="*/ 322 h 721"/>
                  <a:gd name="T18" fmla="*/ 258 w 302"/>
                  <a:gd name="T19" fmla="*/ 700 h 721"/>
                  <a:gd name="T20" fmla="*/ 259 w 302"/>
                  <a:gd name="T21"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721">
                    <a:moveTo>
                      <a:pt x="259" y="721"/>
                    </a:moveTo>
                    <a:cubicBezTo>
                      <a:pt x="302" y="710"/>
                      <a:pt x="302" y="710"/>
                      <a:pt x="302" y="710"/>
                    </a:cubicBezTo>
                    <a:cubicBezTo>
                      <a:pt x="203" y="315"/>
                      <a:pt x="203" y="315"/>
                      <a:pt x="203" y="315"/>
                    </a:cubicBezTo>
                    <a:cubicBezTo>
                      <a:pt x="126" y="28"/>
                      <a:pt x="126" y="28"/>
                      <a:pt x="126" y="28"/>
                    </a:cubicBezTo>
                    <a:cubicBezTo>
                      <a:pt x="126" y="28"/>
                      <a:pt x="82" y="0"/>
                      <a:pt x="51" y="1"/>
                    </a:cubicBezTo>
                    <a:cubicBezTo>
                      <a:pt x="51" y="1"/>
                      <a:pt x="37" y="1"/>
                      <a:pt x="23" y="49"/>
                    </a:cubicBezTo>
                    <a:cubicBezTo>
                      <a:pt x="23" y="49"/>
                      <a:pt x="0" y="120"/>
                      <a:pt x="20" y="155"/>
                    </a:cubicBezTo>
                    <a:cubicBezTo>
                      <a:pt x="40" y="189"/>
                      <a:pt x="80" y="225"/>
                      <a:pt x="80" y="225"/>
                    </a:cubicBezTo>
                    <a:cubicBezTo>
                      <a:pt x="80" y="225"/>
                      <a:pt x="157" y="302"/>
                      <a:pt x="182" y="322"/>
                    </a:cubicBezTo>
                    <a:cubicBezTo>
                      <a:pt x="182" y="322"/>
                      <a:pt x="239" y="605"/>
                      <a:pt x="258" y="700"/>
                    </a:cubicBezTo>
                    <a:cubicBezTo>
                      <a:pt x="259" y="705"/>
                      <a:pt x="259" y="718"/>
                      <a:pt x="259" y="721"/>
                    </a:cubicBezTo>
                  </a:path>
                </a:pathLst>
              </a:custGeom>
              <a:gradFill rotWithShape="1">
                <a:gsLst>
                  <a:gs pos="0">
                    <a:srgbClr val="699B1A"/>
                  </a:gs>
                  <a:gs pos="100000">
                    <a:srgbClr val="699B1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8" name="Freeform 420"/>
              <p:cNvSpPr>
                <a:spLocks/>
              </p:cNvSpPr>
              <p:nvPr/>
            </p:nvSpPr>
            <p:spPr bwMode="gray">
              <a:xfrm rot="259156">
                <a:off x="1025" y="1355"/>
                <a:ext cx="159" cy="422"/>
              </a:xfrm>
              <a:custGeom>
                <a:avLst/>
                <a:gdLst>
                  <a:gd name="T0" fmla="*/ 70 w 149"/>
                  <a:gd name="T1" fmla="*/ 67 h 390"/>
                  <a:gd name="T2" fmla="*/ 28 w 149"/>
                  <a:gd name="T3" fmla="*/ 5 h 390"/>
                  <a:gd name="T4" fmla="*/ 8 w 149"/>
                  <a:gd name="T5" fmla="*/ 147 h 390"/>
                  <a:gd name="T6" fmla="*/ 113 w 149"/>
                  <a:gd name="T7" fmla="*/ 333 h 390"/>
                  <a:gd name="T8" fmla="*/ 149 w 149"/>
                  <a:gd name="T9" fmla="*/ 390 h 390"/>
                  <a:gd name="T10" fmla="*/ 145 w 149"/>
                  <a:gd name="T11" fmla="*/ 375 h 390"/>
                  <a:gd name="T12" fmla="*/ 70 w 149"/>
                  <a:gd name="T13" fmla="*/ 67 h 390"/>
                </a:gdLst>
                <a:ahLst/>
                <a:cxnLst>
                  <a:cxn ang="0">
                    <a:pos x="T0" y="T1"/>
                  </a:cxn>
                  <a:cxn ang="0">
                    <a:pos x="T2" y="T3"/>
                  </a:cxn>
                  <a:cxn ang="0">
                    <a:pos x="T4" y="T5"/>
                  </a:cxn>
                  <a:cxn ang="0">
                    <a:pos x="T6" y="T7"/>
                  </a:cxn>
                  <a:cxn ang="0">
                    <a:pos x="T8" y="T9"/>
                  </a:cxn>
                  <a:cxn ang="0">
                    <a:pos x="T10" y="T11"/>
                  </a:cxn>
                  <a:cxn ang="0">
                    <a:pos x="T12" y="T13"/>
                  </a:cxn>
                </a:cxnLst>
                <a:rect l="0" t="0" r="r" b="b"/>
                <a:pathLst>
                  <a:path w="149" h="390">
                    <a:moveTo>
                      <a:pt x="70" y="67"/>
                    </a:moveTo>
                    <a:cubicBezTo>
                      <a:pt x="70" y="67"/>
                      <a:pt x="43" y="0"/>
                      <a:pt x="28" y="5"/>
                    </a:cubicBezTo>
                    <a:cubicBezTo>
                      <a:pt x="14" y="10"/>
                      <a:pt x="0" y="112"/>
                      <a:pt x="8" y="147"/>
                    </a:cubicBezTo>
                    <a:cubicBezTo>
                      <a:pt x="21" y="199"/>
                      <a:pt x="113" y="333"/>
                      <a:pt x="113" y="333"/>
                    </a:cubicBezTo>
                    <a:cubicBezTo>
                      <a:pt x="149" y="390"/>
                      <a:pt x="149" y="390"/>
                      <a:pt x="149" y="390"/>
                    </a:cubicBezTo>
                    <a:cubicBezTo>
                      <a:pt x="145" y="375"/>
                      <a:pt x="145" y="375"/>
                      <a:pt x="145" y="375"/>
                    </a:cubicBezTo>
                    <a:lnTo>
                      <a:pt x="70" y="67"/>
                    </a:lnTo>
                    <a:close/>
                  </a:path>
                </a:pathLst>
              </a:custGeom>
              <a:gradFill rotWithShape="1">
                <a:gsLst>
                  <a:gs pos="0">
                    <a:srgbClr val="4C7013"/>
                  </a:gs>
                  <a:gs pos="100000">
                    <a:srgbClr val="4C7013">
                      <a:gamma/>
                      <a:shade val="46275"/>
                      <a:invGamma/>
                    </a:srgbClr>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9" name="Freeform 421"/>
              <p:cNvSpPr>
                <a:spLocks/>
              </p:cNvSpPr>
              <p:nvPr/>
            </p:nvSpPr>
            <p:spPr bwMode="gray">
              <a:xfrm rot="259156">
                <a:off x="1297" y="2363"/>
                <a:ext cx="0" cy="0"/>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1"/>
                      <a:pt x="0" y="1"/>
                    </a:cubicBezTo>
                    <a:cubicBezTo>
                      <a:pt x="0" y="1"/>
                      <a:pt x="0" y="1"/>
                      <a:pt x="0" y="1"/>
                    </a:cubicBezTo>
                    <a:close/>
                  </a:path>
                </a:pathLst>
              </a:custGeom>
              <a:solidFill>
                <a:srgbClr val="F7C800"/>
              </a:soli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0" name="Freeform 422"/>
              <p:cNvSpPr>
                <a:spLocks/>
              </p:cNvSpPr>
              <p:nvPr/>
            </p:nvSpPr>
            <p:spPr bwMode="gray">
              <a:xfrm rot="259156">
                <a:off x="1176" y="2076"/>
                <a:ext cx="147" cy="282"/>
              </a:xfrm>
              <a:custGeom>
                <a:avLst/>
                <a:gdLst>
                  <a:gd name="T0" fmla="*/ 96 w 137"/>
                  <a:gd name="T1" fmla="*/ 241 h 258"/>
                  <a:gd name="T2" fmla="*/ 131 w 137"/>
                  <a:gd name="T3" fmla="*/ 242 h 258"/>
                  <a:gd name="T4" fmla="*/ 131 w 137"/>
                  <a:gd name="T5" fmla="*/ 243 h 258"/>
                  <a:gd name="T6" fmla="*/ 131 w 137"/>
                  <a:gd name="T7" fmla="*/ 185 h 258"/>
                  <a:gd name="T8" fmla="*/ 90 w 137"/>
                  <a:gd name="T9" fmla="*/ 26 h 258"/>
                  <a:gd name="T10" fmla="*/ 83 w 137"/>
                  <a:gd name="T11" fmla="*/ 6 h 258"/>
                  <a:gd name="T12" fmla="*/ 83 w 137"/>
                  <a:gd name="T13" fmla="*/ 6 h 258"/>
                  <a:gd name="T14" fmla="*/ 82 w 137"/>
                  <a:gd name="T15" fmla="*/ 5 h 258"/>
                  <a:gd name="T16" fmla="*/ 82 w 137"/>
                  <a:gd name="T17" fmla="*/ 4 h 258"/>
                  <a:gd name="T18" fmla="*/ 41 w 137"/>
                  <a:gd name="T19" fmla="*/ 5 h 258"/>
                  <a:gd name="T20" fmla="*/ 1 w 137"/>
                  <a:gd name="T21" fmla="*/ 23 h 258"/>
                  <a:gd name="T22" fmla="*/ 1 w 137"/>
                  <a:gd name="T23" fmla="*/ 25 h 258"/>
                  <a:gd name="T24" fmla="*/ 2 w 137"/>
                  <a:gd name="T25" fmla="*/ 44 h 258"/>
                  <a:gd name="T26" fmla="*/ 42 w 137"/>
                  <a:gd name="T27" fmla="*/ 213 h 258"/>
                  <a:gd name="T28" fmla="*/ 62 w 137"/>
                  <a:gd name="T29" fmla="*/ 258 h 258"/>
                  <a:gd name="T30" fmla="*/ 62 w 137"/>
                  <a:gd name="T31" fmla="*/ 258 h 258"/>
                  <a:gd name="T32" fmla="*/ 62 w 137"/>
                  <a:gd name="T33" fmla="*/ 257 h 258"/>
                  <a:gd name="T34" fmla="*/ 96 w 137"/>
                  <a:gd name="T35" fmla="*/ 2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258">
                    <a:moveTo>
                      <a:pt x="96" y="241"/>
                    </a:moveTo>
                    <a:cubicBezTo>
                      <a:pt x="114" y="237"/>
                      <a:pt x="130" y="237"/>
                      <a:pt x="131" y="242"/>
                    </a:cubicBezTo>
                    <a:cubicBezTo>
                      <a:pt x="131" y="242"/>
                      <a:pt x="131" y="242"/>
                      <a:pt x="131" y="243"/>
                    </a:cubicBezTo>
                    <a:cubicBezTo>
                      <a:pt x="132" y="235"/>
                      <a:pt x="137" y="207"/>
                      <a:pt x="131" y="185"/>
                    </a:cubicBezTo>
                    <a:cubicBezTo>
                      <a:pt x="90" y="26"/>
                      <a:pt x="90" y="26"/>
                      <a:pt x="90" y="26"/>
                    </a:cubicBezTo>
                    <a:cubicBezTo>
                      <a:pt x="90" y="26"/>
                      <a:pt x="87" y="16"/>
                      <a:pt x="83" y="6"/>
                    </a:cubicBezTo>
                    <a:cubicBezTo>
                      <a:pt x="83" y="6"/>
                      <a:pt x="83" y="6"/>
                      <a:pt x="83" y="6"/>
                    </a:cubicBezTo>
                    <a:cubicBezTo>
                      <a:pt x="82" y="5"/>
                      <a:pt x="82" y="5"/>
                      <a:pt x="82" y="5"/>
                    </a:cubicBezTo>
                    <a:cubicBezTo>
                      <a:pt x="82" y="4"/>
                      <a:pt x="82" y="4"/>
                      <a:pt x="82" y="4"/>
                    </a:cubicBezTo>
                    <a:cubicBezTo>
                      <a:pt x="78" y="0"/>
                      <a:pt x="61" y="0"/>
                      <a:pt x="41" y="5"/>
                    </a:cubicBezTo>
                    <a:cubicBezTo>
                      <a:pt x="19" y="10"/>
                      <a:pt x="0" y="17"/>
                      <a:pt x="1" y="23"/>
                    </a:cubicBezTo>
                    <a:cubicBezTo>
                      <a:pt x="1" y="24"/>
                      <a:pt x="1" y="25"/>
                      <a:pt x="1" y="25"/>
                    </a:cubicBezTo>
                    <a:cubicBezTo>
                      <a:pt x="1" y="27"/>
                      <a:pt x="2" y="44"/>
                      <a:pt x="2" y="44"/>
                    </a:cubicBezTo>
                    <a:cubicBezTo>
                      <a:pt x="42" y="213"/>
                      <a:pt x="42" y="213"/>
                      <a:pt x="42" y="213"/>
                    </a:cubicBezTo>
                    <a:cubicBezTo>
                      <a:pt x="42" y="213"/>
                      <a:pt x="54" y="253"/>
                      <a:pt x="62" y="258"/>
                    </a:cubicBezTo>
                    <a:cubicBezTo>
                      <a:pt x="62" y="258"/>
                      <a:pt x="62" y="258"/>
                      <a:pt x="62" y="258"/>
                    </a:cubicBezTo>
                    <a:cubicBezTo>
                      <a:pt x="62" y="258"/>
                      <a:pt x="62" y="257"/>
                      <a:pt x="62" y="257"/>
                    </a:cubicBezTo>
                    <a:cubicBezTo>
                      <a:pt x="60" y="252"/>
                      <a:pt x="77" y="246"/>
                      <a:pt x="96" y="241"/>
                    </a:cubicBezTo>
                    <a:close/>
                  </a:path>
                </a:pathLst>
              </a:custGeom>
              <a:gradFill rotWithShape="1">
                <a:gsLst>
                  <a:gs pos="0">
                    <a:srgbClr val="808080">
                      <a:gamma/>
                      <a:tint val="18039"/>
                      <a:invGamma/>
                    </a:srgbClr>
                  </a:gs>
                  <a:gs pos="100000">
                    <a:srgbClr val="808080"/>
                  </a:gs>
                </a:gsLst>
                <a:lin ang="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81" name="Freeform 423"/>
              <p:cNvSpPr>
                <a:spLocks/>
              </p:cNvSpPr>
              <p:nvPr/>
            </p:nvSpPr>
            <p:spPr bwMode="gray">
              <a:xfrm rot="259156">
                <a:off x="1192" y="2306"/>
                <a:ext cx="78" cy="0"/>
              </a:xfrm>
              <a:custGeom>
                <a:avLst/>
                <a:gdLst>
                  <a:gd name="T0" fmla="*/ 47 w 71"/>
                  <a:gd name="T1" fmla="*/ 12 h 27"/>
                  <a:gd name="T2" fmla="*/ 49 w 71"/>
                  <a:gd name="T3" fmla="*/ 21 h 27"/>
                  <a:gd name="T4" fmla="*/ 71 w 71"/>
                  <a:gd name="T5" fmla="*/ 8 h 27"/>
                  <a:gd name="T6" fmla="*/ 71 w 71"/>
                  <a:gd name="T7" fmla="*/ 7 h 27"/>
                  <a:gd name="T8" fmla="*/ 71 w 71"/>
                  <a:gd name="T9" fmla="*/ 6 h 27"/>
                  <a:gd name="T10" fmla="*/ 71 w 71"/>
                  <a:gd name="T11" fmla="*/ 5 h 27"/>
                  <a:gd name="T12" fmla="*/ 36 w 71"/>
                  <a:gd name="T13" fmla="*/ 4 h 27"/>
                  <a:gd name="T14" fmla="*/ 2 w 71"/>
                  <a:gd name="T15" fmla="*/ 20 h 27"/>
                  <a:gd name="T16" fmla="*/ 2 w 71"/>
                  <a:gd name="T17" fmla="*/ 21 h 27"/>
                  <a:gd name="T18" fmla="*/ 32 w 71"/>
                  <a:gd name="T19" fmla="*/ 25 h 27"/>
                  <a:gd name="T20" fmla="*/ 30 w 71"/>
                  <a:gd name="T21" fmla="*/ 17 h 27"/>
                  <a:gd name="T22" fmla="*/ 47 w 71"/>
                  <a:gd name="T23"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7">
                    <a:moveTo>
                      <a:pt x="47" y="12"/>
                    </a:moveTo>
                    <a:cubicBezTo>
                      <a:pt x="49" y="21"/>
                      <a:pt x="49" y="21"/>
                      <a:pt x="49" y="21"/>
                    </a:cubicBezTo>
                    <a:cubicBezTo>
                      <a:pt x="60" y="17"/>
                      <a:pt x="69" y="12"/>
                      <a:pt x="71" y="8"/>
                    </a:cubicBezTo>
                    <a:cubicBezTo>
                      <a:pt x="71" y="8"/>
                      <a:pt x="71" y="7"/>
                      <a:pt x="71" y="7"/>
                    </a:cubicBezTo>
                    <a:cubicBezTo>
                      <a:pt x="71" y="7"/>
                      <a:pt x="71" y="6"/>
                      <a:pt x="71" y="6"/>
                    </a:cubicBezTo>
                    <a:cubicBezTo>
                      <a:pt x="71" y="5"/>
                      <a:pt x="71" y="5"/>
                      <a:pt x="71" y="5"/>
                    </a:cubicBezTo>
                    <a:cubicBezTo>
                      <a:pt x="70" y="0"/>
                      <a:pt x="54" y="0"/>
                      <a:pt x="36" y="4"/>
                    </a:cubicBezTo>
                    <a:cubicBezTo>
                      <a:pt x="17" y="9"/>
                      <a:pt x="0" y="15"/>
                      <a:pt x="2" y="20"/>
                    </a:cubicBezTo>
                    <a:cubicBezTo>
                      <a:pt x="2" y="20"/>
                      <a:pt x="2" y="21"/>
                      <a:pt x="2" y="21"/>
                    </a:cubicBezTo>
                    <a:cubicBezTo>
                      <a:pt x="5" y="25"/>
                      <a:pt x="18" y="27"/>
                      <a:pt x="32" y="25"/>
                    </a:cubicBezTo>
                    <a:cubicBezTo>
                      <a:pt x="30" y="17"/>
                      <a:pt x="30" y="17"/>
                      <a:pt x="30" y="17"/>
                    </a:cubicBezTo>
                    <a:cubicBezTo>
                      <a:pt x="36" y="13"/>
                      <a:pt x="47" y="12"/>
                      <a:pt x="47" y="12"/>
                    </a:cubicBezTo>
                    <a:close/>
                  </a:path>
                </a:pathLst>
              </a:custGeom>
              <a:gradFill rotWithShape="1">
                <a:gsLst>
                  <a:gs pos="0">
                    <a:srgbClr val="808080"/>
                  </a:gs>
                  <a:gs pos="100000">
                    <a:srgbClr val="808080">
                      <a:gamma/>
                      <a:shade val="72549"/>
                      <a:invGamma/>
                    </a:srgbClr>
                  </a:gs>
                </a:gsLst>
                <a:lin ang="27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82" name="Freeform 424"/>
              <p:cNvSpPr>
                <a:spLocks/>
              </p:cNvSpPr>
              <p:nvPr/>
            </p:nvSpPr>
            <p:spPr bwMode="gray">
              <a:xfrm rot="259156">
                <a:off x="1228" y="2336"/>
                <a:ext cx="54" cy="189"/>
              </a:xfrm>
              <a:custGeom>
                <a:avLst/>
                <a:gdLst>
                  <a:gd name="T0" fmla="*/ 51 w 51"/>
                  <a:gd name="T1" fmla="*/ 174 h 174"/>
                  <a:gd name="T2" fmla="*/ 19 w 51"/>
                  <a:gd name="T3" fmla="*/ 9 h 174"/>
                  <a:gd name="T4" fmla="*/ 17 w 51"/>
                  <a:gd name="T5" fmla="*/ 0 h 174"/>
                  <a:gd name="T6" fmla="*/ 0 w 51"/>
                  <a:gd name="T7" fmla="*/ 5 h 174"/>
                  <a:gd name="T8" fmla="*/ 2 w 51"/>
                  <a:gd name="T9" fmla="*/ 13 h 174"/>
                  <a:gd name="T10" fmla="*/ 50 w 51"/>
                  <a:gd name="T11" fmla="*/ 174 h 174"/>
                  <a:gd name="T12" fmla="*/ 51 w 51"/>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51" h="174">
                    <a:moveTo>
                      <a:pt x="51" y="174"/>
                    </a:moveTo>
                    <a:cubicBezTo>
                      <a:pt x="19" y="9"/>
                      <a:pt x="19" y="9"/>
                      <a:pt x="19" y="9"/>
                    </a:cubicBezTo>
                    <a:cubicBezTo>
                      <a:pt x="17" y="0"/>
                      <a:pt x="17" y="0"/>
                      <a:pt x="17" y="0"/>
                    </a:cubicBezTo>
                    <a:cubicBezTo>
                      <a:pt x="17" y="0"/>
                      <a:pt x="6" y="1"/>
                      <a:pt x="0" y="5"/>
                    </a:cubicBezTo>
                    <a:cubicBezTo>
                      <a:pt x="2" y="13"/>
                      <a:pt x="2" y="13"/>
                      <a:pt x="2" y="13"/>
                    </a:cubicBezTo>
                    <a:cubicBezTo>
                      <a:pt x="50" y="174"/>
                      <a:pt x="50" y="174"/>
                      <a:pt x="50" y="174"/>
                    </a:cubicBezTo>
                    <a:lnTo>
                      <a:pt x="51" y="174"/>
                    </a:lnTo>
                    <a:close/>
                  </a:path>
                </a:pathLst>
              </a:custGeom>
              <a:gradFill rotWithShape="1">
                <a:gsLst>
                  <a:gs pos="0">
                    <a:srgbClr val="808080">
                      <a:gamma/>
                      <a:tint val="50588"/>
                      <a:invGamma/>
                    </a:srgbClr>
                  </a:gs>
                  <a:gs pos="100000">
                    <a:srgbClr val="808080"/>
                  </a:gs>
                </a:gsLst>
                <a:lin ang="189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grpSp>
            <p:nvGrpSpPr>
              <p:cNvPr id="115791" name="Group 425"/>
              <p:cNvGrpSpPr>
                <a:grpSpLocks/>
              </p:cNvGrpSpPr>
              <p:nvPr/>
            </p:nvGrpSpPr>
            <p:grpSpPr bwMode="auto">
              <a:xfrm rot="259156">
                <a:off x="1217" y="2189"/>
                <a:ext cx="140" cy="185"/>
                <a:chOff x="3013" y="2591"/>
                <a:chExt cx="298" cy="404"/>
              </a:xfrm>
            </p:grpSpPr>
            <p:sp>
              <p:nvSpPr>
                <p:cNvPr id="84" name="Freeform 426"/>
                <p:cNvSpPr>
                  <a:spLocks/>
                </p:cNvSpPr>
                <p:nvPr/>
              </p:nvSpPr>
              <p:spPr bwMode="gray">
                <a:xfrm>
                  <a:off x="2593" y="2293"/>
                  <a:ext cx="320" cy="64"/>
                </a:xfrm>
                <a:custGeom>
                  <a:avLst/>
                  <a:gdLst>
                    <a:gd name="T0" fmla="*/ 90 w 91"/>
                    <a:gd name="T1" fmla="*/ 13 h 31"/>
                    <a:gd name="T2" fmla="*/ 90 w 91"/>
                    <a:gd name="T3" fmla="*/ 10 h 31"/>
                    <a:gd name="T4" fmla="*/ 40 w 91"/>
                    <a:gd name="T5" fmla="*/ 5 h 31"/>
                    <a:gd name="T6" fmla="*/ 2 w 91"/>
                    <a:gd name="T7" fmla="*/ 29 h 31"/>
                    <a:gd name="T8" fmla="*/ 3 w 91"/>
                    <a:gd name="T9" fmla="*/ 31 h 31"/>
                    <a:gd name="T10" fmla="*/ 41 w 91"/>
                    <a:gd name="T11" fmla="*/ 10 h 31"/>
                    <a:gd name="T12" fmla="*/ 90 w 91"/>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91" h="31">
                      <a:moveTo>
                        <a:pt x="90" y="13"/>
                      </a:moveTo>
                      <a:cubicBezTo>
                        <a:pt x="91" y="12"/>
                        <a:pt x="90" y="10"/>
                        <a:pt x="90" y="10"/>
                      </a:cubicBezTo>
                      <a:cubicBezTo>
                        <a:pt x="89" y="4"/>
                        <a:pt x="63" y="0"/>
                        <a:pt x="40" y="5"/>
                      </a:cubicBezTo>
                      <a:cubicBezTo>
                        <a:pt x="16" y="11"/>
                        <a:pt x="0" y="23"/>
                        <a:pt x="2" y="29"/>
                      </a:cubicBezTo>
                      <a:cubicBezTo>
                        <a:pt x="2" y="29"/>
                        <a:pt x="2" y="31"/>
                        <a:pt x="3" y="31"/>
                      </a:cubicBezTo>
                      <a:cubicBezTo>
                        <a:pt x="5" y="25"/>
                        <a:pt x="20" y="15"/>
                        <a:pt x="41" y="10"/>
                      </a:cubicBezTo>
                      <a:cubicBezTo>
                        <a:pt x="61" y="5"/>
                        <a:pt x="84" y="8"/>
                        <a:pt x="90" y="13"/>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5" name="Freeform 427"/>
                <p:cNvSpPr>
                  <a:spLocks/>
                </p:cNvSpPr>
                <p:nvPr/>
              </p:nvSpPr>
              <p:spPr bwMode="gray">
                <a:xfrm>
                  <a:off x="2673" y="2341"/>
                  <a:ext cx="297" cy="70"/>
                </a:xfrm>
                <a:custGeom>
                  <a:avLst/>
                  <a:gdLst>
                    <a:gd name="T0" fmla="*/ 91 w 91"/>
                    <a:gd name="T1" fmla="*/ 12 h 31"/>
                    <a:gd name="T2" fmla="*/ 90 w 91"/>
                    <a:gd name="T3" fmla="*/ 9 h 31"/>
                    <a:gd name="T4" fmla="*/ 39 w 91"/>
                    <a:gd name="T5" fmla="*/ 5 h 31"/>
                    <a:gd name="T6" fmla="*/ 1 w 91"/>
                    <a:gd name="T7" fmla="*/ 29 h 31"/>
                    <a:gd name="T8" fmla="*/ 2 w 91"/>
                    <a:gd name="T9" fmla="*/ 31 h 31"/>
                    <a:gd name="T10" fmla="*/ 40 w 91"/>
                    <a:gd name="T11" fmla="*/ 10 h 31"/>
                    <a:gd name="T12" fmla="*/ 91 w 91"/>
                    <a:gd name="T13" fmla="*/ 12 h 31"/>
                  </a:gdLst>
                  <a:ahLst/>
                  <a:cxnLst>
                    <a:cxn ang="0">
                      <a:pos x="T0" y="T1"/>
                    </a:cxn>
                    <a:cxn ang="0">
                      <a:pos x="T2" y="T3"/>
                    </a:cxn>
                    <a:cxn ang="0">
                      <a:pos x="T4" y="T5"/>
                    </a:cxn>
                    <a:cxn ang="0">
                      <a:pos x="T6" y="T7"/>
                    </a:cxn>
                    <a:cxn ang="0">
                      <a:pos x="T8" y="T9"/>
                    </a:cxn>
                    <a:cxn ang="0">
                      <a:pos x="T10" y="T11"/>
                    </a:cxn>
                    <a:cxn ang="0">
                      <a:pos x="T12" y="T13"/>
                    </a:cxn>
                  </a:cxnLst>
                  <a:rect l="0" t="0" r="r" b="b"/>
                  <a:pathLst>
                    <a:path w="91" h="31">
                      <a:moveTo>
                        <a:pt x="91" y="12"/>
                      </a:moveTo>
                      <a:cubicBezTo>
                        <a:pt x="91" y="12"/>
                        <a:pt x="90" y="10"/>
                        <a:pt x="90" y="9"/>
                      </a:cubicBezTo>
                      <a:cubicBezTo>
                        <a:pt x="89" y="3"/>
                        <a:pt x="63" y="0"/>
                        <a:pt x="39" y="5"/>
                      </a:cubicBezTo>
                      <a:cubicBezTo>
                        <a:pt x="16" y="10"/>
                        <a:pt x="0" y="22"/>
                        <a:pt x="1" y="29"/>
                      </a:cubicBezTo>
                      <a:cubicBezTo>
                        <a:pt x="1" y="29"/>
                        <a:pt x="1" y="31"/>
                        <a:pt x="2" y="31"/>
                      </a:cubicBezTo>
                      <a:cubicBezTo>
                        <a:pt x="5" y="25"/>
                        <a:pt x="20" y="14"/>
                        <a:pt x="40" y="10"/>
                      </a:cubicBezTo>
                      <a:cubicBezTo>
                        <a:pt x="61" y="5"/>
                        <a:pt x="84" y="8"/>
                        <a:pt x="91" y="12"/>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6" name="Freeform 428"/>
                <p:cNvSpPr>
                  <a:spLocks/>
                </p:cNvSpPr>
                <p:nvPr/>
              </p:nvSpPr>
              <p:spPr bwMode="gray">
                <a:xfrm>
                  <a:off x="2695" y="2361"/>
                  <a:ext cx="316" cy="70"/>
                </a:xfrm>
                <a:custGeom>
                  <a:avLst/>
                  <a:gdLst>
                    <a:gd name="T0" fmla="*/ 92 w 92"/>
                    <a:gd name="T1" fmla="*/ 13 h 32"/>
                    <a:gd name="T2" fmla="*/ 91 w 92"/>
                    <a:gd name="T3" fmla="*/ 10 h 32"/>
                    <a:gd name="T4" fmla="*/ 40 w 92"/>
                    <a:gd name="T5" fmla="*/ 5 h 32"/>
                    <a:gd name="T6" fmla="*/ 2 w 92"/>
                    <a:gd name="T7" fmla="*/ 29 h 32"/>
                    <a:gd name="T8" fmla="*/ 2 w 92"/>
                    <a:gd name="T9" fmla="*/ 32 h 32"/>
                    <a:gd name="T10" fmla="*/ 41 w 92"/>
                    <a:gd name="T11" fmla="*/ 10 h 32"/>
                    <a:gd name="T12" fmla="*/ 92 w 92"/>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92" h="32">
                      <a:moveTo>
                        <a:pt x="92" y="13"/>
                      </a:moveTo>
                      <a:cubicBezTo>
                        <a:pt x="92" y="12"/>
                        <a:pt x="91" y="10"/>
                        <a:pt x="91" y="10"/>
                      </a:cubicBezTo>
                      <a:cubicBezTo>
                        <a:pt x="90" y="3"/>
                        <a:pt x="64" y="0"/>
                        <a:pt x="40" y="5"/>
                      </a:cubicBezTo>
                      <a:cubicBezTo>
                        <a:pt x="16" y="11"/>
                        <a:pt x="0" y="23"/>
                        <a:pt x="2" y="29"/>
                      </a:cubicBezTo>
                      <a:cubicBezTo>
                        <a:pt x="2" y="30"/>
                        <a:pt x="2" y="31"/>
                        <a:pt x="2" y="32"/>
                      </a:cubicBezTo>
                      <a:cubicBezTo>
                        <a:pt x="5" y="25"/>
                        <a:pt x="20" y="15"/>
                        <a:pt x="41" y="10"/>
                      </a:cubicBezTo>
                      <a:cubicBezTo>
                        <a:pt x="62" y="5"/>
                        <a:pt x="85" y="8"/>
                        <a:pt x="92" y="13"/>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7" name="Freeform 429"/>
                <p:cNvSpPr>
                  <a:spLocks/>
                </p:cNvSpPr>
                <p:nvPr/>
              </p:nvSpPr>
              <p:spPr bwMode="gray">
                <a:xfrm>
                  <a:off x="2618" y="2423"/>
                  <a:ext cx="313" cy="70"/>
                </a:xfrm>
                <a:custGeom>
                  <a:avLst/>
                  <a:gdLst>
                    <a:gd name="T0" fmla="*/ 94 w 94"/>
                    <a:gd name="T1" fmla="*/ 13 h 32"/>
                    <a:gd name="T2" fmla="*/ 93 w 94"/>
                    <a:gd name="T3" fmla="*/ 10 h 32"/>
                    <a:gd name="T4" fmla="*/ 41 w 94"/>
                    <a:gd name="T5" fmla="*/ 6 h 32"/>
                    <a:gd name="T6" fmla="*/ 2 w 94"/>
                    <a:gd name="T7" fmla="*/ 30 h 32"/>
                    <a:gd name="T8" fmla="*/ 3 w 94"/>
                    <a:gd name="T9" fmla="*/ 32 h 32"/>
                    <a:gd name="T10" fmla="*/ 42 w 94"/>
                    <a:gd name="T11" fmla="*/ 10 h 32"/>
                    <a:gd name="T12" fmla="*/ 94 w 94"/>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94" h="32">
                      <a:moveTo>
                        <a:pt x="94" y="13"/>
                      </a:moveTo>
                      <a:cubicBezTo>
                        <a:pt x="94" y="12"/>
                        <a:pt x="93" y="11"/>
                        <a:pt x="93" y="10"/>
                      </a:cubicBezTo>
                      <a:cubicBezTo>
                        <a:pt x="92" y="4"/>
                        <a:pt x="65" y="0"/>
                        <a:pt x="41" y="6"/>
                      </a:cubicBezTo>
                      <a:cubicBezTo>
                        <a:pt x="17" y="11"/>
                        <a:pt x="0" y="23"/>
                        <a:pt x="2" y="30"/>
                      </a:cubicBezTo>
                      <a:cubicBezTo>
                        <a:pt x="2" y="30"/>
                        <a:pt x="2" y="32"/>
                        <a:pt x="3" y="32"/>
                      </a:cubicBezTo>
                      <a:cubicBezTo>
                        <a:pt x="6" y="26"/>
                        <a:pt x="21" y="15"/>
                        <a:pt x="42" y="10"/>
                      </a:cubicBezTo>
                      <a:cubicBezTo>
                        <a:pt x="63" y="5"/>
                        <a:pt x="87" y="8"/>
                        <a:pt x="94" y="13"/>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8" name="Freeform 430"/>
                <p:cNvSpPr>
                  <a:spLocks/>
                </p:cNvSpPr>
                <p:nvPr/>
              </p:nvSpPr>
              <p:spPr bwMode="gray">
                <a:xfrm>
                  <a:off x="2756" y="2493"/>
                  <a:ext cx="313" cy="70"/>
                </a:xfrm>
                <a:custGeom>
                  <a:avLst/>
                  <a:gdLst>
                    <a:gd name="T0" fmla="*/ 94 w 94"/>
                    <a:gd name="T1" fmla="*/ 14 h 33"/>
                    <a:gd name="T2" fmla="*/ 93 w 94"/>
                    <a:gd name="T3" fmla="*/ 11 h 33"/>
                    <a:gd name="T4" fmla="*/ 41 w 94"/>
                    <a:gd name="T5" fmla="*/ 6 h 33"/>
                    <a:gd name="T6" fmla="*/ 2 w 94"/>
                    <a:gd name="T7" fmla="*/ 30 h 33"/>
                    <a:gd name="T8" fmla="*/ 3 w 94"/>
                    <a:gd name="T9" fmla="*/ 33 h 33"/>
                    <a:gd name="T10" fmla="*/ 42 w 94"/>
                    <a:gd name="T11" fmla="*/ 11 h 33"/>
                    <a:gd name="T12" fmla="*/ 94 w 94"/>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94" y="14"/>
                      </a:moveTo>
                      <a:cubicBezTo>
                        <a:pt x="94" y="13"/>
                        <a:pt x="93" y="11"/>
                        <a:pt x="93" y="11"/>
                      </a:cubicBezTo>
                      <a:cubicBezTo>
                        <a:pt x="92" y="4"/>
                        <a:pt x="65" y="0"/>
                        <a:pt x="41" y="6"/>
                      </a:cubicBezTo>
                      <a:cubicBezTo>
                        <a:pt x="17" y="12"/>
                        <a:pt x="0" y="24"/>
                        <a:pt x="2" y="30"/>
                      </a:cubicBezTo>
                      <a:cubicBezTo>
                        <a:pt x="2" y="31"/>
                        <a:pt x="2" y="32"/>
                        <a:pt x="3" y="33"/>
                      </a:cubicBezTo>
                      <a:cubicBezTo>
                        <a:pt x="5" y="26"/>
                        <a:pt x="21" y="16"/>
                        <a:pt x="42" y="11"/>
                      </a:cubicBezTo>
                      <a:cubicBezTo>
                        <a:pt x="63" y="6"/>
                        <a:pt x="87" y="9"/>
                        <a:pt x="94" y="14"/>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89" name="Freeform 431"/>
                <p:cNvSpPr>
                  <a:spLocks/>
                </p:cNvSpPr>
                <p:nvPr/>
              </p:nvSpPr>
              <p:spPr bwMode="gray">
                <a:xfrm>
                  <a:off x="2761" y="2551"/>
                  <a:ext cx="316" cy="70"/>
                </a:xfrm>
                <a:custGeom>
                  <a:avLst/>
                  <a:gdLst>
                    <a:gd name="T0" fmla="*/ 93 w 94"/>
                    <a:gd name="T1" fmla="*/ 10 h 33"/>
                    <a:gd name="T2" fmla="*/ 41 w 94"/>
                    <a:gd name="T3" fmla="*/ 6 h 33"/>
                    <a:gd name="T4" fmla="*/ 2 w 94"/>
                    <a:gd name="T5" fmla="*/ 30 h 33"/>
                    <a:gd name="T6" fmla="*/ 2 w 94"/>
                    <a:gd name="T7" fmla="*/ 33 h 33"/>
                    <a:gd name="T8" fmla="*/ 42 w 94"/>
                    <a:gd name="T9" fmla="*/ 10 h 33"/>
                    <a:gd name="T10" fmla="*/ 93 w 94"/>
                    <a:gd name="T11" fmla="*/ 13 h 33"/>
                    <a:gd name="T12" fmla="*/ 93 w 94"/>
                    <a:gd name="T13" fmla="*/ 10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93" y="10"/>
                      </a:moveTo>
                      <a:cubicBezTo>
                        <a:pt x="92" y="4"/>
                        <a:pt x="65" y="0"/>
                        <a:pt x="41" y="6"/>
                      </a:cubicBezTo>
                      <a:cubicBezTo>
                        <a:pt x="17" y="11"/>
                        <a:pt x="0" y="24"/>
                        <a:pt x="2" y="30"/>
                      </a:cubicBezTo>
                      <a:cubicBezTo>
                        <a:pt x="2" y="31"/>
                        <a:pt x="2" y="32"/>
                        <a:pt x="2" y="33"/>
                      </a:cubicBezTo>
                      <a:cubicBezTo>
                        <a:pt x="5" y="26"/>
                        <a:pt x="21" y="15"/>
                        <a:pt x="42" y="10"/>
                      </a:cubicBezTo>
                      <a:cubicBezTo>
                        <a:pt x="63" y="6"/>
                        <a:pt x="87" y="8"/>
                        <a:pt x="93" y="13"/>
                      </a:cubicBezTo>
                      <a:cubicBezTo>
                        <a:pt x="94" y="12"/>
                        <a:pt x="93" y="11"/>
                        <a:pt x="93" y="10"/>
                      </a:cubicBezTo>
                      <a:close/>
                    </a:path>
                  </a:pathLst>
                </a:custGeom>
                <a:gradFill rotWithShape="1">
                  <a:gsLst>
                    <a:gs pos="0">
                      <a:srgbClr val="699B1A">
                        <a:gamma/>
                        <a:shade val="39216"/>
                        <a:invGamma/>
                      </a:srgbClr>
                    </a:gs>
                    <a:gs pos="50000">
                      <a:srgbClr val="699B1A"/>
                    </a:gs>
                    <a:gs pos="100000">
                      <a:srgbClr val="699B1A">
                        <a:gamma/>
                        <a:shade val="39216"/>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grpSp>
          <p:nvGrpSpPr>
            <p:cNvPr id="115732" name="Group 433"/>
            <p:cNvGrpSpPr>
              <a:grpSpLocks/>
            </p:cNvGrpSpPr>
            <p:nvPr/>
          </p:nvGrpSpPr>
          <p:grpSpPr bwMode="auto">
            <a:xfrm>
              <a:off x="5056188" y="979488"/>
              <a:ext cx="1346188" cy="3852862"/>
              <a:chOff x="393" y="1110"/>
              <a:chExt cx="849" cy="2430"/>
            </a:xfrm>
          </p:grpSpPr>
          <p:sp>
            <p:nvSpPr>
              <p:cNvPr id="57" name="Freeform 434"/>
              <p:cNvSpPr>
                <a:spLocks/>
              </p:cNvSpPr>
              <p:nvPr/>
            </p:nvSpPr>
            <p:spPr bwMode="gray">
              <a:xfrm>
                <a:off x="412" y="1110"/>
                <a:ext cx="810" cy="2111"/>
              </a:xfrm>
              <a:custGeom>
                <a:avLst/>
                <a:gdLst>
                  <a:gd name="T0" fmla="*/ 379 w 385"/>
                  <a:gd name="T1" fmla="*/ 911 h 997"/>
                  <a:gd name="T2" fmla="*/ 337 w 385"/>
                  <a:gd name="T3" fmla="*/ 749 h 997"/>
                  <a:gd name="T4" fmla="*/ 328 w 385"/>
                  <a:gd name="T5" fmla="*/ 727 h 997"/>
                  <a:gd name="T6" fmla="*/ 215 w 385"/>
                  <a:gd name="T7" fmla="*/ 358 h 997"/>
                  <a:gd name="T8" fmla="*/ 215 w 385"/>
                  <a:gd name="T9" fmla="*/ 357 h 997"/>
                  <a:gd name="T10" fmla="*/ 264 w 385"/>
                  <a:gd name="T11" fmla="*/ 193 h 997"/>
                  <a:gd name="T12" fmla="*/ 277 w 385"/>
                  <a:gd name="T13" fmla="*/ 116 h 997"/>
                  <a:gd name="T14" fmla="*/ 187 w 385"/>
                  <a:gd name="T15" fmla="*/ 11 h 997"/>
                  <a:gd name="T16" fmla="*/ 145 w 385"/>
                  <a:gd name="T17" fmla="*/ 59 h 997"/>
                  <a:gd name="T18" fmla="*/ 138 w 385"/>
                  <a:gd name="T19" fmla="*/ 33 h 997"/>
                  <a:gd name="T20" fmla="*/ 124 w 385"/>
                  <a:gd name="T21" fmla="*/ 74 h 997"/>
                  <a:gd name="T22" fmla="*/ 82 w 385"/>
                  <a:gd name="T23" fmla="*/ 12 h 997"/>
                  <a:gd name="T24" fmla="*/ 75 w 385"/>
                  <a:gd name="T25" fmla="*/ 57 h 997"/>
                  <a:gd name="T26" fmla="*/ 42 w 385"/>
                  <a:gd name="T27" fmla="*/ 50 h 997"/>
                  <a:gd name="T28" fmla="*/ 11 w 385"/>
                  <a:gd name="T29" fmla="*/ 111 h 997"/>
                  <a:gd name="T30" fmla="*/ 11 w 385"/>
                  <a:gd name="T31" fmla="*/ 204 h 997"/>
                  <a:gd name="T32" fmla="*/ 173 w 385"/>
                  <a:gd name="T33" fmla="*/ 371 h 997"/>
                  <a:gd name="T34" fmla="*/ 249 w 385"/>
                  <a:gd name="T35" fmla="*/ 751 h 997"/>
                  <a:gd name="T36" fmla="*/ 250 w 385"/>
                  <a:gd name="T37" fmla="*/ 770 h 997"/>
                  <a:gd name="T38" fmla="*/ 290 w 385"/>
                  <a:gd name="T39" fmla="*/ 939 h 997"/>
                  <a:gd name="T40" fmla="*/ 310 w 385"/>
                  <a:gd name="T41" fmla="*/ 984 h 997"/>
                  <a:gd name="T42" fmla="*/ 379 w 385"/>
                  <a:gd name="T43" fmla="*/ 971 h 997"/>
                  <a:gd name="T44" fmla="*/ 379 w 385"/>
                  <a:gd name="T45" fmla="*/ 91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5" h="997">
                    <a:moveTo>
                      <a:pt x="379" y="911"/>
                    </a:moveTo>
                    <a:cubicBezTo>
                      <a:pt x="337" y="749"/>
                      <a:pt x="337" y="749"/>
                      <a:pt x="337" y="749"/>
                    </a:cubicBezTo>
                    <a:cubicBezTo>
                      <a:pt x="337" y="749"/>
                      <a:pt x="333" y="736"/>
                      <a:pt x="328" y="727"/>
                    </a:cubicBezTo>
                    <a:cubicBezTo>
                      <a:pt x="215" y="358"/>
                      <a:pt x="215" y="358"/>
                      <a:pt x="215" y="358"/>
                    </a:cubicBezTo>
                    <a:cubicBezTo>
                      <a:pt x="215" y="357"/>
                      <a:pt x="215" y="357"/>
                      <a:pt x="215" y="357"/>
                    </a:cubicBezTo>
                    <a:cubicBezTo>
                      <a:pt x="264" y="193"/>
                      <a:pt x="264" y="193"/>
                      <a:pt x="264" y="193"/>
                    </a:cubicBezTo>
                    <a:cubicBezTo>
                      <a:pt x="276" y="170"/>
                      <a:pt x="277" y="116"/>
                      <a:pt x="277" y="116"/>
                    </a:cubicBezTo>
                    <a:cubicBezTo>
                      <a:pt x="253" y="42"/>
                      <a:pt x="187" y="11"/>
                      <a:pt x="187" y="11"/>
                    </a:cubicBezTo>
                    <a:cubicBezTo>
                      <a:pt x="187" y="11"/>
                      <a:pt x="156" y="46"/>
                      <a:pt x="145" y="59"/>
                    </a:cubicBezTo>
                    <a:cubicBezTo>
                      <a:pt x="144" y="41"/>
                      <a:pt x="138" y="33"/>
                      <a:pt x="138" y="33"/>
                    </a:cubicBezTo>
                    <a:cubicBezTo>
                      <a:pt x="134" y="34"/>
                      <a:pt x="127" y="59"/>
                      <a:pt x="124" y="74"/>
                    </a:cubicBezTo>
                    <a:cubicBezTo>
                      <a:pt x="93" y="0"/>
                      <a:pt x="82" y="12"/>
                      <a:pt x="82" y="12"/>
                    </a:cubicBezTo>
                    <a:cubicBezTo>
                      <a:pt x="75" y="57"/>
                      <a:pt x="75" y="57"/>
                      <a:pt x="75" y="57"/>
                    </a:cubicBezTo>
                    <a:cubicBezTo>
                      <a:pt x="75" y="57"/>
                      <a:pt x="50" y="49"/>
                      <a:pt x="42" y="50"/>
                    </a:cubicBezTo>
                    <a:cubicBezTo>
                      <a:pt x="24" y="52"/>
                      <a:pt x="11" y="111"/>
                      <a:pt x="11" y="111"/>
                    </a:cubicBezTo>
                    <a:cubicBezTo>
                      <a:pt x="0" y="157"/>
                      <a:pt x="0" y="184"/>
                      <a:pt x="11" y="204"/>
                    </a:cubicBezTo>
                    <a:cubicBezTo>
                      <a:pt x="34" y="243"/>
                      <a:pt x="125" y="328"/>
                      <a:pt x="173" y="371"/>
                    </a:cubicBezTo>
                    <a:cubicBezTo>
                      <a:pt x="193" y="469"/>
                      <a:pt x="249" y="752"/>
                      <a:pt x="249" y="751"/>
                    </a:cubicBezTo>
                    <a:cubicBezTo>
                      <a:pt x="249" y="753"/>
                      <a:pt x="250" y="762"/>
                      <a:pt x="250" y="770"/>
                    </a:cubicBezTo>
                    <a:cubicBezTo>
                      <a:pt x="290" y="939"/>
                      <a:pt x="290" y="939"/>
                      <a:pt x="290" y="939"/>
                    </a:cubicBezTo>
                    <a:cubicBezTo>
                      <a:pt x="290" y="939"/>
                      <a:pt x="299" y="971"/>
                      <a:pt x="310" y="984"/>
                    </a:cubicBezTo>
                    <a:cubicBezTo>
                      <a:pt x="310" y="984"/>
                      <a:pt x="351" y="997"/>
                      <a:pt x="379" y="971"/>
                    </a:cubicBezTo>
                    <a:cubicBezTo>
                      <a:pt x="379" y="971"/>
                      <a:pt x="385" y="940"/>
                      <a:pt x="379" y="911"/>
                    </a:cubicBezTo>
                    <a:close/>
                  </a:path>
                </a:pathLst>
              </a:custGeom>
              <a:gradFill rotWithShape="1">
                <a:gsLst>
                  <a:gs pos="0">
                    <a:srgbClr val="4F81BD">
                      <a:gamma/>
                      <a:shade val="46275"/>
                      <a:invGamma/>
                    </a:srgbClr>
                  </a:gs>
                  <a:gs pos="100000">
                    <a:srgbClr val="4F81BD"/>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nvGrpSpPr>
              <p:cNvPr id="115766" name="Group 435"/>
              <p:cNvGrpSpPr>
                <a:grpSpLocks/>
              </p:cNvGrpSpPr>
              <p:nvPr/>
            </p:nvGrpSpPr>
            <p:grpSpPr bwMode="auto">
              <a:xfrm>
                <a:off x="393" y="1131"/>
                <a:ext cx="639" cy="1609"/>
                <a:chOff x="393" y="1131"/>
                <a:chExt cx="639" cy="1609"/>
              </a:xfrm>
            </p:grpSpPr>
            <p:sp>
              <p:nvSpPr>
                <p:cNvPr id="73" name="Freeform 436"/>
                <p:cNvSpPr>
                  <a:spLocks/>
                </p:cNvSpPr>
                <p:nvPr/>
              </p:nvSpPr>
              <p:spPr bwMode="gray">
                <a:xfrm>
                  <a:off x="675" y="1131"/>
                  <a:ext cx="332" cy="825"/>
                </a:xfrm>
                <a:custGeom>
                  <a:avLst/>
                  <a:gdLst>
                    <a:gd name="T0" fmla="*/ 0 w 156"/>
                    <a:gd name="T1" fmla="*/ 64 h 389"/>
                    <a:gd name="T2" fmla="*/ 79 w 156"/>
                    <a:gd name="T3" fmla="*/ 387 h 389"/>
                    <a:gd name="T4" fmla="*/ 102 w 156"/>
                    <a:gd name="T5" fmla="*/ 315 h 389"/>
                    <a:gd name="T6" fmla="*/ 145 w 156"/>
                    <a:gd name="T7" fmla="*/ 170 h 389"/>
                    <a:gd name="T8" fmla="*/ 153 w 156"/>
                    <a:gd name="T9" fmla="*/ 106 h 389"/>
                    <a:gd name="T10" fmla="*/ 63 w 156"/>
                    <a:gd name="T11" fmla="*/ 1 h 389"/>
                    <a:gd name="T12" fmla="*/ 0 w 156"/>
                    <a:gd name="T13" fmla="*/ 64 h 389"/>
                  </a:gdLst>
                  <a:ahLst/>
                  <a:cxnLst>
                    <a:cxn ang="0">
                      <a:pos x="T0" y="T1"/>
                    </a:cxn>
                    <a:cxn ang="0">
                      <a:pos x="T2" y="T3"/>
                    </a:cxn>
                    <a:cxn ang="0">
                      <a:pos x="T4" y="T5"/>
                    </a:cxn>
                    <a:cxn ang="0">
                      <a:pos x="T6" y="T7"/>
                    </a:cxn>
                    <a:cxn ang="0">
                      <a:pos x="T8" y="T9"/>
                    </a:cxn>
                    <a:cxn ang="0">
                      <a:pos x="T10" y="T11"/>
                    </a:cxn>
                    <a:cxn ang="0">
                      <a:pos x="T12" y="T13"/>
                    </a:cxn>
                  </a:cxnLst>
                  <a:rect l="0" t="0" r="r" b="b"/>
                  <a:pathLst>
                    <a:path w="156" h="389">
                      <a:moveTo>
                        <a:pt x="0" y="64"/>
                      </a:moveTo>
                      <a:cubicBezTo>
                        <a:pt x="0" y="64"/>
                        <a:pt x="66" y="329"/>
                        <a:pt x="79" y="387"/>
                      </a:cubicBezTo>
                      <a:cubicBezTo>
                        <a:pt x="79" y="389"/>
                        <a:pt x="101" y="320"/>
                        <a:pt x="102" y="315"/>
                      </a:cubicBezTo>
                      <a:cubicBezTo>
                        <a:pt x="118" y="266"/>
                        <a:pt x="145" y="170"/>
                        <a:pt x="145" y="170"/>
                      </a:cubicBezTo>
                      <a:cubicBezTo>
                        <a:pt x="145" y="170"/>
                        <a:pt x="156" y="134"/>
                        <a:pt x="153" y="106"/>
                      </a:cubicBezTo>
                      <a:cubicBezTo>
                        <a:pt x="149" y="72"/>
                        <a:pt x="91" y="0"/>
                        <a:pt x="63" y="1"/>
                      </a:cubicBezTo>
                      <a:cubicBezTo>
                        <a:pt x="39" y="2"/>
                        <a:pt x="0" y="64"/>
                        <a:pt x="0" y="64"/>
                      </a:cubicBezTo>
                      <a:close/>
                    </a:path>
                  </a:pathLst>
                </a:custGeom>
                <a:gradFill rotWithShape="1">
                  <a:gsLst>
                    <a:gs pos="0">
                      <a:srgbClr val="57B3FF">
                        <a:gamma/>
                        <a:shade val="46275"/>
                        <a:invGamma/>
                      </a:srgbClr>
                    </a:gs>
                    <a:gs pos="100000">
                      <a:srgbClr val="57B3FF"/>
                    </a:gs>
                  </a:gsLst>
                  <a:lin ang="189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74" name="Freeform 437"/>
                <p:cNvSpPr>
                  <a:spLocks/>
                </p:cNvSpPr>
                <p:nvPr/>
              </p:nvSpPr>
              <p:spPr bwMode="gray">
                <a:xfrm>
                  <a:off x="393" y="1213"/>
                  <a:ext cx="691" cy="1528"/>
                </a:xfrm>
                <a:custGeom>
                  <a:avLst/>
                  <a:gdLst>
                    <a:gd name="T0" fmla="*/ 259 w 302"/>
                    <a:gd name="T1" fmla="*/ 721 h 721"/>
                    <a:gd name="T2" fmla="*/ 302 w 302"/>
                    <a:gd name="T3" fmla="*/ 710 h 721"/>
                    <a:gd name="T4" fmla="*/ 203 w 302"/>
                    <a:gd name="T5" fmla="*/ 315 h 721"/>
                    <a:gd name="T6" fmla="*/ 126 w 302"/>
                    <a:gd name="T7" fmla="*/ 28 h 721"/>
                    <a:gd name="T8" fmla="*/ 51 w 302"/>
                    <a:gd name="T9" fmla="*/ 1 h 721"/>
                    <a:gd name="T10" fmla="*/ 23 w 302"/>
                    <a:gd name="T11" fmla="*/ 49 h 721"/>
                    <a:gd name="T12" fmla="*/ 20 w 302"/>
                    <a:gd name="T13" fmla="*/ 155 h 721"/>
                    <a:gd name="T14" fmla="*/ 80 w 302"/>
                    <a:gd name="T15" fmla="*/ 225 h 721"/>
                    <a:gd name="T16" fmla="*/ 182 w 302"/>
                    <a:gd name="T17" fmla="*/ 322 h 721"/>
                    <a:gd name="T18" fmla="*/ 258 w 302"/>
                    <a:gd name="T19" fmla="*/ 700 h 721"/>
                    <a:gd name="T20" fmla="*/ 259 w 302"/>
                    <a:gd name="T21"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721">
                      <a:moveTo>
                        <a:pt x="259" y="721"/>
                      </a:moveTo>
                      <a:cubicBezTo>
                        <a:pt x="302" y="710"/>
                        <a:pt x="302" y="710"/>
                        <a:pt x="302" y="710"/>
                      </a:cubicBezTo>
                      <a:cubicBezTo>
                        <a:pt x="203" y="315"/>
                        <a:pt x="203" y="315"/>
                        <a:pt x="203" y="315"/>
                      </a:cubicBezTo>
                      <a:cubicBezTo>
                        <a:pt x="126" y="28"/>
                        <a:pt x="126" y="28"/>
                        <a:pt x="126" y="28"/>
                      </a:cubicBezTo>
                      <a:cubicBezTo>
                        <a:pt x="126" y="28"/>
                        <a:pt x="82" y="0"/>
                        <a:pt x="51" y="1"/>
                      </a:cubicBezTo>
                      <a:cubicBezTo>
                        <a:pt x="51" y="1"/>
                        <a:pt x="37" y="1"/>
                        <a:pt x="23" y="49"/>
                      </a:cubicBezTo>
                      <a:cubicBezTo>
                        <a:pt x="23" y="49"/>
                        <a:pt x="0" y="120"/>
                        <a:pt x="20" y="155"/>
                      </a:cubicBezTo>
                      <a:cubicBezTo>
                        <a:pt x="40" y="189"/>
                        <a:pt x="80" y="225"/>
                        <a:pt x="80" y="225"/>
                      </a:cubicBezTo>
                      <a:cubicBezTo>
                        <a:pt x="80" y="225"/>
                        <a:pt x="157" y="302"/>
                        <a:pt x="182" y="322"/>
                      </a:cubicBezTo>
                      <a:cubicBezTo>
                        <a:pt x="182" y="322"/>
                        <a:pt x="239" y="605"/>
                        <a:pt x="258" y="700"/>
                      </a:cubicBezTo>
                      <a:cubicBezTo>
                        <a:pt x="259" y="705"/>
                        <a:pt x="259" y="718"/>
                        <a:pt x="259" y="721"/>
                      </a:cubicBezTo>
                    </a:path>
                  </a:pathLst>
                </a:custGeom>
                <a:gradFill rotWithShape="1">
                  <a:gsLst>
                    <a:gs pos="0">
                      <a:srgbClr val="57B3FF"/>
                    </a:gs>
                    <a:gs pos="100000">
                      <a:srgbClr val="57B3FF">
                        <a:gamma/>
                        <a:shade val="46275"/>
                        <a:invGamma/>
                      </a:srgbClr>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67" name="Group 438"/>
              <p:cNvGrpSpPr>
                <a:grpSpLocks/>
              </p:cNvGrpSpPr>
              <p:nvPr/>
            </p:nvGrpSpPr>
            <p:grpSpPr bwMode="auto">
              <a:xfrm>
                <a:off x="934" y="2647"/>
                <a:ext cx="301" cy="893"/>
                <a:chOff x="934" y="2647"/>
                <a:chExt cx="301" cy="893"/>
              </a:xfrm>
            </p:grpSpPr>
            <p:sp>
              <p:nvSpPr>
                <p:cNvPr id="70" name="Freeform 439"/>
                <p:cNvSpPr>
                  <a:spLocks/>
                </p:cNvSpPr>
                <p:nvPr/>
              </p:nvSpPr>
              <p:spPr bwMode="gray">
                <a:xfrm>
                  <a:off x="934" y="2646"/>
                  <a:ext cx="295" cy="546"/>
                </a:xfrm>
                <a:custGeom>
                  <a:avLst/>
                  <a:gdLst>
                    <a:gd name="T0" fmla="*/ 96 w 137"/>
                    <a:gd name="T1" fmla="*/ 241 h 258"/>
                    <a:gd name="T2" fmla="*/ 131 w 137"/>
                    <a:gd name="T3" fmla="*/ 242 h 258"/>
                    <a:gd name="T4" fmla="*/ 131 w 137"/>
                    <a:gd name="T5" fmla="*/ 243 h 258"/>
                    <a:gd name="T6" fmla="*/ 131 w 137"/>
                    <a:gd name="T7" fmla="*/ 185 h 258"/>
                    <a:gd name="T8" fmla="*/ 90 w 137"/>
                    <a:gd name="T9" fmla="*/ 26 h 258"/>
                    <a:gd name="T10" fmla="*/ 83 w 137"/>
                    <a:gd name="T11" fmla="*/ 6 h 258"/>
                    <a:gd name="T12" fmla="*/ 83 w 137"/>
                    <a:gd name="T13" fmla="*/ 6 h 258"/>
                    <a:gd name="T14" fmla="*/ 82 w 137"/>
                    <a:gd name="T15" fmla="*/ 5 h 258"/>
                    <a:gd name="T16" fmla="*/ 82 w 137"/>
                    <a:gd name="T17" fmla="*/ 4 h 258"/>
                    <a:gd name="T18" fmla="*/ 41 w 137"/>
                    <a:gd name="T19" fmla="*/ 5 h 258"/>
                    <a:gd name="T20" fmla="*/ 1 w 137"/>
                    <a:gd name="T21" fmla="*/ 23 h 258"/>
                    <a:gd name="T22" fmla="*/ 1 w 137"/>
                    <a:gd name="T23" fmla="*/ 25 h 258"/>
                    <a:gd name="T24" fmla="*/ 2 w 137"/>
                    <a:gd name="T25" fmla="*/ 44 h 258"/>
                    <a:gd name="T26" fmla="*/ 42 w 137"/>
                    <a:gd name="T27" fmla="*/ 213 h 258"/>
                    <a:gd name="T28" fmla="*/ 62 w 137"/>
                    <a:gd name="T29" fmla="*/ 258 h 258"/>
                    <a:gd name="T30" fmla="*/ 62 w 137"/>
                    <a:gd name="T31" fmla="*/ 258 h 258"/>
                    <a:gd name="T32" fmla="*/ 62 w 137"/>
                    <a:gd name="T33" fmla="*/ 257 h 258"/>
                    <a:gd name="T34" fmla="*/ 96 w 137"/>
                    <a:gd name="T35" fmla="*/ 2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258">
                      <a:moveTo>
                        <a:pt x="96" y="241"/>
                      </a:moveTo>
                      <a:cubicBezTo>
                        <a:pt x="114" y="237"/>
                        <a:pt x="130" y="237"/>
                        <a:pt x="131" y="242"/>
                      </a:cubicBezTo>
                      <a:cubicBezTo>
                        <a:pt x="131" y="242"/>
                        <a:pt x="131" y="242"/>
                        <a:pt x="131" y="243"/>
                      </a:cubicBezTo>
                      <a:cubicBezTo>
                        <a:pt x="132" y="235"/>
                        <a:pt x="137" y="207"/>
                        <a:pt x="131" y="185"/>
                      </a:cubicBezTo>
                      <a:cubicBezTo>
                        <a:pt x="90" y="26"/>
                        <a:pt x="90" y="26"/>
                        <a:pt x="90" y="26"/>
                      </a:cubicBezTo>
                      <a:cubicBezTo>
                        <a:pt x="90" y="26"/>
                        <a:pt x="87" y="16"/>
                        <a:pt x="83" y="6"/>
                      </a:cubicBezTo>
                      <a:cubicBezTo>
                        <a:pt x="83" y="6"/>
                        <a:pt x="83" y="6"/>
                        <a:pt x="83" y="6"/>
                      </a:cubicBezTo>
                      <a:cubicBezTo>
                        <a:pt x="82" y="5"/>
                        <a:pt x="82" y="5"/>
                        <a:pt x="82" y="5"/>
                      </a:cubicBezTo>
                      <a:cubicBezTo>
                        <a:pt x="82" y="4"/>
                        <a:pt x="82" y="4"/>
                        <a:pt x="82" y="4"/>
                      </a:cubicBezTo>
                      <a:cubicBezTo>
                        <a:pt x="78" y="0"/>
                        <a:pt x="61" y="0"/>
                        <a:pt x="41" y="5"/>
                      </a:cubicBezTo>
                      <a:cubicBezTo>
                        <a:pt x="19" y="10"/>
                        <a:pt x="0" y="17"/>
                        <a:pt x="1" y="23"/>
                      </a:cubicBezTo>
                      <a:cubicBezTo>
                        <a:pt x="1" y="24"/>
                        <a:pt x="1" y="25"/>
                        <a:pt x="1" y="25"/>
                      </a:cubicBezTo>
                      <a:cubicBezTo>
                        <a:pt x="1" y="27"/>
                        <a:pt x="2" y="44"/>
                        <a:pt x="2" y="44"/>
                      </a:cubicBezTo>
                      <a:cubicBezTo>
                        <a:pt x="42" y="213"/>
                        <a:pt x="42" y="213"/>
                        <a:pt x="42" y="213"/>
                      </a:cubicBezTo>
                      <a:cubicBezTo>
                        <a:pt x="42" y="213"/>
                        <a:pt x="54" y="253"/>
                        <a:pt x="62" y="258"/>
                      </a:cubicBezTo>
                      <a:cubicBezTo>
                        <a:pt x="62" y="258"/>
                        <a:pt x="62" y="258"/>
                        <a:pt x="62" y="258"/>
                      </a:cubicBezTo>
                      <a:cubicBezTo>
                        <a:pt x="62" y="258"/>
                        <a:pt x="62" y="257"/>
                        <a:pt x="62" y="257"/>
                      </a:cubicBezTo>
                      <a:cubicBezTo>
                        <a:pt x="60" y="252"/>
                        <a:pt x="77" y="246"/>
                        <a:pt x="96" y="241"/>
                      </a:cubicBezTo>
                      <a:close/>
                    </a:path>
                  </a:pathLst>
                </a:custGeom>
                <a:gradFill rotWithShape="1">
                  <a:gsLst>
                    <a:gs pos="0">
                      <a:srgbClr val="808080">
                        <a:gamma/>
                        <a:tint val="18039"/>
                        <a:invGamma/>
                      </a:srgbClr>
                    </a:gs>
                    <a:gs pos="100000">
                      <a:srgbClr val="80808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1" name="Freeform 440"/>
                <p:cNvSpPr>
                  <a:spLocks/>
                </p:cNvSpPr>
                <p:nvPr/>
              </p:nvSpPr>
              <p:spPr bwMode="gray">
                <a:xfrm>
                  <a:off x="1064" y="3148"/>
                  <a:ext cx="150" cy="57"/>
                </a:xfrm>
                <a:custGeom>
                  <a:avLst/>
                  <a:gdLst>
                    <a:gd name="T0" fmla="*/ 47 w 71"/>
                    <a:gd name="T1" fmla="*/ 12 h 27"/>
                    <a:gd name="T2" fmla="*/ 49 w 71"/>
                    <a:gd name="T3" fmla="*/ 21 h 27"/>
                    <a:gd name="T4" fmla="*/ 71 w 71"/>
                    <a:gd name="T5" fmla="*/ 8 h 27"/>
                    <a:gd name="T6" fmla="*/ 71 w 71"/>
                    <a:gd name="T7" fmla="*/ 7 h 27"/>
                    <a:gd name="T8" fmla="*/ 71 w 71"/>
                    <a:gd name="T9" fmla="*/ 6 h 27"/>
                    <a:gd name="T10" fmla="*/ 71 w 71"/>
                    <a:gd name="T11" fmla="*/ 5 h 27"/>
                    <a:gd name="T12" fmla="*/ 36 w 71"/>
                    <a:gd name="T13" fmla="*/ 4 h 27"/>
                    <a:gd name="T14" fmla="*/ 2 w 71"/>
                    <a:gd name="T15" fmla="*/ 20 h 27"/>
                    <a:gd name="T16" fmla="*/ 2 w 71"/>
                    <a:gd name="T17" fmla="*/ 21 h 27"/>
                    <a:gd name="T18" fmla="*/ 32 w 71"/>
                    <a:gd name="T19" fmla="*/ 25 h 27"/>
                    <a:gd name="T20" fmla="*/ 30 w 71"/>
                    <a:gd name="T21" fmla="*/ 17 h 27"/>
                    <a:gd name="T22" fmla="*/ 47 w 71"/>
                    <a:gd name="T23"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7">
                      <a:moveTo>
                        <a:pt x="47" y="12"/>
                      </a:moveTo>
                      <a:cubicBezTo>
                        <a:pt x="49" y="21"/>
                        <a:pt x="49" y="21"/>
                        <a:pt x="49" y="21"/>
                      </a:cubicBezTo>
                      <a:cubicBezTo>
                        <a:pt x="60" y="17"/>
                        <a:pt x="69" y="12"/>
                        <a:pt x="71" y="8"/>
                      </a:cubicBezTo>
                      <a:cubicBezTo>
                        <a:pt x="71" y="8"/>
                        <a:pt x="71" y="7"/>
                        <a:pt x="71" y="7"/>
                      </a:cubicBezTo>
                      <a:cubicBezTo>
                        <a:pt x="71" y="7"/>
                        <a:pt x="71" y="6"/>
                        <a:pt x="71" y="6"/>
                      </a:cubicBezTo>
                      <a:cubicBezTo>
                        <a:pt x="71" y="5"/>
                        <a:pt x="71" y="5"/>
                        <a:pt x="71" y="5"/>
                      </a:cubicBezTo>
                      <a:cubicBezTo>
                        <a:pt x="70" y="0"/>
                        <a:pt x="54" y="0"/>
                        <a:pt x="36" y="4"/>
                      </a:cubicBezTo>
                      <a:cubicBezTo>
                        <a:pt x="17" y="9"/>
                        <a:pt x="0" y="15"/>
                        <a:pt x="2" y="20"/>
                      </a:cubicBezTo>
                      <a:cubicBezTo>
                        <a:pt x="2" y="20"/>
                        <a:pt x="2" y="21"/>
                        <a:pt x="2" y="21"/>
                      </a:cubicBezTo>
                      <a:cubicBezTo>
                        <a:pt x="5" y="25"/>
                        <a:pt x="18" y="27"/>
                        <a:pt x="32" y="25"/>
                      </a:cubicBezTo>
                      <a:cubicBezTo>
                        <a:pt x="30" y="17"/>
                        <a:pt x="30" y="17"/>
                        <a:pt x="30" y="17"/>
                      </a:cubicBezTo>
                      <a:cubicBezTo>
                        <a:pt x="36" y="13"/>
                        <a:pt x="47" y="12"/>
                        <a:pt x="47" y="12"/>
                      </a:cubicBezTo>
                      <a:close/>
                    </a:path>
                  </a:pathLst>
                </a:custGeom>
                <a:gradFill rotWithShape="1">
                  <a:gsLst>
                    <a:gs pos="0">
                      <a:srgbClr val="808080"/>
                    </a:gs>
                    <a:gs pos="100000">
                      <a:srgbClr val="808080">
                        <a:gamma/>
                        <a:shade val="72549"/>
                        <a:invGamma/>
                      </a:srgbClr>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72" name="Freeform 441"/>
                <p:cNvSpPr>
                  <a:spLocks/>
                </p:cNvSpPr>
                <p:nvPr/>
              </p:nvSpPr>
              <p:spPr bwMode="gray">
                <a:xfrm>
                  <a:off x="1127" y="3172"/>
                  <a:ext cx="108" cy="369"/>
                </a:xfrm>
                <a:custGeom>
                  <a:avLst/>
                  <a:gdLst>
                    <a:gd name="T0" fmla="*/ 51 w 51"/>
                    <a:gd name="T1" fmla="*/ 174 h 174"/>
                    <a:gd name="T2" fmla="*/ 19 w 51"/>
                    <a:gd name="T3" fmla="*/ 9 h 174"/>
                    <a:gd name="T4" fmla="*/ 17 w 51"/>
                    <a:gd name="T5" fmla="*/ 0 h 174"/>
                    <a:gd name="T6" fmla="*/ 0 w 51"/>
                    <a:gd name="T7" fmla="*/ 5 h 174"/>
                    <a:gd name="T8" fmla="*/ 2 w 51"/>
                    <a:gd name="T9" fmla="*/ 13 h 174"/>
                    <a:gd name="T10" fmla="*/ 50 w 51"/>
                    <a:gd name="T11" fmla="*/ 174 h 174"/>
                    <a:gd name="T12" fmla="*/ 51 w 51"/>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51" h="174">
                      <a:moveTo>
                        <a:pt x="51" y="174"/>
                      </a:moveTo>
                      <a:cubicBezTo>
                        <a:pt x="19" y="9"/>
                        <a:pt x="19" y="9"/>
                        <a:pt x="19" y="9"/>
                      </a:cubicBezTo>
                      <a:cubicBezTo>
                        <a:pt x="17" y="0"/>
                        <a:pt x="17" y="0"/>
                        <a:pt x="17" y="0"/>
                      </a:cubicBezTo>
                      <a:cubicBezTo>
                        <a:pt x="17" y="0"/>
                        <a:pt x="6" y="1"/>
                        <a:pt x="0" y="5"/>
                      </a:cubicBezTo>
                      <a:cubicBezTo>
                        <a:pt x="2" y="13"/>
                        <a:pt x="2" y="13"/>
                        <a:pt x="2" y="13"/>
                      </a:cubicBezTo>
                      <a:cubicBezTo>
                        <a:pt x="50" y="174"/>
                        <a:pt x="50" y="174"/>
                        <a:pt x="50" y="174"/>
                      </a:cubicBezTo>
                      <a:lnTo>
                        <a:pt x="51" y="174"/>
                      </a:lnTo>
                      <a:close/>
                    </a:path>
                  </a:pathLst>
                </a:custGeom>
                <a:gradFill rotWithShape="1">
                  <a:gsLst>
                    <a:gs pos="0">
                      <a:srgbClr val="808080">
                        <a:gamma/>
                        <a:tint val="50588"/>
                        <a:invGamma/>
                      </a:srgbClr>
                    </a:gs>
                    <a:gs pos="100000">
                      <a:srgbClr val="808080"/>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nvGrpSpPr>
              <p:cNvPr id="115768" name="Group 442"/>
              <p:cNvGrpSpPr>
                <a:grpSpLocks/>
              </p:cNvGrpSpPr>
              <p:nvPr/>
            </p:nvGrpSpPr>
            <p:grpSpPr bwMode="auto">
              <a:xfrm>
                <a:off x="528" y="1125"/>
                <a:ext cx="714" cy="2040"/>
                <a:chOff x="528" y="1125"/>
                <a:chExt cx="714" cy="2040"/>
              </a:xfrm>
            </p:grpSpPr>
            <p:sp>
              <p:nvSpPr>
                <p:cNvPr id="61" name="Freeform 443"/>
                <p:cNvSpPr>
                  <a:spLocks/>
                </p:cNvSpPr>
                <p:nvPr/>
              </p:nvSpPr>
              <p:spPr bwMode="gray">
                <a:xfrm>
                  <a:off x="528" y="1125"/>
                  <a:ext cx="314" cy="825"/>
                </a:xfrm>
                <a:custGeom>
                  <a:avLst/>
                  <a:gdLst>
                    <a:gd name="T0" fmla="*/ 70 w 149"/>
                    <a:gd name="T1" fmla="*/ 67 h 390"/>
                    <a:gd name="T2" fmla="*/ 28 w 149"/>
                    <a:gd name="T3" fmla="*/ 5 h 390"/>
                    <a:gd name="T4" fmla="*/ 8 w 149"/>
                    <a:gd name="T5" fmla="*/ 147 h 390"/>
                    <a:gd name="T6" fmla="*/ 113 w 149"/>
                    <a:gd name="T7" fmla="*/ 333 h 390"/>
                    <a:gd name="T8" fmla="*/ 149 w 149"/>
                    <a:gd name="T9" fmla="*/ 390 h 390"/>
                    <a:gd name="T10" fmla="*/ 145 w 149"/>
                    <a:gd name="T11" fmla="*/ 375 h 390"/>
                    <a:gd name="T12" fmla="*/ 70 w 149"/>
                    <a:gd name="T13" fmla="*/ 67 h 390"/>
                  </a:gdLst>
                  <a:ahLst/>
                  <a:cxnLst>
                    <a:cxn ang="0">
                      <a:pos x="T0" y="T1"/>
                    </a:cxn>
                    <a:cxn ang="0">
                      <a:pos x="T2" y="T3"/>
                    </a:cxn>
                    <a:cxn ang="0">
                      <a:pos x="T4" y="T5"/>
                    </a:cxn>
                    <a:cxn ang="0">
                      <a:pos x="T6" y="T7"/>
                    </a:cxn>
                    <a:cxn ang="0">
                      <a:pos x="T8" y="T9"/>
                    </a:cxn>
                    <a:cxn ang="0">
                      <a:pos x="T10" y="T11"/>
                    </a:cxn>
                    <a:cxn ang="0">
                      <a:pos x="T12" y="T13"/>
                    </a:cxn>
                  </a:cxnLst>
                  <a:rect l="0" t="0" r="r" b="b"/>
                  <a:pathLst>
                    <a:path w="149" h="390">
                      <a:moveTo>
                        <a:pt x="70" y="67"/>
                      </a:moveTo>
                      <a:cubicBezTo>
                        <a:pt x="70" y="67"/>
                        <a:pt x="43" y="0"/>
                        <a:pt x="28" y="5"/>
                      </a:cubicBezTo>
                      <a:cubicBezTo>
                        <a:pt x="14" y="10"/>
                        <a:pt x="0" y="112"/>
                        <a:pt x="8" y="147"/>
                      </a:cubicBezTo>
                      <a:cubicBezTo>
                        <a:pt x="21" y="199"/>
                        <a:pt x="113" y="333"/>
                        <a:pt x="113" y="333"/>
                      </a:cubicBezTo>
                      <a:cubicBezTo>
                        <a:pt x="149" y="390"/>
                        <a:pt x="149" y="390"/>
                        <a:pt x="149" y="390"/>
                      </a:cubicBezTo>
                      <a:cubicBezTo>
                        <a:pt x="145" y="375"/>
                        <a:pt x="145" y="375"/>
                        <a:pt x="145" y="375"/>
                      </a:cubicBezTo>
                      <a:lnTo>
                        <a:pt x="70" y="67"/>
                      </a:lnTo>
                      <a:close/>
                    </a:path>
                  </a:pathLst>
                </a:custGeom>
                <a:gradFill rotWithShape="1">
                  <a:gsLst>
                    <a:gs pos="0">
                      <a:srgbClr val="4F81BD"/>
                    </a:gs>
                    <a:gs pos="100000">
                      <a:srgbClr val="4F81BD">
                        <a:gamma/>
                        <a:shade val="46275"/>
                        <a:invGamma/>
                      </a:srgbClr>
                    </a:gs>
                  </a:gsLst>
                  <a:lin ang="189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62" name="Freeform 444"/>
                <p:cNvSpPr>
                  <a:spLocks/>
                </p:cNvSpPr>
                <p:nvPr/>
              </p:nvSpPr>
              <p:spPr bwMode="gray">
                <a:xfrm>
                  <a:off x="1214" y="3164"/>
                  <a:ext cx="0" cy="0"/>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1"/>
                        <a:pt x="0" y="1"/>
                      </a:cubicBezTo>
                      <a:cubicBezTo>
                        <a:pt x="0" y="1"/>
                        <a:pt x="0" y="1"/>
                        <a:pt x="0" y="1"/>
                      </a:cubicBezTo>
                      <a:close/>
                    </a:path>
                  </a:pathLst>
                </a:custGeom>
                <a:solidFill>
                  <a:srgbClr val="F7C800"/>
                </a:solidFill>
                <a:ln>
                  <a:noFill/>
                </a:ln>
              </p:spPr>
              <p:txBody>
                <a:bodyPr/>
                <a:lstStyle/>
                <a:p>
                  <a:pPr fontAlgn="auto">
                    <a:spcBef>
                      <a:spcPts val="0"/>
                    </a:spcBef>
                    <a:spcAft>
                      <a:spcPts val="0"/>
                    </a:spcAft>
                    <a:defRPr/>
                  </a:pPr>
                  <a:endParaRPr lang="pt-BR" kern="0">
                    <a:solidFill>
                      <a:sysClr val="windowText" lastClr="000000"/>
                    </a:solidFill>
                  </a:endParaRPr>
                </a:p>
              </p:txBody>
            </p:sp>
            <p:grpSp>
              <p:nvGrpSpPr>
                <p:cNvPr id="115771" name="Group 445"/>
                <p:cNvGrpSpPr>
                  <a:grpSpLocks/>
                </p:cNvGrpSpPr>
                <p:nvPr/>
              </p:nvGrpSpPr>
              <p:grpSpPr bwMode="auto">
                <a:xfrm>
                  <a:off x="971" y="2729"/>
                  <a:ext cx="271" cy="365"/>
                  <a:chOff x="3021" y="2598"/>
                  <a:chExt cx="300" cy="408"/>
                </a:xfrm>
              </p:grpSpPr>
              <p:sp>
                <p:nvSpPr>
                  <p:cNvPr id="64" name="Freeform 446"/>
                  <p:cNvSpPr>
                    <a:spLocks/>
                  </p:cNvSpPr>
                  <p:nvPr/>
                </p:nvSpPr>
                <p:spPr bwMode="gray">
                  <a:xfrm>
                    <a:off x="3021" y="2597"/>
                    <a:ext cx="214" cy="75"/>
                  </a:xfrm>
                  <a:custGeom>
                    <a:avLst/>
                    <a:gdLst>
                      <a:gd name="T0" fmla="*/ 90 w 91"/>
                      <a:gd name="T1" fmla="*/ 13 h 31"/>
                      <a:gd name="T2" fmla="*/ 90 w 91"/>
                      <a:gd name="T3" fmla="*/ 10 h 31"/>
                      <a:gd name="T4" fmla="*/ 40 w 91"/>
                      <a:gd name="T5" fmla="*/ 5 h 31"/>
                      <a:gd name="T6" fmla="*/ 2 w 91"/>
                      <a:gd name="T7" fmla="*/ 29 h 31"/>
                      <a:gd name="T8" fmla="*/ 3 w 91"/>
                      <a:gd name="T9" fmla="*/ 31 h 31"/>
                      <a:gd name="T10" fmla="*/ 41 w 91"/>
                      <a:gd name="T11" fmla="*/ 10 h 31"/>
                      <a:gd name="T12" fmla="*/ 90 w 91"/>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91" h="31">
                        <a:moveTo>
                          <a:pt x="90" y="13"/>
                        </a:moveTo>
                        <a:cubicBezTo>
                          <a:pt x="91" y="12"/>
                          <a:pt x="90" y="10"/>
                          <a:pt x="90" y="10"/>
                        </a:cubicBezTo>
                        <a:cubicBezTo>
                          <a:pt x="89" y="4"/>
                          <a:pt x="63" y="0"/>
                          <a:pt x="40" y="5"/>
                        </a:cubicBezTo>
                        <a:cubicBezTo>
                          <a:pt x="16" y="11"/>
                          <a:pt x="0" y="23"/>
                          <a:pt x="2" y="29"/>
                        </a:cubicBezTo>
                        <a:cubicBezTo>
                          <a:pt x="2" y="29"/>
                          <a:pt x="2" y="31"/>
                          <a:pt x="3" y="31"/>
                        </a:cubicBezTo>
                        <a:cubicBezTo>
                          <a:pt x="5" y="25"/>
                          <a:pt x="20" y="15"/>
                          <a:pt x="41" y="10"/>
                        </a:cubicBezTo>
                        <a:cubicBezTo>
                          <a:pt x="61" y="5"/>
                          <a:pt x="84" y="8"/>
                          <a:pt x="90" y="13"/>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65" name="Freeform 447"/>
                  <p:cNvSpPr>
                    <a:spLocks/>
                  </p:cNvSpPr>
                  <p:nvPr/>
                </p:nvSpPr>
                <p:spPr bwMode="gray">
                  <a:xfrm>
                    <a:off x="3032" y="2646"/>
                    <a:ext cx="216" cy="58"/>
                  </a:xfrm>
                  <a:custGeom>
                    <a:avLst/>
                    <a:gdLst>
                      <a:gd name="T0" fmla="*/ 91 w 91"/>
                      <a:gd name="T1" fmla="*/ 12 h 31"/>
                      <a:gd name="T2" fmla="*/ 90 w 91"/>
                      <a:gd name="T3" fmla="*/ 9 h 31"/>
                      <a:gd name="T4" fmla="*/ 39 w 91"/>
                      <a:gd name="T5" fmla="*/ 5 h 31"/>
                      <a:gd name="T6" fmla="*/ 1 w 91"/>
                      <a:gd name="T7" fmla="*/ 29 h 31"/>
                      <a:gd name="T8" fmla="*/ 2 w 91"/>
                      <a:gd name="T9" fmla="*/ 31 h 31"/>
                      <a:gd name="T10" fmla="*/ 40 w 91"/>
                      <a:gd name="T11" fmla="*/ 10 h 31"/>
                      <a:gd name="T12" fmla="*/ 91 w 91"/>
                      <a:gd name="T13" fmla="*/ 12 h 31"/>
                    </a:gdLst>
                    <a:ahLst/>
                    <a:cxnLst>
                      <a:cxn ang="0">
                        <a:pos x="T0" y="T1"/>
                      </a:cxn>
                      <a:cxn ang="0">
                        <a:pos x="T2" y="T3"/>
                      </a:cxn>
                      <a:cxn ang="0">
                        <a:pos x="T4" y="T5"/>
                      </a:cxn>
                      <a:cxn ang="0">
                        <a:pos x="T6" y="T7"/>
                      </a:cxn>
                      <a:cxn ang="0">
                        <a:pos x="T8" y="T9"/>
                      </a:cxn>
                      <a:cxn ang="0">
                        <a:pos x="T10" y="T11"/>
                      </a:cxn>
                      <a:cxn ang="0">
                        <a:pos x="T12" y="T13"/>
                      </a:cxn>
                    </a:cxnLst>
                    <a:rect l="0" t="0" r="r" b="b"/>
                    <a:pathLst>
                      <a:path w="91" h="31">
                        <a:moveTo>
                          <a:pt x="91" y="12"/>
                        </a:moveTo>
                        <a:cubicBezTo>
                          <a:pt x="91" y="12"/>
                          <a:pt x="90" y="10"/>
                          <a:pt x="90" y="9"/>
                        </a:cubicBezTo>
                        <a:cubicBezTo>
                          <a:pt x="89" y="3"/>
                          <a:pt x="63" y="0"/>
                          <a:pt x="39" y="5"/>
                        </a:cubicBezTo>
                        <a:cubicBezTo>
                          <a:pt x="16" y="10"/>
                          <a:pt x="0" y="22"/>
                          <a:pt x="1" y="29"/>
                        </a:cubicBezTo>
                        <a:cubicBezTo>
                          <a:pt x="1" y="29"/>
                          <a:pt x="1" y="31"/>
                          <a:pt x="2" y="31"/>
                        </a:cubicBezTo>
                        <a:cubicBezTo>
                          <a:pt x="5" y="25"/>
                          <a:pt x="20" y="14"/>
                          <a:pt x="40" y="10"/>
                        </a:cubicBezTo>
                        <a:cubicBezTo>
                          <a:pt x="61" y="5"/>
                          <a:pt x="84" y="8"/>
                          <a:pt x="91" y="12"/>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66" name="Freeform 448"/>
                  <p:cNvSpPr>
                    <a:spLocks/>
                  </p:cNvSpPr>
                  <p:nvPr/>
                </p:nvSpPr>
                <p:spPr bwMode="gray">
                  <a:xfrm>
                    <a:off x="3042" y="2690"/>
                    <a:ext cx="216" cy="75"/>
                  </a:xfrm>
                  <a:custGeom>
                    <a:avLst/>
                    <a:gdLst>
                      <a:gd name="T0" fmla="*/ 92 w 92"/>
                      <a:gd name="T1" fmla="*/ 13 h 32"/>
                      <a:gd name="T2" fmla="*/ 91 w 92"/>
                      <a:gd name="T3" fmla="*/ 10 h 32"/>
                      <a:gd name="T4" fmla="*/ 40 w 92"/>
                      <a:gd name="T5" fmla="*/ 5 h 32"/>
                      <a:gd name="T6" fmla="*/ 2 w 92"/>
                      <a:gd name="T7" fmla="*/ 29 h 32"/>
                      <a:gd name="T8" fmla="*/ 2 w 92"/>
                      <a:gd name="T9" fmla="*/ 32 h 32"/>
                      <a:gd name="T10" fmla="*/ 41 w 92"/>
                      <a:gd name="T11" fmla="*/ 10 h 32"/>
                      <a:gd name="T12" fmla="*/ 92 w 92"/>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92" h="32">
                        <a:moveTo>
                          <a:pt x="92" y="13"/>
                        </a:moveTo>
                        <a:cubicBezTo>
                          <a:pt x="92" y="12"/>
                          <a:pt x="91" y="10"/>
                          <a:pt x="91" y="10"/>
                        </a:cubicBezTo>
                        <a:cubicBezTo>
                          <a:pt x="90" y="3"/>
                          <a:pt x="64" y="0"/>
                          <a:pt x="40" y="5"/>
                        </a:cubicBezTo>
                        <a:cubicBezTo>
                          <a:pt x="16" y="11"/>
                          <a:pt x="0" y="23"/>
                          <a:pt x="2" y="29"/>
                        </a:cubicBezTo>
                        <a:cubicBezTo>
                          <a:pt x="2" y="30"/>
                          <a:pt x="2" y="31"/>
                          <a:pt x="2" y="32"/>
                        </a:cubicBezTo>
                        <a:cubicBezTo>
                          <a:pt x="5" y="25"/>
                          <a:pt x="20" y="15"/>
                          <a:pt x="41" y="10"/>
                        </a:cubicBezTo>
                        <a:cubicBezTo>
                          <a:pt x="62" y="5"/>
                          <a:pt x="85" y="8"/>
                          <a:pt x="92" y="13"/>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67" name="Freeform 449"/>
                  <p:cNvSpPr>
                    <a:spLocks/>
                  </p:cNvSpPr>
                  <p:nvPr/>
                </p:nvSpPr>
                <p:spPr bwMode="gray">
                  <a:xfrm>
                    <a:off x="3074" y="2811"/>
                    <a:ext cx="223" cy="78"/>
                  </a:xfrm>
                  <a:custGeom>
                    <a:avLst/>
                    <a:gdLst>
                      <a:gd name="T0" fmla="*/ 94 w 94"/>
                      <a:gd name="T1" fmla="*/ 13 h 32"/>
                      <a:gd name="T2" fmla="*/ 93 w 94"/>
                      <a:gd name="T3" fmla="*/ 10 h 32"/>
                      <a:gd name="T4" fmla="*/ 41 w 94"/>
                      <a:gd name="T5" fmla="*/ 6 h 32"/>
                      <a:gd name="T6" fmla="*/ 2 w 94"/>
                      <a:gd name="T7" fmla="*/ 30 h 32"/>
                      <a:gd name="T8" fmla="*/ 3 w 94"/>
                      <a:gd name="T9" fmla="*/ 32 h 32"/>
                      <a:gd name="T10" fmla="*/ 42 w 94"/>
                      <a:gd name="T11" fmla="*/ 10 h 32"/>
                      <a:gd name="T12" fmla="*/ 94 w 94"/>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94" h="32">
                        <a:moveTo>
                          <a:pt x="94" y="13"/>
                        </a:moveTo>
                        <a:cubicBezTo>
                          <a:pt x="94" y="12"/>
                          <a:pt x="93" y="11"/>
                          <a:pt x="93" y="10"/>
                        </a:cubicBezTo>
                        <a:cubicBezTo>
                          <a:pt x="92" y="4"/>
                          <a:pt x="65" y="0"/>
                          <a:pt x="41" y="6"/>
                        </a:cubicBezTo>
                        <a:cubicBezTo>
                          <a:pt x="17" y="11"/>
                          <a:pt x="0" y="23"/>
                          <a:pt x="2" y="30"/>
                        </a:cubicBezTo>
                        <a:cubicBezTo>
                          <a:pt x="2" y="30"/>
                          <a:pt x="2" y="32"/>
                          <a:pt x="3" y="32"/>
                        </a:cubicBezTo>
                        <a:cubicBezTo>
                          <a:pt x="6" y="26"/>
                          <a:pt x="21" y="15"/>
                          <a:pt x="42" y="10"/>
                        </a:cubicBezTo>
                        <a:cubicBezTo>
                          <a:pt x="63" y="5"/>
                          <a:pt x="87" y="8"/>
                          <a:pt x="94" y="13"/>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68" name="Freeform 450"/>
                  <p:cNvSpPr>
                    <a:spLocks/>
                  </p:cNvSpPr>
                  <p:nvPr/>
                </p:nvSpPr>
                <p:spPr bwMode="gray">
                  <a:xfrm>
                    <a:off x="3085" y="2857"/>
                    <a:ext cx="221" cy="58"/>
                  </a:xfrm>
                  <a:custGeom>
                    <a:avLst/>
                    <a:gdLst>
                      <a:gd name="T0" fmla="*/ 94 w 94"/>
                      <a:gd name="T1" fmla="*/ 14 h 33"/>
                      <a:gd name="T2" fmla="*/ 93 w 94"/>
                      <a:gd name="T3" fmla="*/ 11 h 33"/>
                      <a:gd name="T4" fmla="*/ 41 w 94"/>
                      <a:gd name="T5" fmla="*/ 6 h 33"/>
                      <a:gd name="T6" fmla="*/ 2 w 94"/>
                      <a:gd name="T7" fmla="*/ 30 h 33"/>
                      <a:gd name="T8" fmla="*/ 3 w 94"/>
                      <a:gd name="T9" fmla="*/ 33 h 33"/>
                      <a:gd name="T10" fmla="*/ 42 w 94"/>
                      <a:gd name="T11" fmla="*/ 11 h 33"/>
                      <a:gd name="T12" fmla="*/ 94 w 94"/>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94" y="14"/>
                        </a:moveTo>
                        <a:cubicBezTo>
                          <a:pt x="94" y="13"/>
                          <a:pt x="93" y="11"/>
                          <a:pt x="93" y="11"/>
                        </a:cubicBezTo>
                        <a:cubicBezTo>
                          <a:pt x="92" y="4"/>
                          <a:pt x="65" y="0"/>
                          <a:pt x="41" y="6"/>
                        </a:cubicBezTo>
                        <a:cubicBezTo>
                          <a:pt x="17" y="12"/>
                          <a:pt x="0" y="24"/>
                          <a:pt x="2" y="30"/>
                        </a:cubicBezTo>
                        <a:cubicBezTo>
                          <a:pt x="2" y="31"/>
                          <a:pt x="2" y="32"/>
                          <a:pt x="3" y="33"/>
                        </a:cubicBezTo>
                        <a:cubicBezTo>
                          <a:pt x="5" y="26"/>
                          <a:pt x="21" y="16"/>
                          <a:pt x="42" y="11"/>
                        </a:cubicBezTo>
                        <a:cubicBezTo>
                          <a:pt x="63" y="6"/>
                          <a:pt x="87" y="9"/>
                          <a:pt x="94" y="14"/>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69" name="Freeform 451"/>
                  <p:cNvSpPr>
                    <a:spLocks/>
                  </p:cNvSpPr>
                  <p:nvPr/>
                </p:nvSpPr>
                <p:spPr bwMode="gray">
                  <a:xfrm>
                    <a:off x="3099" y="2857"/>
                    <a:ext cx="225" cy="58"/>
                  </a:xfrm>
                  <a:custGeom>
                    <a:avLst/>
                    <a:gdLst>
                      <a:gd name="T0" fmla="*/ 93 w 94"/>
                      <a:gd name="T1" fmla="*/ 10 h 33"/>
                      <a:gd name="T2" fmla="*/ 41 w 94"/>
                      <a:gd name="T3" fmla="*/ 6 h 33"/>
                      <a:gd name="T4" fmla="*/ 2 w 94"/>
                      <a:gd name="T5" fmla="*/ 30 h 33"/>
                      <a:gd name="T6" fmla="*/ 2 w 94"/>
                      <a:gd name="T7" fmla="*/ 33 h 33"/>
                      <a:gd name="T8" fmla="*/ 42 w 94"/>
                      <a:gd name="T9" fmla="*/ 10 h 33"/>
                      <a:gd name="T10" fmla="*/ 93 w 94"/>
                      <a:gd name="T11" fmla="*/ 13 h 33"/>
                      <a:gd name="T12" fmla="*/ 93 w 94"/>
                      <a:gd name="T13" fmla="*/ 10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93" y="10"/>
                        </a:moveTo>
                        <a:cubicBezTo>
                          <a:pt x="92" y="4"/>
                          <a:pt x="65" y="0"/>
                          <a:pt x="41" y="6"/>
                        </a:cubicBezTo>
                        <a:cubicBezTo>
                          <a:pt x="17" y="11"/>
                          <a:pt x="0" y="24"/>
                          <a:pt x="2" y="30"/>
                        </a:cubicBezTo>
                        <a:cubicBezTo>
                          <a:pt x="2" y="31"/>
                          <a:pt x="2" y="32"/>
                          <a:pt x="2" y="33"/>
                        </a:cubicBezTo>
                        <a:cubicBezTo>
                          <a:pt x="5" y="26"/>
                          <a:pt x="21" y="15"/>
                          <a:pt x="42" y="10"/>
                        </a:cubicBezTo>
                        <a:cubicBezTo>
                          <a:pt x="63" y="6"/>
                          <a:pt x="87" y="8"/>
                          <a:pt x="93" y="13"/>
                        </a:cubicBezTo>
                        <a:cubicBezTo>
                          <a:pt x="94" y="12"/>
                          <a:pt x="93" y="11"/>
                          <a:pt x="93" y="10"/>
                        </a:cubicBezTo>
                        <a:close/>
                      </a:path>
                    </a:pathLst>
                  </a:custGeom>
                  <a:gradFill rotWithShape="1">
                    <a:gsLst>
                      <a:gs pos="0">
                        <a:srgbClr val="5DB6FF">
                          <a:gamma/>
                          <a:shade val="46275"/>
                          <a:invGamma/>
                        </a:srgbClr>
                      </a:gs>
                      <a:gs pos="50000">
                        <a:srgbClr val="5DB6FF"/>
                      </a:gs>
                      <a:gs pos="100000">
                        <a:srgbClr val="5DB6FF">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grpSp>
        <p:grpSp>
          <p:nvGrpSpPr>
            <p:cNvPr id="115733" name="Group 469"/>
            <p:cNvGrpSpPr>
              <a:grpSpLocks/>
            </p:cNvGrpSpPr>
            <p:nvPr/>
          </p:nvGrpSpPr>
          <p:grpSpPr bwMode="auto">
            <a:xfrm>
              <a:off x="6928504" y="1632607"/>
              <a:ext cx="386691" cy="1566861"/>
              <a:chOff x="2879" y="970"/>
              <a:chExt cx="416" cy="1683"/>
            </a:xfrm>
          </p:grpSpPr>
          <p:sp>
            <p:nvSpPr>
              <p:cNvPr id="42" name="Freeform 470"/>
              <p:cNvSpPr>
                <a:spLocks/>
              </p:cNvSpPr>
              <p:nvPr/>
            </p:nvSpPr>
            <p:spPr bwMode="gray">
              <a:xfrm>
                <a:off x="2880" y="971"/>
                <a:ext cx="406" cy="1457"/>
              </a:xfrm>
              <a:custGeom>
                <a:avLst/>
                <a:gdLst>
                  <a:gd name="T0" fmla="*/ 7 w 246"/>
                  <a:gd name="T1" fmla="*/ 814 h 884"/>
                  <a:gd name="T2" fmla="*/ 24 w 246"/>
                  <a:gd name="T3" fmla="*/ 670 h 884"/>
                  <a:gd name="T4" fmla="*/ 29 w 246"/>
                  <a:gd name="T5" fmla="*/ 651 h 884"/>
                  <a:gd name="T6" fmla="*/ 82 w 246"/>
                  <a:gd name="T7" fmla="*/ 321 h 884"/>
                  <a:gd name="T8" fmla="*/ 82 w 246"/>
                  <a:gd name="T9" fmla="*/ 321 h 884"/>
                  <a:gd name="T10" fmla="*/ 21 w 246"/>
                  <a:gd name="T11" fmla="*/ 186 h 884"/>
                  <a:gd name="T12" fmla="*/ 0 w 246"/>
                  <a:gd name="T13" fmla="*/ 122 h 884"/>
                  <a:gd name="T14" fmla="*/ 66 w 246"/>
                  <a:gd name="T15" fmla="*/ 21 h 884"/>
                  <a:gd name="T16" fmla="*/ 107 w 246"/>
                  <a:gd name="T17" fmla="*/ 57 h 884"/>
                  <a:gd name="T18" fmla="*/ 109 w 246"/>
                  <a:gd name="T19" fmla="*/ 34 h 884"/>
                  <a:gd name="T20" fmla="*/ 127 w 246"/>
                  <a:gd name="T21" fmla="*/ 68 h 884"/>
                  <a:gd name="T22" fmla="*/ 155 w 246"/>
                  <a:gd name="T23" fmla="*/ 10 h 884"/>
                  <a:gd name="T24" fmla="*/ 166 w 246"/>
                  <a:gd name="T25" fmla="*/ 47 h 884"/>
                  <a:gd name="T26" fmla="*/ 194 w 246"/>
                  <a:gd name="T27" fmla="*/ 38 h 884"/>
                  <a:gd name="T28" fmla="*/ 227 w 246"/>
                  <a:gd name="T29" fmla="*/ 86 h 884"/>
                  <a:gd name="T30" fmla="*/ 238 w 246"/>
                  <a:gd name="T31" fmla="*/ 165 h 884"/>
                  <a:gd name="T32" fmla="*/ 120 w 246"/>
                  <a:gd name="T33" fmla="*/ 328 h 884"/>
                  <a:gd name="T34" fmla="*/ 99 w 246"/>
                  <a:gd name="T35" fmla="*/ 662 h 884"/>
                  <a:gd name="T36" fmla="*/ 101 w 246"/>
                  <a:gd name="T37" fmla="*/ 678 h 884"/>
                  <a:gd name="T38" fmla="*/ 87 w 246"/>
                  <a:gd name="T39" fmla="*/ 827 h 884"/>
                  <a:gd name="T40" fmla="*/ 75 w 246"/>
                  <a:gd name="T41" fmla="*/ 868 h 884"/>
                  <a:gd name="T42" fmla="*/ 14 w 246"/>
                  <a:gd name="T43" fmla="*/ 865 h 884"/>
                  <a:gd name="T44" fmla="*/ 7 w 246"/>
                  <a:gd name="T45" fmla="*/ 81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884">
                    <a:moveTo>
                      <a:pt x="7" y="814"/>
                    </a:moveTo>
                    <a:cubicBezTo>
                      <a:pt x="24" y="670"/>
                      <a:pt x="24" y="670"/>
                      <a:pt x="24" y="670"/>
                    </a:cubicBezTo>
                    <a:cubicBezTo>
                      <a:pt x="24" y="670"/>
                      <a:pt x="26" y="658"/>
                      <a:pt x="29" y="651"/>
                    </a:cubicBezTo>
                    <a:cubicBezTo>
                      <a:pt x="82" y="321"/>
                      <a:pt x="82" y="321"/>
                      <a:pt x="82" y="321"/>
                    </a:cubicBezTo>
                    <a:cubicBezTo>
                      <a:pt x="82" y="321"/>
                      <a:pt x="82" y="321"/>
                      <a:pt x="82" y="321"/>
                    </a:cubicBezTo>
                    <a:cubicBezTo>
                      <a:pt x="21" y="186"/>
                      <a:pt x="21" y="186"/>
                      <a:pt x="21" y="186"/>
                    </a:cubicBezTo>
                    <a:cubicBezTo>
                      <a:pt x="8" y="167"/>
                      <a:pt x="0" y="122"/>
                      <a:pt x="0" y="122"/>
                    </a:cubicBezTo>
                    <a:cubicBezTo>
                      <a:pt x="13" y="56"/>
                      <a:pt x="66" y="21"/>
                      <a:pt x="66" y="21"/>
                    </a:cubicBezTo>
                    <a:cubicBezTo>
                      <a:pt x="66" y="21"/>
                      <a:pt x="96" y="47"/>
                      <a:pt x="107" y="57"/>
                    </a:cubicBezTo>
                    <a:cubicBezTo>
                      <a:pt x="106" y="42"/>
                      <a:pt x="109" y="34"/>
                      <a:pt x="109" y="34"/>
                    </a:cubicBezTo>
                    <a:cubicBezTo>
                      <a:pt x="113" y="34"/>
                      <a:pt x="122" y="56"/>
                      <a:pt x="127" y="68"/>
                    </a:cubicBezTo>
                    <a:cubicBezTo>
                      <a:pt x="144" y="0"/>
                      <a:pt x="155" y="10"/>
                      <a:pt x="155" y="10"/>
                    </a:cubicBezTo>
                    <a:cubicBezTo>
                      <a:pt x="166" y="47"/>
                      <a:pt x="166" y="47"/>
                      <a:pt x="166" y="47"/>
                    </a:cubicBezTo>
                    <a:cubicBezTo>
                      <a:pt x="166" y="47"/>
                      <a:pt x="187" y="38"/>
                      <a:pt x="194" y="38"/>
                    </a:cubicBezTo>
                    <a:cubicBezTo>
                      <a:pt x="209" y="37"/>
                      <a:pt x="227" y="86"/>
                      <a:pt x="227" y="86"/>
                    </a:cubicBezTo>
                    <a:cubicBezTo>
                      <a:pt x="243" y="124"/>
                      <a:pt x="246" y="147"/>
                      <a:pt x="238" y="165"/>
                    </a:cubicBezTo>
                    <a:cubicBezTo>
                      <a:pt x="223" y="202"/>
                      <a:pt x="155" y="285"/>
                      <a:pt x="120" y="328"/>
                    </a:cubicBezTo>
                    <a:cubicBezTo>
                      <a:pt x="114" y="414"/>
                      <a:pt x="99" y="663"/>
                      <a:pt x="99" y="662"/>
                    </a:cubicBezTo>
                    <a:cubicBezTo>
                      <a:pt x="99" y="663"/>
                      <a:pt x="100" y="671"/>
                      <a:pt x="101" y="678"/>
                    </a:cubicBezTo>
                    <a:cubicBezTo>
                      <a:pt x="87" y="827"/>
                      <a:pt x="87" y="827"/>
                      <a:pt x="87" y="827"/>
                    </a:cubicBezTo>
                    <a:cubicBezTo>
                      <a:pt x="87" y="827"/>
                      <a:pt x="83" y="856"/>
                      <a:pt x="75" y="868"/>
                    </a:cubicBezTo>
                    <a:cubicBezTo>
                      <a:pt x="75" y="868"/>
                      <a:pt x="41" y="884"/>
                      <a:pt x="14" y="865"/>
                    </a:cubicBezTo>
                    <a:cubicBezTo>
                      <a:pt x="14" y="865"/>
                      <a:pt x="5" y="840"/>
                      <a:pt x="7" y="814"/>
                    </a:cubicBezTo>
                    <a:close/>
                  </a:path>
                </a:pathLst>
              </a:custGeom>
              <a:gradFill rotWithShape="1">
                <a:gsLst>
                  <a:gs pos="0">
                    <a:srgbClr val="C0C0C0"/>
                  </a:gs>
                  <a:gs pos="100000">
                    <a:srgbClr val="C0C0C0">
                      <a:gamma/>
                      <a:shade val="86275"/>
                      <a:invGamma/>
                    </a:srgbClr>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3" name="Freeform 471"/>
              <p:cNvSpPr>
                <a:spLocks/>
              </p:cNvSpPr>
              <p:nvPr/>
            </p:nvSpPr>
            <p:spPr bwMode="gray">
              <a:xfrm>
                <a:off x="2883" y="1001"/>
                <a:ext cx="209" cy="553"/>
              </a:xfrm>
              <a:custGeom>
                <a:avLst/>
                <a:gdLst>
                  <a:gd name="T0" fmla="*/ 127 w 127"/>
                  <a:gd name="T1" fmla="*/ 49 h 336"/>
                  <a:gd name="T2" fmla="*/ 97 w 127"/>
                  <a:gd name="T3" fmla="*/ 335 h 336"/>
                  <a:gd name="T4" fmla="*/ 69 w 127"/>
                  <a:gd name="T5" fmla="*/ 276 h 336"/>
                  <a:gd name="T6" fmla="*/ 15 w 127"/>
                  <a:gd name="T7" fmla="*/ 156 h 336"/>
                  <a:gd name="T8" fmla="*/ 0 w 127"/>
                  <a:gd name="T9" fmla="*/ 103 h 336"/>
                  <a:gd name="T10" fmla="*/ 66 w 127"/>
                  <a:gd name="T11" fmla="*/ 2 h 336"/>
                  <a:gd name="T12" fmla="*/ 127 w 127"/>
                  <a:gd name="T13" fmla="*/ 49 h 336"/>
                </a:gdLst>
                <a:ahLst/>
                <a:cxnLst>
                  <a:cxn ang="0">
                    <a:pos x="T0" y="T1"/>
                  </a:cxn>
                  <a:cxn ang="0">
                    <a:pos x="T2" y="T3"/>
                  </a:cxn>
                  <a:cxn ang="0">
                    <a:pos x="T4" y="T5"/>
                  </a:cxn>
                  <a:cxn ang="0">
                    <a:pos x="T6" y="T7"/>
                  </a:cxn>
                  <a:cxn ang="0">
                    <a:pos x="T8" y="T9"/>
                  </a:cxn>
                  <a:cxn ang="0">
                    <a:pos x="T10" y="T11"/>
                  </a:cxn>
                  <a:cxn ang="0">
                    <a:pos x="T12" y="T13"/>
                  </a:cxn>
                </a:cxnLst>
                <a:rect l="0" t="0" r="r" b="b"/>
                <a:pathLst>
                  <a:path w="127" h="336">
                    <a:moveTo>
                      <a:pt x="127" y="49"/>
                    </a:moveTo>
                    <a:cubicBezTo>
                      <a:pt x="127" y="49"/>
                      <a:pt x="102" y="283"/>
                      <a:pt x="97" y="335"/>
                    </a:cubicBezTo>
                    <a:cubicBezTo>
                      <a:pt x="97" y="336"/>
                      <a:pt x="71" y="280"/>
                      <a:pt x="69" y="276"/>
                    </a:cubicBezTo>
                    <a:cubicBezTo>
                      <a:pt x="50" y="235"/>
                      <a:pt x="15" y="156"/>
                      <a:pt x="15" y="156"/>
                    </a:cubicBezTo>
                    <a:cubicBezTo>
                      <a:pt x="15" y="156"/>
                      <a:pt x="1" y="127"/>
                      <a:pt x="0" y="103"/>
                    </a:cubicBezTo>
                    <a:cubicBezTo>
                      <a:pt x="0" y="73"/>
                      <a:pt x="41" y="4"/>
                      <a:pt x="66" y="2"/>
                    </a:cubicBezTo>
                    <a:cubicBezTo>
                      <a:pt x="86" y="0"/>
                      <a:pt x="127" y="49"/>
                      <a:pt x="127" y="49"/>
                    </a:cubicBezTo>
                    <a:close/>
                  </a:path>
                </a:pathLst>
              </a:custGeom>
              <a:gradFill rotWithShape="1">
                <a:gsLst>
                  <a:gs pos="0">
                    <a:srgbClr val="808080"/>
                  </a:gs>
                  <a:gs pos="100000">
                    <a:srgbClr val="808080">
                      <a:gamma/>
                      <a:shade val="46275"/>
                      <a:invGamma/>
                    </a:srgbClr>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4" name="Freeform 472"/>
              <p:cNvSpPr>
                <a:spLocks/>
              </p:cNvSpPr>
              <p:nvPr/>
            </p:nvSpPr>
            <p:spPr bwMode="gray">
              <a:xfrm>
                <a:off x="2985" y="1028"/>
                <a:ext cx="310" cy="1058"/>
              </a:xfrm>
              <a:custGeom>
                <a:avLst/>
                <a:gdLst>
                  <a:gd name="T0" fmla="*/ 38 w 188"/>
                  <a:gd name="T1" fmla="*/ 643 h 643"/>
                  <a:gd name="T2" fmla="*/ 0 w 188"/>
                  <a:gd name="T3" fmla="*/ 639 h 643"/>
                  <a:gd name="T4" fmla="*/ 38 w 188"/>
                  <a:gd name="T5" fmla="*/ 289 h 643"/>
                  <a:gd name="T6" fmla="*/ 70 w 188"/>
                  <a:gd name="T7" fmla="*/ 34 h 643"/>
                  <a:gd name="T8" fmla="*/ 131 w 188"/>
                  <a:gd name="T9" fmla="*/ 3 h 643"/>
                  <a:gd name="T10" fmla="*/ 160 w 188"/>
                  <a:gd name="T11" fmla="*/ 40 h 643"/>
                  <a:gd name="T12" fmla="*/ 175 w 188"/>
                  <a:gd name="T13" fmla="*/ 130 h 643"/>
                  <a:gd name="T14" fmla="*/ 132 w 188"/>
                  <a:gd name="T15" fmla="*/ 197 h 643"/>
                  <a:gd name="T16" fmla="*/ 56 w 188"/>
                  <a:gd name="T17" fmla="*/ 293 h 643"/>
                  <a:gd name="T18" fmla="*/ 36 w 188"/>
                  <a:gd name="T19" fmla="*/ 625 h 643"/>
                  <a:gd name="T20" fmla="*/ 38 w 188"/>
                  <a:gd name="T21" fmla="*/ 64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643">
                    <a:moveTo>
                      <a:pt x="38" y="643"/>
                    </a:moveTo>
                    <a:cubicBezTo>
                      <a:pt x="0" y="639"/>
                      <a:pt x="0" y="639"/>
                      <a:pt x="0" y="639"/>
                    </a:cubicBezTo>
                    <a:cubicBezTo>
                      <a:pt x="38" y="289"/>
                      <a:pt x="38" y="289"/>
                      <a:pt x="38" y="289"/>
                    </a:cubicBezTo>
                    <a:cubicBezTo>
                      <a:pt x="70" y="34"/>
                      <a:pt x="70" y="34"/>
                      <a:pt x="70" y="34"/>
                    </a:cubicBezTo>
                    <a:cubicBezTo>
                      <a:pt x="70" y="34"/>
                      <a:pt x="104" y="6"/>
                      <a:pt x="131" y="3"/>
                    </a:cubicBezTo>
                    <a:cubicBezTo>
                      <a:pt x="131" y="3"/>
                      <a:pt x="143" y="0"/>
                      <a:pt x="160" y="40"/>
                    </a:cubicBezTo>
                    <a:cubicBezTo>
                      <a:pt x="160" y="40"/>
                      <a:pt x="188" y="99"/>
                      <a:pt x="175" y="130"/>
                    </a:cubicBezTo>
                    <a:cubicBezTo>
                      <a:pt x="162" y="162"/>
                      <a:pt x="132" y="197"/>
                      <a:pt x="132" y="197"/>
                    </a:cubicBezTo>
                    <a:cubicBezTo>
                      <a:pt x="132" y="197"/>
                      <a:pt x="76" y="272"/>
                      <a:pt x="56" y="293"/>
                    </a:cubicBezTo>
                    <a:cubicBezTo>
                      <a:pt x="56" y="293"/>
                      <a:pt x="42" y="542"/>
                      <a:pt x="36" y="625"/>
                    </a:cubicBezTo>
                    <a:cubicBezTo>
                      <a:pt x="36" y="630"/>
                      <a:pt x="37" y="641"/>
                      <a:pt x="38" y="643"/>
                    </a:cubicBezTo>
                  </a:path>
                </a:pathLst>
              </a:custGeom>
              <a:gradFill rotWithShape="1">
                <a:gsLst>
                  <a:gs pos="0">
                    <a:srgbClr val="808080">
                      <a:gamma/>
                      <a:shade val="32157"/>
                      <a:invGamma/>
                    </a:srgbClr>
                  </a:gs>
                  <a:gs pos="100000">
                    <a:srgbClr val="808080"/>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5" name="Freeform 473"/>
              <p:cNvSpPr>
                <a:spLocks/>
              </p:cNvSpPr>
              <p:nvPr/>
            </p:nvSpPr>
            <p:spPr bwMode="gray">
              <a:xfrm>
                <a:off x="3040" y="984"/>
                <a:ext cx="157" cy="571"/>
              </a:xfrm>
              <a:custGeom>
                <a:avLst/>
                <a:gdLst>
                  <a:gd name="T0" fmla="*/ 30 w 95"/>
                  <a:gd name="T1" fmla="*/ 61 h 347"/>
                  <a:gd name="T2" fmla="*/ 58 w 95"/>
                  <a:gd name="T3" fmla="*/ 3 h 347"/>
                  <a:gd name="T4" fmla="*/ 92 w 95"/>
                  <a:gd name="T5" fmla="*/ 122 h 347"/>
                  <a:gd name="T6" fmla="*/ 24 w 95"/>
                  <a:gd name="T7" fmla="*/ 293 h 347"/>
                  <a:gd name="T8" fmla="*/ 0 w 95"/>
                  <a:gd name="T9" fmla="*/ 347 h 347"/>
                  <a:gd name="T10" fmla="*/ 2 w 95"/>
                  <a:gd name="T11" fmla="*/ 333 h 347"/>
                  <a:gd name="T12" fmla="*/ 30 w 95"/>
                  <a:gd name="T13" fmla="*/ 61 h 347"/>
                </a:gdLst>
                <a:ahLst/>
                <a:cxnLst>
                  <a:cxn ang="0">
                    <a:pos x="T0" y="T1"/>
                  </a:cxn>
                  <a:cxn ang="0">
                    <a:pos x="T2" y="T3"/>
                  </a:cxn>
                  <a:cxn ang="0">
                    <a:pos x="T4" y="T5"/>
                  </a:cxn>
                  <a:cxn ang="0">
                    <a:pos x="T6" y="T7"/>
                  </a:cxn>
                  <a:cxn ang="0">
                    <a:pos x="T8" y="T9"/>
                  </a:cxn>
                  <a:cxn ang="0">
                    <a:pos x="T10" y="T11"/>
                  </a:cxn>
                  <a:cxn ang="0">
                    <a:pos x="T12" y="T13"/>
                  </a:cxn>
                </a:cxnLst>
                <a:rect l="0" t="0" r="r" b="b"/>
                <a:pathLst>
                  <a:path w="95" h="347">
                    <a:moveTo>
                      <a:pt x="30" y="61"/>
                    </a:moveTo>
                    <a:cubicBezTo>
                      <a:pt x="30" y="61"/>
                      <a:pt x="45" y="0"/>
                      <a:pt x="58" y="3"/>
                    </a:cubicBezTo>
                    <a:cubicBezTo>
                      <a:pt x="71" y="5"/>
                      <a:pt x="95" y="91"/>
                      <a:pt x="92" y="122"/>
                    </a:cubicBezTo>
                    <a:cubicBezTo>
                      <a:pt x="87" y="168"/>
                      <a:pt x="24" y="293"/>
                      <a:pt x="24" y="293"/>
                    </a:cubicBezTo>
                    <a:cubicBezTo>
                      <a:pt x="0" y="347"/>
                      <a:pt x="0" y="347"/>
                      <a:pt x="0" y="347"/>
                    </a:cubicBezTo>
                    <a:cubicBezTo>
                      <a:pt x="2" y="333"/>
                      <a:pt x="2" y="333"/>
                      <a:pt x="2" y="333"/>
                    </a:cubicBezTo>
                    <a:lnTo>
                      <a:pt x="30" y="61"/>
                    </a:lnTo>
                    <a:close/>
                  </a:path>
                </a:pathLst>
              </a:custGeom>
              <a:gradFill rotWithShape="1">
                <a:gsLst>
                  <a:gs pos="0">
                    <a:srgbClr val="808080">
                      <a:gamma/>
                      <a:shade val="72549"/>
                      <a:invGamma/>
                    </a:srgbClr>
                  </a:gs>
                  <a:gs pos="100000">
                    <a:srgbClr val="808080"/>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6" name="Freeform 474"/>
              <p:cNvSpPr>
                <a:spLocks/>
              </p:cNvSpPr>
              <p:nvPr/>
            </p:nvSpPr>
            <p:spPr bwMode="gray">
              <a:xfrm>
                <a:off x="2902" y="2397"/>
                <a:ext cx="3" cy="4"/>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1" y="0"/>
                      <a:pt x="0" y="0"/>
                      <a:pt x="0" y="0"/>
                    </a:cubicBezTo>
                    <a:close/>
                  </a:path>
                </a:pathLst>
              </a:custGeom>
              <a:solidFill>
                <a:srgbClr val="F7C800"/>
              </a:soli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7" name="Freeform 475"/>
              <p:cNvSpPr>
                <a:spLocks/>
              </p:cNvSpPr>
              <p:nvPr/>
            </p:nvSpPr>
            <p:spPr bwMode="gray">
              <a:xfrm>
                <a:off x="2891" y="2042"/>
                <a:ext cx="157" cy="360"/>
              </a:xfrm>
              <a:custGeom>
                <a:avLst/>
                <a:gdLst>
                  <a:gd name="T0" fmla="*/ 39 w 96"/>
                  <a:gd name="T1" fmla="*/ 210 h 220"/>
                  <a:gd name="T2" fmla="*/ 9 w 96"/>
                  <a:gd name="T3" fmla="*/ 215 h 220"/>
                  <a:gd name="T4" fmla="*/ 9 w 96"/>
                  <a:gd name="T5" fmla="*/ 215 h 220"/>
                  <a:gd name="T6" fmla="*/ 2 w 96"/>
                  <a:gd name="T7" fmla="*/ 166 h 220"/>
                  <a:gd name="T8" fmla="*/ 18 w 96"/>
                  <a:gd name="T9" fmla="*/ 25 h 220"/>
                  <a:gd name="T10" fmla="*/ 22 w 96"/>
                  <a:gd name="T11" fmla="*/ 7 h 220"/>
                  <a:gd name="T12" fmla="*/ 22 w 96"/>
                  <a:gd name="T13" fmla="*/ 7 h 220"/>
                  <a:gd name="T14" fmla="*/ 23 w 96"/>
                  <a:gd name="T15" fmla="*/ 6 h 220"/>
                  <a:gd name="T16" fmla="*/ 23 w 96"/>
                  <a:gd name="T17" fmla="*/ 6 h 220"/>
                  <a:gd name="T18" fmla="*/ 58 w 96"/>
                  <a:gd name="T19" fmla="*/ 1 h 220"/>
                  <a:gd name="T20" fmla="*/ 94 w 96"/>
                  <a:gd name="T21" fmla="*/ 12 h 220"/>
                  <a:gd name="T22" fmla="*/ 94 w 96"/>
                  <a:gd name="T23" fmla="*/ 14 h 220"/>
                  <a:gd name="T24" fmla="*/ 96 w 96"/>
                  <a:gd name="T25" fmla="*/ 30 h 220"/>
                  <a:gd name="T26" fmla="*/ 82 w 96"/>
                  <a:gd name="T27" fmla="*/ 179 h 220"/>
                  <a:gd name="T28" fmla="*/ 70 w 96"/>
                  <a:gd name="T29" fmla="*/ 220 h 220"/>
                  <a:gd name="T30" fmla="*/ 70 w 96"/>
                  <a:gd name="T31" fmla="*/ 220 h 220"/>
                  <a:gd name="T32" fmla="*/ 70 w 96"/>
                  <a:gd name="T33" fmla="*/ 219 h 220"/>
                  <a:gd name="T34" fmla="*/ 39 w 96"/>
                  <a:gd name="T35" fmla="*/ 2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220">
                    <a:moveTo>
                      <a:pt x="39" y="210"/>
                    </a:moveTo>
                    <a:cubicBezTo>
                      <a:pt x="23" y="208"/>
                      <a:pt x="9" y="211"/>
                      <a:pt x="9" y="215"/>
                    </a:cubicBezTo>
                    <a:cubicBezTo>
                      <a:pt x="9" y="215"/>
                      <a:pt x="9" y="215"/>
                      <a:pt x="9" y="215"/>
                    </a:cubicBezTo>
                    <a:cubicBezTo>
                      <a:pt x="7" y="209"/>
                      <a:pt x="0" y="185"/>
                      <a:pt x="2" y="166"/>
                    </a:cubicBezTo>
                    <a:cubicBezTo>
                      <a:pt x="18" y="25"/>
                      <a:pt x="18" y="25"/>
                      <a:pt x="18" y="25"/>
                    </a:cubicBezTo>
                    <a:cubicBezTo>
                      <a:pt x="18" y="25"/>
                      <a:pt x="19" y="16"/>
                      <a:pt x="22" y="7"/>
                    </a:cubicBezTo>
                    <a:cubicBezTo>
                      <a:pt x="22" y="7"/>
                      <a:pt x="22" y="7"/>
                      <a:pt x="22" y="7"/>
                    </a:cubicBezTo>
                    <a:cubicBezTo>
                      <a:pt x="22" y="6"/>
                      <a:pt x="23" y="6"/>
                      <a:pt x="23" y="6"/>
                    </a:cubicBezTo>
                    <a:cubicBezTo>
                      <a:pt x="23" y="6"/>
                      <a:pt x="23" y="6"/>
                      <a:pt x="23" y="6"/>
                    </a:cubicBezTo>
                    <a:cubicBezTo>
                      <a:pt x="26" y="1"/>
                      <a:pt x="41" y="0"/>
                      <a:pt x="58" y="1"/>
                    </a:cubicBezTo>
                    <a:cubicBezTo>
                      <a:pt x="77" y="3"/>
                      <a:pt x="95" y="7"/>
                      <a:pt x="94" y="12"/>
                    </a:cubicBezTo>
                    <a:cubicBezTo>
                      <a:pt x="94" y="12"/>
                      <a:pt x="94" y="13"/>
                      <a:pt x="94" y="14"/>
                    </a:cubicBezTo>
                    <a:cubicBezTo>
                      <a:pt x="95" y="15"/>
                      <a:pt x="96" y="30"/>
                      <a:pt x="96" y="30"/>
                    </a:cubicBezTo>
                    <a:cubicBezTo>
                      <a:pt x="82" y="179"/>
                      <a:pt x="82" y="179"/>
                      <a:pt x="82" y="179"/>
                    </a:cubicBezTo>
                    <a:cubicBezTo>
                      <a:pt x="82" y="179"/>
                      <a:pt x="76" y="215"/>
                      <a:pt x="70" y="220"/>
                    </a:cubicBezTo>
                    <a:cubicBezTo>
                      <a:pt x="70" y="220"/>
                      <a:pt x="70" y="220"/>
                      <a:pt x="70" y="220"/>
                    </a:cubicBezTo>
                    <a:cubicBezTo>
                      <a:pt x="70" y="220"/>
                      <a:pt x="70" y="220"/>
                      <a:pt x="70" y="219"/>
                    </a:cubicBezTo>
                    <a:cubicBezTo>
                      <a:pt x="70" y="215"/>
                      <a:pt x="55" y="211"/>
                      <a:pt x="39" y="210"/>
                    </a:cubicBezTo>
                    <a:close/>
                  </a:path>
                </a:pathLst>
              </a:custGeom>
              <a:gradFill rotWithShape="1">
                <a:gsLst>
                  <a:gs pos="0">
                    <a:srgbClr val="808080">
                      <a:gamma/>
                      <a:tint val="18039"/>
                      <a:invGamma/>
                    </a:srgbClr>
                  </a:gs>
                  <a:gs pos="100000">
                    <a:srgbClr val="808080"/>
                  </a:gs>
                </a:gsLst>
                <a:lin ang="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48" name="Freeform 476"/>
              <p:cNvSpPr>
                <a:spLocks/>
              </p:cNvSpPr>
              <p:nvPr/>
            </p:nvSpPr>
            <p:spPr bwMode="gray">
              <a:xfrm>
                <a:off x="2902" y="2384"/>
                <a:ext cx="102" cy="31"/>
              </a:xfrm>
              <a:custGeom>
                <a:avLst/>
                <a:gdLst>
                  <a:gd name="T0" fmla="*/ 21 w 61"/>
                  <a:gd name="T1" fmla="*/ 10 h 19"/>
                  <a:gd name="T2" fmla="*/ 21 w 61"/>
                  <a:gd name="T3" fmla="*/ 18 h 19"/>
                  <a:gd name="T4" fmla="*/ 1 w 61"/>
                  <a:gd name="T5" fmla="*/ 9 h 19"/>
                  <a:gd name="T6" fmla="*/ 0 w 61"/>
                  <a:gd name="T7" fmla="*/ 9 h 19"/>
                  <a:gd name="T8" fmla="*/ 0 w 61"/>
                  <a:gd name="T9" fmla="*/ 7 h 19"/>
                  <a:gd name="T10" fmla="*/ 0 w 61"/>
                  <a:gd name="T11" fmla="*/ 7 h 19"/>
                  <a:gd name="T12" fmla="*/ 30 w 61"/>
                  <a:gd name="T13" fmla="*/ 2 h 19"/>
                  <a:gd name="T14" fmla="*/ 61 w 61"/>
                  <a:gd name="T15" fmla="*/ 11 h 19"/>
                  <a:gd name="T16" fmla="*/ 61 w 61"/>
                  <a:gd name="T17" fmla="*/ 12 h 19"/>
                  <a:gd name="T18" fmla="*/ 36 w 61"/>
                  <a:gd name="T19" fmla="*/ 19 h 19"/>
                  <a:gd name="T20" fmla="*/ 37 w 61"/>
                  <a:gd name="T21" fmla="*/ 12 h 19"/>
                  <a:gd name="T22" fmla="*/ 21 w 61"/>
                  <a:gd name="T2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9">
                    <a:moveTo>
                      <a:pt x="21" y="10"/>
                    </a:moveTo>
                    <a:cubicBezTo>
                      <a:pt x="21" y="18"/>
                      <a:pt x="21" y="18"/>
                      <a:pt x="21" y="18"/>
                    </a:cubicBezTo>
                    <a:cubicBezTo>
                      <a:pt x="10" y="16"/>
                      <a:pt x="3" y="12"/>
                      <a:pt x="1" y="9"/>
                    </a:cubicBezTo>
                    <a:cubicBezTo>
                      <a:pt x="0" y="9"/>
                      <a:pt x="0" y="9"/>
                      <a:pt x="0" y="9"/>
                    </a:cubicBezTo>
                    <a:cubicBezTo>
                      <a:pt x="0" y="8"/>
                      <a:pt x="0" y="8"/>
                      <a:pt x="0" y="7"/>
                    </a:cubicBezTo>
                    <a:cubicBezTo>
                      <a:pt x="0" y="7"/>
                      <a:pt x="0" y="7"/>
                      <a:pt x="0" y="7"/>
                    </a:cubicBezTo>
                    <a:cubicBezTo>
                      <a:pt x="0" y="3"/>
                      <a:pt x="14" y="0"/>
                      <a:pt x="30" y="2"/>
                    </a:cubicBezTo>
                    <a:cubicBezTo>
                      <a:pt x="46" y="3"/>
                      <a:pt x="61" y="7"/>
                      <a:pt x="61" y="11"/>
                    </a:cubicBezTo>
                    <a:cubicBezTo>
                      <a:pt x="61" y="12"/>
                      <a:pt x="61" y="12"/>
                      <a:pt x="61" y="12"/>
                    </a:cubicBezTo>
                    <a:cubicBezTo>
                      <a:pt x="58" y="16"/>
                      <a:pt x="48" y="19"/>
                      <a:pt x="36" y="19"/>
                    </a:cubicBezTo>
                    <a:cubicBezTo>
                      <a:pt x="37" y="12"/>
                      <a:pt x="37" y="12"/>
                      <a:pt x="37" y="12"/>
                    </a:cubicBezTo>
                    <a:cubicBezTo>
                      <a:pt x="30" y="9"/>
                      <a:pt x="21" y="10"/>
                      <a:pt x="21" y="10"/>
                    </a:cubicBezTo>
                    <a:close/>
                  </a:path>
                </a:pathLst>
              </a:custGeom>
              <a:gradFill rotWithShape="1">
                <a:gsLst>
                  <a:gs pos="0">
                    <a:srgbClr val="808080"/>
                  </a:gs>
                  <a:gs pos="100000">
                    <a:srgbClr val="808080">
                      <a:gamma/>
                      <a:shade val="72549"/>
                      <a:invGamma/>
                    </a:srgbClr>
                  </a:gs>
                </a:gsLst>
                <a:lin ang="27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49" name="Freeform 477"/>
              <p:cNvSpPr>
                <a:spLocks/>
              </p:cNvSpPr>
              <p:nvPr/>
            </p:nvSpPr>
            <p:spPr bwMode="gray">
              <a:xfrm>
                <a:off x="2927" y="2397"/>
                <a:ext cx="36" cy="255"/>
              </a:xfrm>
              <a:custGeom>
                <a:avLst/>
                <a:gdLst>
                  <a:gd name="T0" fmla="*/ 0 w 24"/>
                  <a:gd name="T1" fmla="*/ 154 h 154"/>
                  <a:gd name="T2" fmla="*/ 8 w 24"/>
                  <a:gd name="T3" fmla="*/ 9 h 154"/>
                  <a:gd name="T4" fmla="*/ 8 w 24"/>
                  <a:gd name="T5" fmla="*/ 1 h 154"/>
                  <a:gd name="T6" fmla="*/ 24 w 24"/>
                  <a:gd name="T7" fmla="*/ 3 h 154"/>
                  <a:gd name="T8" fmla="*/ 23 w 24"/>
                  <a:gd name="T9" fmla="*/ 10 h 154"/>
                  <a:gd name="T10" fmla="*/ 1 w 24"/>
                  <a:gd name="T11" fmla="*/ 154 h 154"/>
                  <a:gd name="T12" fmla="*/ 0 w 24"/>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4" h="154">
                    <a:moveTo>
                      <a:pt x="0" y="154"/>
                    </a:moveTo>
                    <a:cubicBezTo>
                      <a:pt x="8" y="9"/>
                      <a:pt x="8" y="9"/>
                      <a:pt x="8" y="9"/>
                    </a:cubicBezTo>
                    <a:cubicBezTo>
                      <a:pt x="8" y="1"/>
                      <a:pt x="8" y="1"/>
                      <a:pt x="8" y="1"/>
                    </a:cubicBezTo>
                    <a:cubicBezTo>
                      <a:pt x="8" y="1"/>
                      <a:pt x="17" y="0"/>
                      <a:pt x="24" y="3"/>
                    </a:cubicBezTo>
                    <a:cubicBezTo>
                      <a:pt x="23" y="10"/>
                      <a:pt x="23" y="10"/>
                      <a:pt x="23" y="10"/>
                    </a:cubicBezTo>
                    <a:cubicBezTo>
                      <a:pt x="1" y="154"/>
                      <a:pt x="1" y="154"/>
                      <a:pt x="1" y="154"/>
                    </a:cubicBezTo>
                    <a:lnTo>
                      <a:pt x="0" y="154"/>
                    </a:lnTo>
                    <a:close/>
                  </a:path>
                </a:pathLst>
              </a:custGeom>
              <a:gradFill rotWithShape="1">
                <a:gsLst>
                  <a:gs pos="0">
                    <a:srgbClr val="808080">
                      <a:gamma/>
                      <a:tint val="50588"/>
                      <a:invGamma/>
                    </a:srgbClr>
                  </a:gs>
                  <a:gs pos="100000">
                    <a:srgbClr val="808080"/>
                  </a:gs>
                </a:gsLst>
                <a:lin ang="189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grpSp>
            <p:nvGrpSpPr>
              <p:cNvPr id="115758" name="Group 478"/>
              <p:cNvGrpSpPr>
                <a:grpSpLocks/>
              </p:cNvGrpSpPr>
              <p:nvPr/>
            </p:nvGrpSpPr>
            <p:grpSpPr bwMode="auto">
              <a:xfrm>
                <a:off x="2889" y="2096"/>
                <a:ext cx="155" cy="237"/>
                <a:chOff x="2889" y="2096"/>
                <a:chExt cx="155" cy="237"/>
              </a:xfrm>
            </p:grpSpPr>
            <p:sp>
              <p:nvSpPr>
                <p:cNvPr id="51" name="Freeform 479"/>
                <p:cNvSpPr>
                  <a:spLocks/>
                </p:cNvSpPr>
                <p:nvPr/>
              </p:nvSpPr>
              <p:spPr bwMode="gray">
                <a:xfrm>
                  <a:off x="2954" y="2094"/>
                  <a:ext cx="93" cy="31"/>
                </a:xfrm>
                <a:custGeom>
                  <a:avLst/>
                  <a:gdLst>
                    <a:gd name="T0" fmla="*/ 1 w 79"/>
                    <a:gd name="T1" fmla="*/ 15 h 20"/>
                    <a:gd name="T2" fmla="*/ 1 w 79"/>
                    <a:gd name="T3" fmla="*/ 12 h 20"/>
                    <a:gd name="T4" fmla="*/ 44 w 79"/>
                    <a:gd name="T5" fmla="*/ 2 h 20"/>
                    <a:gd name="T6" fmla="*/ 79 w 79"/>
                    <a:gd name="T7" fmla="*/ 18 h 20"/>
                    <a:gd name="T8" fmla="*/ 78 w 79"/>
                    <a:gd name="T9" fmla="*/ 20 h 20"/>
                    <a:gd name="T10" fmla="*/ 43 w 79"/>
                    <a:gd name="T11" fmla="*/ 6 h 20"/>
                    <a:gd name="T12" fmla="*/ 1 w 79"/>
                    <a:gd name="T13" fmla="*/ 15 h 20"/>
                  </a:gdLst>
                  <a:ahLst/>
                  <a:cxnLst>
                    <a:cxn ang="0">
                      <a:pos x="T0" y="T1"/>
                    </a:cxn>
                    <a:cxn ang="0">
                      <a:pos x="T2" y="T3"/>
                    </a:cxn>
                    <a:cxn ang="0">
                      <a:pos x="T4" y="T5"/>
                    </a:cxn>
                    <a:cxn ang="0">
                      <a:pos x="T6" y="T7"/>
                    </a:cxn>
                    <a:cxn ang="0">
                      <a:pos x="T8" y="T9"/>
                    </a:cxn>
                    <a:cxn ang="0">
                      <a:pos x="T10" y="T11"/>
                    </a:cxn>
                    <a:cxn ang="0">
                      <a:pos x="T12" y="T13"/>
                    </a:cxn>
                  </a:cxnLst>
                  <a:rect l="0" t="0" r="r" b="b"/>
                  <a:pathLst>
                    <a:path w="79" h="20">
                      <a:moveTo>
                        <a:pt x="1" y="15"/>
                      </a:moveTo>
                      <a:cubicBezTo>
                        <a:pt x="0" y="14"/>
                        <a:pt x="1" y="13"/>
                        <a:pt x="1" y="12"/>
                      </a:cubicBezTo>
                      <a:cubicBezTo>
                        <a:pt x="1" y="7"/>
                        <a:pt x="23" y="0"/>
                        <a:pt x="44" y="2"/>
                      </a:cubicBezTo>
                      <a:cubicBezTo>
                        <a:pt x="64" y="4"/>
                        <a:pt x="79" y="12"/>
                        <a:pt x="79" y="18"/>
                      </a:cubicBezTo>
                      <a:cubicBezTo>
                        <a:pt x="79" y="19"/>
                        <a:pt x="79" y="20"/>
                        <a:pt x="78" y="20"/>
                      </a:cubicBezTo>
                      <a:cubicBezTo>
                        <a:pt x="75" y="15"/>
                        <a:pt x="61" y="8"/>
                        <a:pt x="43" y="6"/>
                      </a:cubicBezTo>
                      <a:cubicBezTo>
                        <a:pt x="25" y="5"/>
                        <a:pt x="6" y="10"/>
                        <a:pt x="1" y="15"/>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52" name="Freeform 480"/>
                <p:cNvSpPr>
                  <a:spLocks/>
                </p:cNvSpPr>
                <p:nvPr/>
              </p:nvSpPr>
              <p:spPr bwMode="gray">
                <a:xfrm>
                  <a:off x="2954" y="2121"/>
                  <a:ext cx="93" cy="35"/>
                </a:xfrm>
                <a:custGeom>
                  <a:avLst/>
                  <a:gdLst>
                    <a:gd name="T0" fmla="*/ 1 w 80"/>
                    <a:gd name="T1" fmla="*/ 14 h 20"/>
                    <a:gd name="T2" fmla="*/ 1 w 80"/>
                    <a:gd name="T3" fmla="*/ 12 h 20"/>
                    <a:gd name="T4" fmla="*/ 44 w 80"/>
                    <a:gd name="T5" fmla="*/ 2 h 20"/>
                    <a:gd name="T6" fmla="*/ 79 w 80"/>
                    <a:gd name="T7" fmla="*/ 17 h 20"/>
                    <a:gd name="T8" fmla="*/ 79 w 80"/>
                    <a:gd name="T9" fmla="*/ 20 h 20"/>
                    <a:gd name="T10" fmla="*/ 44 w 80"/>
                    <a:gd name="T11" fmla="*/ 6 h 20"/>
                    <a:gd name="T12" fmla="*/ 1 w 80"/>
                    <a:gd name="T13" fmla="*/ 14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1" y="14"/>
                      </a:moveTo>
                      <a:cubicBezTo>
                        <a:pt x="0" y="14"/>
                        <a:pt x="1" y="12"/>
                        <a:pt x="1" y="12"/>
                      </a:cubicBezTo>
                      <a:cubicBezTo>
                        <a:pt x="1" y="6"/>
                        <a:pt x="23" y="0"/>
                        <a:pt x="44" y="2"/>
                      </a:cubicBezTo>
                      <a:cubicBezTo>
                        <a:pt x="65" y="4"/>
                        <a:pt x="80" y="12"/>
                        <a:pt x="79" y="17"/>
                      </a:cubicBezTo>
                      <a:cubicBezTo>
                        <a:pt x="79" y="18"/>
                        <a:pt x="79" y="19"/>
                        <a:pt x="79" y="20"/>
                      </a:cubicBezTo>
                      <a:cubicBezTo>
                        <a:pt x="76" y="15"/>
                        <a:pt x="62" y="8"/>
                        <a:pt x="44" y="6"/>
                      </a:cubicBezTo>
                      <a:cubicBezTo>
                        <a:pt x="25" y="4"/>
                        <a:pt x="6" y="9"/>
                        <a:pt x="1" y="14"/>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53" name="Freeform 481"/>
                <p:cNvSpPr>
                  <a:spLocks/>
                </p:cNvSpPr>
                <p:nvPr/>
              </p:nvSpPr>
              <p:spPr bwMode="gray">
                <a:xfrm>
                  <a:off x="2954" y="2151"/>
                  <a:ext cx="93" cy="31"/>
                </a:xfrm>
                <a:custGeom>
                  <a:avLst/>
                  <a:gdLst>
                    <a:gd name="T0" fmla="*/ 1 w 80"/>
                    <a:gd name="T1" fmla="*/ 14 h 20"/>
                    <a:gd name="T2" fmla="*/ 1 w 80"/>
                    <a:gd name="T3" fmla="*/ 12 h 20"/>
                    <a:gd name="T4" fmla="*/ 44 w 80"/>
                    <a:gd name="T5" fmla="*/ 2 h 20"/>
                    <a:gd name="T6" fmla="*/ 80 w 80"/>
                    <a:gd name="T7" fmla="*/ 17 h 20"/>
                    <a:gd name="T8" fmla="*/ 79 w 80"/>
                    <a:gd name="T9" fmla="*/ 20 h 20"/>
                    <a:gd name="T10" fmla="*/ 44 w 80"/>
                    <a:gd name="T11" fmla="*/ 6 h 20"/>
                    <a:gd name="T12" fmla="*/ 1 w 80"/>
                    <a:gd name="T13" fmla="*/ 14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1" y="14"/>
                      </a:moveTo>
                      <a:cubicBezTo>
                        <a:pt x="0" y="13"/>
                        <a:pt x="1" y="12"/>
                        <a:pt x="1" y="12"/>
                      </a:cubicBezTo>
                      <a:cubicBezTo>
                        <a:pt x="1" y="6"/>
                        <a:pt x="23" y="0"/>
                        <a:pt x="44" y="2"/>
                      </a:cubicBezTo>
                      <a:cubicBezTo>
                        <a:pt x="65" y="4"/>
                        <a:pt x="80" y="12"/>
                        <a:pt x="80" y="17"/>
                      </a:cubicBezTo>
                      <a:cubicBezTo>
                        <a:pt x="80" y="18"/>
                        <a:pt x="80" y="19"/>
                        <a:pt x="79" y="20"/>
                      </a:cubicBezTo>
                      <a:cubicBezTo>
                        <a:pt x="76" y="15"/>
                        <a:pt x="62" y="7"/>
                        <a:pt x="44" y="6"/>
                      </a:cubicBezTo>
                      <a:cubicBezTo>
                        <a:pt x="26" y="4"/>
                        <a:pt x="6" y="9"/>
                        <a:pt x="1" y="14"/>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54" name="Freeform 482"/>
                <p:cNvSpPr>
                  <a:spLocks/>
                </p:cNvSpPr>
                <p:nvPr/>
              </p:nvSpPr>
              <p:spPr bwMode="gray">
                <a:xfrm>
                  <a:off x="2954" y="2239"/>
                  <a:ext cx="82" cy="35"/>
                </a:xfrm>
                <a:custGeom>
                  <a:avLst/>
                  <a:gdLst>
                    <a:gd name="T0" fmla="*/ 0 w 81"/>
                    <a:gd name="T1" fmla="*/ 15 h 21"/>
                    <a:gd name="T2" fmla="*/ 0 w 81"/>
                    <a:gd name="T3" fmla="*/ 12 h 21"/>
                    <a:gd name="T4" fmla="*/ 44 w 81"/>
                    <a:gd name="T5" fmla="*/ 2 h 21"/>
                    <a:gd name="T6" fmla="*/ 81 w 81"/>
                    <a:gd name="T7" fmla="*/ 18 h 21"/>
                    <a:gd name="T8" fmla="*/ 80 w 81"/>
                    <a:gd name="T9" fmla="*/ 21 h 21"/>
                    <a:gd name="T10" fmla="*/ 44 w 81"/>
                    <a:gd name="T11" fmla="*/ 6 h 21"/>
                    <a:gd name="T12" fmla="*/ 0 w 81"/>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81" h="21">
                      <a:moveTo>
                        <a:pt x="0" y="15"/>
                      </a:moveTo>
                      <a:cubicBezTo>
                        <a:pt x="0" y="14"/>
                        <a:pt x="0" y="13"/>
                        <a:pt x="0" y="12"/>
                      </a:cubicBezTo>
                      <a:cubicBezTo>
                        <a:pt x="1" y="7"/>
                        <a:pt x="23" y="0"/>
                        <a:pt x="44" y="2"/>
                      </a:cubicBezTo>
                      <a:cubicBezTo>
                        <a:pt x="66" y="4"/>
                        <a:pt x="81" y="13"/>
                        <a:pt x="81" y="18"/>
                      </a:cubicBezTo>
                      <a:cubicBezTo>
                        <a:pt x="81" y="19"/>
                        <a:pt x="81" y="20"/>
                        <a:pt x="80" y="21"/>
                      </a:cubicBezTo>
                      <a:cubicBezTo>
                        <a:pt x="77" y="15"/>
                        <a:pt x="63" y="8"/>
                        <a:pt x="44" y="6"/>
                      </a:cubicBezTo>
                      <a:cubicBezTo>
                        <a:pt x="25" y="5"/>
                        <a:pt x="5" y="10"/>
                        <a:pt x="0" y="15"/>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55" name="Freeform 483"/>
                <p:cNvSpPr>
                  <a:spLocks/>
                </p:cNvSpPr>
                <p:nvPr/>
              </p:nvSpPr>
              <p:spPr bwMode="gray">
                <a:xfrm>
                  <a:off x="2954" y="2270"/>
                  <a:ext cx="82" cy="31"/>
                </a:xfrm>
                <a:custGeom>
                  <a:avLst/>
                  <a:gdLst>
                    <a:gd name="T0" fmla="*/ 0 w 82"/>
                    <a:gd name="T1" fmla="*/ 15 h 21"/>
                    <a:gd name="T2" fmla="*/ 0 w 82"/>
                    <a:gd name="T3" fmla="*/ 12 h 21"/>
                    <a:gd name="T4" fmla="*/ 45 w 82"/>
                    <a:gd name="T5" fmla="*/ 2 h 21"/>
                    <a:gd name="T6" fmla="*/ 81 w 82"/>
                    <a:gd name="T7" fmla="*/ 18 h 21"/>
                    <a:gd name="T8" fmla="*/ 81 w 82"/>
                    <a:gd name="T9" fmla="*/ 21 h 21"/>
                    <a:gd name="T10" fmla="*/ 44 w 82"/>
                    <a:gd name="T11" fmla="*/ 6 h 21"/>
                    <a:gd name="T12" fmla="*/ 0 w 8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82" h="21">
                      <a:moveTo>
                        <a:pt x="0" y="15"/>
                      </a:moveTo>
                      <a:cubicBezTo>
                        <a:pt x="0" y="14"/>
                        <a:pt x="0" y="13"/>
                        <a:pt x="0" y="12"/>
                      </a:cubicBezTo>
                      <a:cubicBezTo>
                        <a:pt x="1" y="7"/>
                        <a:pt x="23" y="0"/>
                        <a:pt x="45" y="2"/>
                      </a:cubicBezTo>
                      <a:cubicBezTo>
                        <a:pt x="66" y="4"/>
                        <a:pt x="82" y="13"/>
                        <a:pt x="81" y="18"/>
                      </a:cubicBezTo>
                      <a:cubicBezTo>
                        <a:pt x="81" y="19"/>
                        <a:pt x="81" y="20"/>
                        <a:pt x="81" y="21"/>
                      </a:cubicBezTo>
                      <a:cubicBezTo>
                        <a:pt x="78" y="15"/>
                        <a:pt x="63" y="8"/>
                        <a:pt x="44" y="6"/>
                      </a:cubicBezTo>
                      <a:cubicBezTo>
                        <a:pt x="26" y="5"/>
                        <a:pt x="5" y="10"/>
                        <a:pt x="0" y="15"/>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56" name="Freeform 484"/>
                <p:cNvSpPr>
                  <a:spLocks/>
                </p:cNvSpPr>
                <p:nvPr/>
              </p:nvSpPr>
              <p:spPr bwMode="gray">
                <a:xfrm>
                  <a:off x="2954" y="2301"/>
                  <a:ext cx="71" cy="31"/>
                </a:xfrm>
                <a:custGeom>
                  <a:avLst/>
                  <a:gdLst>
                    <a:gd name="T0" fmla="*/ 1 w 82"/>
                    <a:gd name="T1" fmla="*/ 12 h 20"/>
                    <a:gd name="T2" fmla="*/ 45 w 82"/>
                    <a:gd name="T3" fmla="*/ 2 h 20"/>
                    <a:gd name="T4" fmla="*/ 81 w 82"/>
                    <a:gd name="T5" fmla="*/ 18 h 20"/>
                    <a:gd name="T6" fmla="*/ 81 w 82"/>
                    <a:gd name="T7" fmla="*/ 20 h 20"/>
                    <a:gd name="T8" fmla="*/ 45 w 82"/>
                    <a:gd name="T9" fmla="*/ 6 h 20"/>
                    <a:gd name="T10" fmla="*/ 1 w 82"/>
                    <a:gd name="T11" fmla="*/ 14 h 20"/>
                    <a:gd name="T12" fmla="*/ 1 w 82"/>
                    <a:gd name="T13" fmla="*/ 12 h 20"/>
                  </a:gdLst>
                  <a:ahLst/>
                  <a:cxnLst>
                    <a:cxn ang="0">
                      <a:pos x="T0" y="T1"/>
                    </a:cxn>
                    <a:cxn ang="0">
                      <a:pos x="T2" y="T3"/>
                    </a:cxn>
                    <a:cxn ang="0">
                      <a:pos x="T4" y="T5"/>
                    </a:cxn>
                    <a:cxn ang="0">
                      <a:pos x="T6" y="T7"/>
                    </a:cxn>
                    <a:cxn ang="0">
                      <a:pos x="T8" y="T9"/>
                    </a:cxn>
                    <a:cxn ang="0">
                      <a:pos x="T10" y="T11"/>
                    </a:cxn>
                    <a:cxn ang="0">
                      <a:pos x="T12" y="T13"/>
                    </a:cxn>
                  </a:cxnLst>
                  <a:rect l="0" t="0" r="r" b="b"/>
                  <a:pathLst>
                    <a:path w="82" h="20">
                      <a:moveTo>
                        <a:pt x="1" y="12"/>
                      </a:moveTo>
                      <a:cubicBezTo>
                        <a:pt x="1" y="6"/>
                        <a:pt x="23" y="0"/>
                        <a:pt x="45" y="2"/>
                      </a:cubicBezTo>
                      <a:cubicBezTo>
                        <a:pt x="66" y="4"/>
                        <a:pt x="82" y="12"/>
                        <a:pt x="81" y="18"/>
                      </a:cubicBezTo>
                      <a:cubicBezTo>
                        <a:pt x="81" y="18"/>
                        <a:pt x="81" y="20"/>
                        <a:pt x="81" y="20"/>
                      </a:cubicBezTo>
                      <a:cubicBezTo>
                        <a:pt x="78" y="15"/>
                        <a:pt x="63" y="8"/>
                        <a:pt x="45" y="6"/>
                      </a:cubicBezTo>
                      <a:cubicBezTo>
                        <a:pt x="26" y="4"/>
                        <a:pt x="5" y="9"/>
                        <a:pt x="1" y="14"/>
                      </a:cubicBezTo>
                      <a:cubicBezTo>
                        <a:pt x="0" y="14"/>
                        <a:pt x="0" y="13"/>
                        <a:pt x="1" y="12"/>
                      </a:cubicBezTo>
                      <a:close/>
                    </a:path>
                  </a:pathLst>
                </a:custGeom>
                <a:gradFill rotWithShape="1">
                  <a:gsLst>
                    <a:gs pos="0">
                      <a:srgbClr val="EAEAEA">
                        <a:gamma/>
                        <a:shade val="46275"/>
                        <a:invGamma/>
                      </a:srgbClr>
                    </a:gs>
                    <a:gs pos="50000">
                      <a:srgbClr val="EAEAEA"/>
                    </a:gs>
                    <a:gs pos="100000">
                      <a:srgbClr val="EAEAEA">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grpSp>
          <p:nvGrpSpPr>
            <p:cNvPr id="115734" name="Group 400"/>
            <p:cNvGrpSpPr>
              <a:grpSpLocks/>
            </p:cNvGrpSpPr>
            <p:nvPr/>
          </p:nvGrpSpPr>
          <p:grpSpPr bwMode="auto">
            <a:xfrm>
              <a:off x="7388225" y="1163638"/>
              <a:ext cx="750888" cy="3017838"/>
              <a:chOff x="1895" y="1061"/>
              <a:chExt cx="473" cy="1901"/>
            </a:xfrm>
          </p:grpSpPr>
          <p:sp>
            <p:nvSpPr>
              <p:cNvPr id="27" name="Freeform 401"/>
              <p:cNvSpPr>
                <a:spLocks/>
              </p:cNvSpPr>
              <p:nvPr/>
            </p:nvSpPr>
            <p:spPr bwMode="gray">
              <a:xfrm>
                <a:off x="1897" y="1061"/>
                <a:ext cx="461" cy="1650"/>
              </a:xfrm>
              <a:custGeom>
                <a:avLst/>
                <a:gdLst>
                  <a:gd name="T0" fmla="*/ 7 w 246"/>
                  <a:gd name="T1" fmla="*/ 814 h 884"/>
                  <a:gd name="T2" fmla="*/ 24 w 246"/>
                  <a:gd name="T3" fmla="*/ 670 h 884"/>
                  <a:gd name="T4" fmla="*/ 29 w 246"/>
                  <a:gd name="T5" fmla="*/ 651 h 884"/>
                  <a:gd name="T6" fmla="*/ 82 w 246"/>
                  <a:gd name="T7" fmla="*/ 321 h 884"/>
                  <a:gd name="T8" fmla="*/ 82 w 246"/>
                  <a:gd name="T9" fmla="*/ 321 h 884"/>
                  <a:gd name="T10" fmla="*/ 21 w 246"/>
                  <a:gd name="T11" fmla="*/ 186 h 884"/>
                  <a:gd name="T12" fmla="*/ 0 w 246"/>
                  <a:gd name="T13" fmla="*/ 122 h 884"/>
                  <a:gd name="T14" fmla="*/ 66 w 246"/>
                  <a:gd name="T15" fmla="*/ 21 h 884"/>
                  <a:gd name="T16" fmla="*/ 107 w 246"/>
                  <a:gd name="T17" fmla="*/ 57 h 884"/>
                  <a:gd name="T18" fmla="*/ 109 w 246"/>
                  <a:gd name="T19" fmla="*/ 34 h 884"/>
                  <a:gd name="T20" fmla="*/ 127 w 246"/>
                  <a:gd name="T21" fmla="*/ 68 h 884"/>
                  <a:gd name="T22" fmla="*/ 155 w 246"/>
                  <a:gd name="T23" fmla="*/ 10 h 884"/>
                  <a:gd name="T24" fmla="*/ 166 w 246"/>
                  <a:gd name="T25" fmla="*/ 47 h 884"/>
                  <a:gd name="T26" fmla="*/ 194 w 246"/>
                  <a:gd name="T27" fmla="*/ 38 h 884"/>
                  <a:gd name="T28" fmla="*/ 227 w 246"/>
                  <a:gd name="T29" fmla="*/ 86 h 884"/>
                  <a:gd name="T30" fmla="*/ 238 w 246"/>
                  <a:gd name="T31" fmla="*/ 165 h 884"/>
                  <a:gd name="T32" fmla="*/ 120 w 246"/>
                  <a:gd name="T33" fmla="*/ 328 h 884"/>
                  <a:gd name="T34" fmla="*/ 99 w 246"/>
                  <a:gd name="T35" fmla="*/ 662 h 884"/>
                  <a:gd name="T36" fmla="*/ 101 w 246"/>
                  <a:gd name="T37" fmla="*/ 678 h 884"/>
                  <a:gd name="T38" fmla="*/ 87 w 246"/>
                  <a:gd name="T39" fmla="*/ 827 h 884"/>
                  <a:gd name="T40" fmla="*/ 75 w 246"/>
                  <a:gd name="T41" fmla="*/ 868 h 884"/>
                  <a:gd name="T42" fmla="*/ 14 w 246"/>
                  <a:gd name="T43" fmla="*/ 865 h 884"/>
                  <a:gd name="T44" fmla="*/ 7 w 246"/>
                  <a:gd name="T45" fmla="*/ 81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884">
                    <a:moveTo>
                      <a:pt x="7" y="814"/>
                    </a:moveTo>
                    <a:cubicBezTo>
                      <a:pt x="24" y="670"/>
                      <a:pt x="24" y="670"/>
                      <a:pt x="24" y="670"/>
                    </a:cubicBezTo>
                    <a:cubicBezTo>
                      <a:pt x="24" y="670"/>
                      <a:pt x="26" y="658"/>
                      <a:pt x="29" y="651"/>
                    </a:cubicBezTo>
                    <a:cubicBezTo>
                      <a:pt x="82" y="321"/>
                      <a:pt x="82" y="321"/>
                      <a:pt x="82" y="321"/>
                    </a:cubicBezTo>
                    <a:cubicBezTo>
                      <a:pt x="82" y="321"/>
                      <a:pt x="82" y="321"/>
                      <a:pt x="82" y="321"/>
                    </a:cubicBezTo>
                    <a:cubicBezTo>
                      <a:pt x="21" y="186"/>
                      <a:pt x="21" y="186"/>
                      <a:pt x="21" y="186"/>
                    </a:cubicBezTo>
                    <a:cubicBezTo>
                      <a:pt x="8" y="167"/>
                      <a:pt x="0" y="122"/>
                      <a:pt x="0" y="122"/>
                    </a:cubicBezTo>
                    <a:cubicBezTo>
                      <a:pt x="13" y="56"/>
                      <a:pt x="66" y="21"/>
                      <a:pt x="66" y="21"/>
                    </a:cubicBezTo>
                    <a:cubicBezTo>
                      <a:pt x="66" y="21"/>
                      <a:pt x="96" y="47"/>
                      <a:pt x="107" y="57"/>
                    </a:cubicBezTo>
                    <a:cubicBezTo>
                      <a:pt x="106" y="42"/>
                      <a:pt x="109" y="34"/>
                      <a:pt x="109" y="34"/>
                    </a:cubicBezTo>
                    <a:cubicBezTo>
                      <a:pt x="113" y="34"/>
                      <a:pt x="122" y="56"/>
                      <a:pt x="127" y="68"/>
                    </a:cubicBezTo>
                    <a:cubicBezTo>
                      <a:pt x="144" y="0"/>
                      <a:pt x="155" y="10"/>
                      <a:pt x="155" y="10"/>
                    </a:cubicBezTo>
                    <a:cubicBezTo>
                      <a:pt x="166" y="47"/>
                      <a:pt x="166" y="47"/>
                      <a:pt x="166" y="47"/>
                    </a:cubicBezTo>
                    <a:cubicBezTo>
                      <a:pt x="166" y="47"/>
                      <a:pt x="187" y="38"/>
                      <a:pt x="194" y="38"/>
                    </a:cubicBezTo>
                    <a:cubicBezTo>
                      <a:pt x="209" y="37"/>
                      <a:pt x="227" y="86"/>
                      <a:pt x="227" y="86"/>
                    </a:cubicBezTo>
                    <a:cubicBezTo>
                      <a:pt x="243" y="124"/>
                      <a:pt x="246" y="147"/>
                      <a:pt x="238" y="165"/>
                    </a:cubicBezTo>
                    <a:cubicBezTo>
                      <a:pt x="223" y="202"/>
                      <a:pt x="155" y="285"/>
                      <a:pt x="120" y="328"/>
                    </a:cubicBezTo>
                    <a:cubicBezTo>
                      <a:pt x="114" y="414"/>
                      <a:pt x="99" y="663"/>
                      <a:pt x="99" y="662"/>
                    </a:cubicBezTo>
                    <a:cubicBezTo>
                      <a:pt x="99" y="663"/>
                      <a:pt x="100" y="671"/>
                      <a:pt x="101" y="678"/>
                    </a:cubicBezTo>
                    <a:cubicBezTo>
                      <a:pt x="87" y="827"/>
                      <a:pt x="87" y="827"/>
                      <a:pt x="87" y="827"/>
                    </a:cubicBezTo>
                    <a:cubicBezTo>
                      <a:pt x="87" y="827"/>
                      <a:pt x="83" y="856"/>
                      <a:pt x="75" y="868"/>
                    </a:cubicBezTo>
                    <a:cubicBezTo>
                      <a:pt x="75" y="868"/>
                      <a:pt x="41" y="884"/>
                      <a:pt x="14" y="865"/>
                    </a:cubicBezTo>
                    <a:cubicBezTo>
                      <a:pt x="14" y="865"/>
                      <a:pt x="5" y="840"/>
                      <a:pt x="7" y="814"/>
                    </a:cubicBezTo>
                    <a:close/>
                  </a:path>
                </a:pathLst>
              </a:custGeom>
              <a:gradFill rotWithShape="1">
                <a:gsLst>
                  <a:gs pos="0">
                    <a:srgbClr val="C62C20"/>
                  </a:gs>
                  <a:gs pos="100000">
                    <a:srgbClr val="C62C20">
                      <a:gamma/>
                      <a:shade val="86275"/>
                      <a:invGamma/>
                    </a:srgbClr>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28" name="Freeform 402"/>
              <p:cNvSpPr>
                <a:spLocks/>
              </p:cNvSpPr>
              <p:nvPr/>
            </p:nvSpPr>
            <p:spPr bwMode="gray">
              <a:xfrm>
                <a:off x="1899" y="1099"/>
                <a:ext cx="238" cy="623"/>
              </a:xfrm>
              <a:custGeom>
                <a:avLst/>
                <a:gdLst>
                  <a:gd name="T0" fmla="*/ 127 w 127"/>
                  <a:gd name="T1" fmla="*/ 49 h 336"/>
                  <a:gd name="T2" fmla="*/ 97 w 127"/>
                  <a:gd name="T3" fmla="*/ 335 h 336"/>
                  <a:gd name="T4" fmla="*/ 69 w 127"/>
                  <a:gd name="T5" fmla="*/ 276 h 336"/>
                  <a:gd name="T6" fmla="*/ 15 w 127"/>
                  <a:gd name="T7" fmla="*/ 156 h 336"/>
                  <a:gd name="T8" fmla="*/ 0 w 127"/>
                  <a:gd name="T9" fmla="*/ 103 h 336"/>
                  <a:gd name="T10" fmla="*/ 66 w 127"/>
                  <a:gd name="T11" fmla="*/ 2 h 336"/>
                  <a:gd name="T12" fmla="*/ 127 w 127"/>
                  <a:gd name="T13" fmla="*/ 49 h 336"/>
                </a:gdLst>
                <a:ahLst/>
                <a:cxnLst>
                  <a:cxn ang="0">
                    <a:pos x="T0" y="T1"/>
                  </a:cxn>
                  <a:cxn ang="0">
                    <a:pos x="T2" y="T3"/>
                  </a:cxn>
                  <a:cxn ang="0">
                    <a:pos x="T4" y="T5"/>
                  </a:cxn>
                  <a:cxn ang="0">
                    <a:pos x="T6" y="T7"/>
                  </a:cxn>
                  <a:cxn ang="0">
                    <a:pos x="T8" y="T9"/>
                  </a:cxn>
                  <a:cxn ang="0">
                    <a:pos x="T10" y="T11"/>
                  </a:cxn>
                  <a:cxn ang="0">
                    <a:pos x="T12" y="T13"/>
                  </a:cxn>
                </a:cxnLst>
                <a:rect l="0" t="0" r="r" b="b"/>
                <a:pathLst>
                  <a:path w="127" h="336">
                    <a:moveTo>
                      <a:pt x="127" y="49"/>
                    </a:moveTo>
                    <a:cubicBezTo>
                      <a:pt x="127" y="49"/>
                      <a:pt x="102" y="283"/>
                      <a:pt x="97" y="335"/>
                    </a:cubicBezTo>
                    <a:cubicBezTo>
                      <a:pt x="97" y="336"/>
                      <a:pt x="71" y="280"/>
                      <a:pt x="69" y="276"/>
                    </a:cubicBezTo>
                    <a:cubicBezTo>
                      <a:pt x="50" y="235"/>
                      <a:pt x="15" y="156"/>
                      <a:pt x="15" y="156"/>
                    </a:cubicBezTo>
                    <a:cubicBezTo>
                      <a:pt x="15" y="156"/>
                      <a:pt x="1" y="127"/>
                      <a:pt x="0" y="103"/>
                    </a:cubicBezTo>
                    <a:cubicBezTo>
                      <a:pt x="0" y="73"/>
                      <a:pt x="41" y="4"/>
                      <a:pt x="66" y="2"/>
                    </a:cubicBezTo>
                    <a:cubicBezTo>
                      <a:pt x="86" y="0"/>
                      <a:pt x="127" y="49"/>
                      <a:pt x="127" y="49"/>
                    </a:cubicBezTo>
                    <a:close/>
                  </a:path>
                </a:pathLst>
              </a:custGeom>
              <a:gradFill rotWithShape="1">
                <a:gsLst>
                  <a:gs pos="0">
                    <a:srgbClr val="C62C20"/>
                  </a:gs>
                  <a:gs pos="100000">
                    <a:srgbClr val="C62C20">
                      <a:gamma/>
                      <a:shade val="46275"/>
                      <a:invGamma/>
                    </a:srgbClr>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29" name="Freeform 403"/>
              <p:cNvSpPr>
                <a:spLocks/>
              </p:cNvSpPr>
              <p:nvPr/>
            </p:nvSpPr>
            <p:spPr bwMode="gray">
              <a:xfrm>
                <a:off x="2016" y="1125"/>
                <a:ext cx="352" cy="1199"/>
              </a:xfrm>
              <a:custGeom>
                <a:avLst/>
                <a:gdLst>
                  <a:gd name="T0" fmla="*/ 38 w 188"/>
                  <a:gd name="T1" fmla="*/ 643 h 643"/>
                  <a:gd name="T2" fmla="*/ 0 w 188"/>
                  <a:gd name="T3" fmla="*/ 639 h 643"/>
                  <a:gd name="T4" fmla="*/ 38 w 188"/>
                  <a:gd name="T5" fmla="*/ 289 h 643"/>
                  <a:gd name="T6" fmla="*/ 70 w 188"/>
                  <a:gd name="T7" fmla="*/ 34 h 643"/>
                  <a:gd name="T8" fmla="*/ 131 w 188"/>
                  <a:gd name="T9" fmla="*/ 3 h 643"/>
                  <a:gd name="T10" fmla="*/ 160 w 188"/>
                  <a:gd name="T11" fmla="*/ 40 h 643"/>
                  <a:gd name="T12" fmla="*/ 175 w 188"/>
                  <a:gd name="T13" fmla="*/ 130 h 643"/>
                  <a:gd name="T14" fmla="*/ 132 w 188"/>
                  <a:gd name="T15" fmla="*/ 197 h 643"/>
                  <a:gd name="T16" fmla="*/ 56 w 188"/>
                  <a:gd name="T17" fmla="*/ 293 h 643"/>
                  <a:gd name="T18" fmla="*/ 36 w 188"/>
                  <a:gd name="T19" fmla="*/ 625 h 643"/>
                  <a:gd name="T20" fmla="*/ 38 w 188"/>
                  <a:gd name="T21" fmla="*/ 64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643">
                    <a:moveTo>
                      <a:pt x="38" y="643"/>
                    </a:moveTo>
                    <a:cubicBezTo>
                      <a:pt x="0" y="639"/>
                      <a:pt x="0" y="639"/>
                      <a:pt x="0" y="639"/>
                    </a:cubicBezTo>
                    <a:cubicBezTo>
                      <a:pt x="38" y="289"/>
                      <a:pt x="38" y="289"/>
                      <a:pt x="38" y="289"/>
                    </a:cubicBezTo>
                    <a:cubicBezTo>
                      <a:pt x="70" y="34"/>
                      <a:pt x="70" y="34"/>
                      <a:pt x="70" y="34"/>
                    </a:cubicBezTo>
                    <a:cubicBezTo>
                      <a:pt x="70" y="34"/>
                      <a:pt x="104" y="6"/>
                      <a:pt x="131" y="3"/>
                    </a:cubicBezTo>
                    <a:cubicBezTo>
                      <a:pt x="131" y="3"/>
                      <a:pt x="143" y="0"/>
                      <a:pt x="160" y="40"/>
                    </a:cubicBezTo>
                    <a:cubicBezTo>
                      <a:pt x="160" y="40"/>
                      <a:pt x="188" y="99"/>
                      <a:pt x="175" y="130"/>
                    </a:cubicBezTo>
                    <a:cubicBezTo>
                      <a:pt x="162" y="162"/>
                      <a:pt x="132" y="197"/>
                      <a:pt x="132" y="197"/>
                    </a:cubicBezTo>
                    <a:cubicBezTo>
                      <a:pt x="132" y="197"/>
                      <a:pt x="76" y="272"/>
                      <a:pt x="56" y="293"/>
                    </a:cubicBezTo>
                    <a:cubicBezTo>
                      <a:pt x="56" y="293"/>
                      <a:pt x="42" y="542"/>
                      <a:pt x="36" y="625"/>
                    </a:cubicBezTo>
                    <a:cubicBezTo>
                      <a:pt x="36" y="630"/>
                      <a:pt x="37" y="641"/>
                      <a:pt x="38" y="643"/>
                    </a:cubicBezTo>
                  </a:path>
                </a:pathLst>
              </a:custGeom>
              <a:gradFill rotWithShape="1">
                <a:gsLst>
                  <a:gs pos="0">
                    <a:srgbClr val="DC3124">
                      <a:gamma/>
                      <a:shade val="32157"/>
                      <a:invGamma/>
                    </a:srgbClr>
                  </a:gs>
                  <a:gs pos="100000">
                    <a:srgbClr val="DC3124"/>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0" name="Freeform 404"/>
              <p:cNvSpPr>
                <a:spLocks/>
              </p:cNvSpPr>
              <p:nvPr/>
            </p:nvSpPr>
            <p:spPr bwMode="gray">
              <a:xfrm>
                <a:off x="2077" y="1076"/>
                <a:ext cx="178" cy="649"/>
              </a:xfrm>
              <a:custGeom>
                <a:avLst/>
                <a:gdLst>
                  <a:gd name="T0" fmla="*/ 30 w 95"/>
                  <a:gd name="T1" fmla="*/ 61 h 347"/>
                  <a:gd name="T2" fmla="*/ 58 w 95"/>
                  <a:gd name="T3" fmla="*/ 3 h 347"/>
                  <a:gd name="T4" fmla="*/ 92 w 95"/>
                  <a:gd name="T5" fmla="*/ 122 h 347"/>
                  <a:gd name="T6" fmla="*/ 24 w 95"/>
                  <a:gd name="T7" fmla="*/ 293 h 347"/>
                  <a:gd name="T8" fmla="*/ 0 w 95"/>
                  <a:gd name="T9" fmla="*/ 347 h 347"/>
                  <a:gd name="T10" fmla="*/ 2 w 95"/>
                  <a:gd name="T11" fmla="*/ 333 h 347"/>
                  <a:gd name="T12" fmla="*/ 30 w 95"/>
                  <a:gd name="T13" fmla="*/ 61 h 347"/>
                </a:gdLst>
                <a:ahLst/>
                <a:cxnLst>
                  <a:cxn ang="0">
                    <a:pos x="T0" y="T1"/>
                  </a:cxn>
                  <a:cxn ang="0">
                    <a:pos x="T2" y="T3"/>
                  </a:cxn>
                  <a:cxn ang="0">
                    <a:pos x="T4" y="T5"/>
                  </a:cxn>
                  <a:cxn ang="0">
                    <a:pos x="T6" y="T7"/>
                  </a:cxn>
                  <a:cxn ang="0">
                    <a:pos x="T8" y="T9"/>
                  </a:cxn>
                  <a:cxn ang="0">
                    <a:pos x="T10" y="T11"/>
                  </a:cxn>
                  <a:cxn ang="0">
                    <a:pos x="T12" y="T13"/>
                  </a:cxn>
                </a:cxnLst>
                <a:rect l="0" t="0" r="r" b="b"/>
                <a:pathLst>
                  <a:path w="95" h="347">
                    <a:moveTo>
                      <a:pt x="30" y="61"/>
                    </a:moveTo>
                    <a:cubicBezTo>
                      <a:pt x="30" y="61"/>
                      <a:pt x="45" y="0"/>
                      <a:pt x="58" y="3"/>
                    </a:cubicBezTo>
                    <a:cubicBezTo>
                      <a:pt x="71" y="5"/>
                      <a:pt x="95" y="91"/>
                      <a:pt x="92" y="122"/>
                    </a:cubicBezTo>
                    <a:cubicBezTo>
                      <a:pt x="87" y="168"/>
                      <a:pt x="24" y="293"/>
                      <a:pt x="24" y="293"/>
                    </a:cubicBezTo>
                    <a:cubicBezTo>
                      <a:pt x="0" y="347"/>
                      <a:pt x="0" y="347"/>
                      <a:pt x="0" y="347"/>
                    </a:cubicBezTo>
                    <a:cubicBezTo>
                      <a:pt x="2" y="333"/>
                      <a:pt x="2" y="333"/>
                      <a:pt x="2" y="333"/>
                    </a:cubicBezTo>
                    <a:lnTo>
                      <a:pt x="30" y="61"/>
                    </a:lnTo>
                    <a:close/>
                  </a:path>
                </a:pathLst>
              </a:custGeom>
              <a:gradFill rotWithShape="1">
                <a:gsLst>
                  <a:gs pos="0">
                    <a:srgbClr val="C62C20">
                      <a:gamma/>
                      <a:shade val="72549"/>
                      <a:invGamma/>
                    </a:srgbClr>
                  </a:gs>
                  <a:gs pos="100000">
                    <a:srgbClr val="C62C20"/>
                  </a:gs>
                </a:gsLst>
                <a:lin ang="270000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1" name="Freeform 405"/>
              <p:cNvSpPr>
                <a:spLocks/>
              </p:cNvSpPr>
              <p:nvPr/>
            </p:nvSpPr>
            <p:spPr bwMode="gray">
              <a:xfrm>
                <a:off x="1923" y="2675"/>
                <a:ext cx="0" cy="5"/>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1" y="0"/>
                      <a:pt x="0" y="0"/>
                      <a:pt x="0" y="0"/>
                    </a:cubicBezTo>
                    <a:close/>
                  </a:path>
                </a:pathLst>
              </a:custGeom>
              <a:solidFill>
                <a:srgbClr val="F7C800"/>
              </a:soli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2" name="Freeform 406"/>
              <p:cNvSpPr>
                <a:spLocks/>
              </p:cNvSpPr>
              <p:nvPr/>
            </p:nvSpPr>
            <p:spPr bwMode="gray">
              <a:xfrm>
                <a:off x="1905" y="2271"/>
                <a:ext cx="180" cy="409"/>
              </a:xfrm>
              <a:custGeom>
                <a:avLst/>
                <a:gdLst>
                  <a:gd name="T0" fmla="*/ 39 w 96"/>
                  <a:gd name="T1" fmla="*/ 210 h 220"/>
                  <a:gd name="T2" fmla="*/ 9 w 96"/>
                  <a:gd name="T3" fmla="*/ 215 h 220"/>
                  <a:gd name="T4" fmla="*/ 9 w 96"/>
                  <a:gd name="T5" fmla="*/ 215 h 220"/>
                  <a:gd name="T6" fmla="*/ 2 w 96"/>
                  <a:gd name="T7" fmla="*/ 166 h 220"/>
                  <a:gd name="T8" fmla="*/ 18 w 96"/>
                  <a:gd name="T9" fmla="*/ 25 h 220"/>
                  <a:gd name="T10" fmla="*/ 22 w 96"/>
                  <a:gd name="T11" fmla="*/ 7 h 220"/>
                  <a:gd name="T12" fmla="*/ 22 w 96"/>
                  <a:gd name="T13" fmla="*/ 7 h 220"/>
                  <a:gd name="T14" fmla="*/ 23 w 96"/>
                  <a:gd name="T15" fmla="*/ 6 h 220"/>
                  <a:gd name="T16" fmla="*/ 23 w 96"/>
                  <a:gd name="T17" fmla="*/ 6 h 220"/>
                  <a:gd name="T18" fmla="*/ 58 w 96"/>
                  <a:gd name="T19" fmla="*/ 1 h 220"/>
                  <a:gd name="T20" fmla="*/ 94 w 96"/>
                  <a:gd name="T21" fmla="*/ 12 h 220"/>
                  <a:gd name="T22" fmla="*/ 94 w 96"/>
                  <a:gd name="T23" fmla="*/ 14 h 220"/>
                  <a:gd name="T24" fmla="*/ 96 w 96"/>
                  <a:gd name="T25" fmla="*/ 30 h 220"/>
                  <a:gd name="T26" fmla="*/ 82 w 96"/>
                  <a:gd name="T27" fmla="*/ 179 h 220"/>
                  <a:gd name="T28" fmla="*/ 70 w 96"/>
                  <a:gd name="T29" fmla="*/ 220 h 220"/>
                  <a:gd name="T30" fmla="*/ 70 w 96"/>
                  <a:gd name="T31" fmla="*/ 220 h 220"/>
                  <a:gd name="T32" fmla="*/ 70 w 96"/>
                  <a:gd name="T33" fmla="*/ 219 h 220"/>
                  <a:gd name="T34" fmla="*/ 39 w 96"/>
                  <a:gd name="T35" fmla="*/ 2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220">
                    <a:moveTo>
                      <a:pt x="39" y="210"/>
                    </a:moveTo>
                    <a:cubicBezTo>
                      <a:pt x="23" y="208"/>
                      <a:pt x="9" y="211"/>
                      <a:pt x="9" y="215"/>
                    </a:cubicBezTo>
                    <a:cubicBezTo>
                      <a:pt x="9" y="215"/>
                      <a:pt x="9" y="215"/>
                      <a:pt x="9" y="215"/>
                    </a:cubicBezTo>
                    <a:cubicBezTo>
                      <a:pt x="7" y="209"/>
                      <a:pt x="0" y="185"/>
                      <a:pt x="2" y="166"/>
                    </a:cubicBezTo>
                    <a:cubicBezTo>
                      <a:pt x="18" y="25"/>
                      <a:pt x="18" y="25"/>
                      <a:pt x="18" y="25"/>
                    </a:cubicBezTo>
                    <a:cubicBezTo>
                      <a:pt x="18" y="25"/>
                      <a:pt x="19" y="16"/>
                      <a:pt x="22" y="7"/>
                    </a:cubicBezTo>
                    <a:cubicBezTo>
                      <a:pt x="22" y="7"/>
                      <a:pt x="22" y="7"/>
                      <a:pt x="22" y="7"/>
                    </a:cubicBezTo>
                    <a:cubicBezTo>
                      <a:pt x="22" y="6"/>
                      <a:pt x="23" y="6"/>
                      <a:pt x="23" y="6"/>
                    </a:cubicBezTo>
                    <a:cubicBezTo>
                      <a:pt x="23" y="6"/>
                      <a:pt x="23" y="6"/>
                      <a:pt x="23" y="6"/>
                    </a:cubicBezTo>
                    <a:cubicBezTo>
                      <a:pt x="26" y="1"/>
                      <a:pt x="41" y="0"/>
                      <a:pt x="58" y="1"/>
                    </a:cubicBezTo>
                    <a:cubicBezTo>
                      <a:pt x="77" y="3"/>
                      <a:pt x="95" y="7"/>
                      <a:pt x="94" y="12"/>
                    </a:cubicBezTo>
                    <a:cubicBezTo>
                      <a:pt x="94" y="12"/>
                      <a:pt x="94" y="13"/>
                      <a:pt x="94" y="14"/>
                    </a:cubicBezTo>
                    <a:cubicBezTo>
                      <a:pt x="95" y="15"/>
                      <a:pt x="96" y="30"/>
                      <a:pt x="96" y="30"/>
                    </a:cubicBezTo>
                    <a:cubicBezTo>
                      <a:pt x="82" y="179"/>
                      <a:pt x="82" y="179"/>
                      <a:pt x="82" y="179"/>
                    </a:cubicBezTo>
                    <a:cubicBezTo>
                      <a:pt x="82" y="179"/>
                      <a:pt x="76" y="215"/>
                      <a:pt x="70" y="220"/>
                    </a:cubicBezTo>
                    <a:cubicBezTo>
                      <a:pt x="70" y="220"/>
                      <a:pt x="70" y="220"/>
                      <a:pt x="70" y="220"/>
                    </a:cubicBezTo>
                    <a:cubicBezTo>
                      <a:pt x="70" y="220"/>
                      <a:pt x="70" y="220"/>
                      <a:pt x="70" y="219"/>
                    </a:cubicBezTo>
                    <a:cubicBezTo>
                      <a:pt x="70" y="215"/>
                      <a:pt x="55" y="211"/>
                      <a:pt x="39" y="210"/>
                    </a:cubicBezTo>
                    <a:close/>
                  </a:path>
                </a:pathLst>
              </a:custGeom>
              <a:gradFill rotWithShape="1">
                <a:gsLst>
                  <a:gs pos="0">
                    <a:srgbClr val="808080">
                      <a:gamma/>
                      <a:tint val="18039"/>
                      <a:invGamma/>
                    </a:srgbClr>
                  </a:gs>
                  <a:gs pos="100000">
                    <a:srgbClr val="808080"/>
                  </a:gs>
                </a:gsLst>
                <a:lin ang="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33" name="Freeform 407"/>
              <p:cNvSpPr>
                <a:spLocks/>
              </p:cNvSpPr>
              <p:nvPr/>
            </p:nvSpPr>
            <p:spPr bwMode="gray">
              <a:xfrm>
                <a:off x="1923" y="2659"/>
                <a:ext cx="114" cy="36"/>
              </a:xfrm>
              <a:custGeom>
                <a:avLst/>
                <a:gdLst>
                  <a:gd name="T0" fmla="*/ 21 w 61"/>
                  <a:gd name="T1" fmla="*/ 10 h 19"/>
                  <a:gd name="T2" fmla="*/ 21 w 61"/>
                  <a:gd name="T3" fmla="*/ 18 h 19"/>
                  <a:gd name="T4" fmla="*/ 1 w 61"/>
                  <a:gd name="T5" fmla="*/ 9 h 19"/>
                  <a:gd name="T6" fmla="*/ 0 w 61"/>
                  <a:gd name="T7" fmla="*/ 9 h 19"/>
                  <a:gd name="T8" fmla="*/ 0 w 61"/>
                  <a:gd name="T9" fmla="*/ 7 h 19"/>
                  <a:gd name="T10" fmla="*/ 0 w 61"/>
                  <a:gd name="T11" fmla="*/ 7 h 19"/>
                  <a:gd name="T12" fmla="*/ 30 w 61"/>
                  <a:gd name="T13" fmla="*/ 2 h 19"/>
                  <a:gd name="T14" fmla="*/ 61 w 61"/>
                  <a:gd name="T15" fmla="*/ 11 h 19"/>
                  <a:gd name="T16" fmla="*/ 61 w 61"/>
                  <a:gd name="T17" fmla="*/ 12 h 19"/>
                  <a:gd name="T18" fmla="*/ 36 w 61"/>
                  <a:gd name="T19" fmla="*/ 19 h 19"/>
                  <a:gd name="T20" fmla="*/ 37 w 61"/>
                  <a:gd name="T21" fmla="*/ 12 h 19"/>
                  <a:gd name="T22" fmla="*/ 21 w 61"/>
                  <a:gd name="T2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9">
                    <a:moveTo>
                      <a:pt x="21" y="10"/>
                    </a:moveTo>
                    <a:cubicBezTo>
                      <a:pt x="21" y="18"/>
                      <a:pt x="21" y="18"/>
                      <a:pt x="21" y="18"/>
                    </a:cubicBezTo>
                    <a:cubicBezTo>
                      <a:pt x="10" y="16"/>
                      <a:pt x="3" y="12"/>
                      <a:pt x="1" y="9"/>
                    </a:cubicBezTo>
                    <a:cubicBezTo>
                      <a:pt x="0" y="9"/>
                      <a:pt x="0" y="9"/>
                      <a:pt x="0" y="9"/>
                    </a:cubicBezTo>
                    <a:cubicBezTo>
                      <a:pt x="0" y="8"/>
                      <a:pt x="0" y="8"/>
                      <a:pt x="0" y="7"/>
                    </a:cubicBezTo>
                    <a:cubicBezTo>
                      <a:pt x="0" y="7"/>
                      <a:pt x="0" y="7"/>
                      <a:pt x="0" y="7"/>
                    </a:cubicBezTo>
                    <a:cubicBezTo>
                      <a:pt x="0" y="3"/>
                      <a:pt x="14" y="0"/>
                      <a:pt x="30" y="2"/>
                    </a:cubicBezTo>
                    <a:cubicBezTo>
                      <a:pt x="46" y="3"/>
                      <a:pt x="61" y="7"/>
                      <a:pt x="61" y="11"/>
                    </a:cubicBezTo>
                    <a:cubicBezTo>
                      <a:pt x="61" y="12"/>
                      <a:pt x="61" y="12"/>
                      <a:pt x="61" y="12"/>
                    </a:cubicBezTo>
                    <a:cubicBezTo>
                      <a:pt x="58" y="16"/>
                      <a:pt x="48" y="19"/>
                      <a:pt x="36" y="19"/>
                    </a:cubicBezTo>
                    <a:cubicBezTo>
                      <a:pt x="37" y="12"/>
                      <a:pt x="37" y="12"/>
                      <a:pt x="37" y="12"/>
                    </a:cubicBezTo>
                    <a:cubicBezTo>
                      <a:pt x="30" y="9"/>
                      <a:pt x="21" y="10"/>
                      <a:pt x="21" y="10"/>
                    </a:cubicBezTo>
                    <a:close/>
                  </a:path>
                </a:pathLst>
              </a:custGeom>
              <a:gradFill rotWithShape="1">
                <a:gsLst>
                  <a:gs pos="0">
                    <a:srgbClr val="808080"/>
                  </a:gs>
                  <a:gs pos="100000">
                    <a:srgbClr val="808080">
                      <a:gamma/>
                      <a:shade val="72549"/>
                      <a:invGamma/>
                    </a:srgbClr>
                  </a:gs>
                </a:gsLst>
                <a:lin ang="27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sp>
            <p:nvSpPr>
              <p:cNvPr id="34" name="Freeform 408"/>
              <p:cNvSpPr>
                <a:spLocks/>
              </p:cNvSpPr>
              <p:nvPr/>
            </p:nvSpPr>
            <p:spPr bwMode="gray">
              <a:xfrm>
                <a:off x="1947" y="2675"/>
                <a:ext cx="45" cy="288"/>
              </a:xfrm>
              <a:custGeom>
                <a:avLst/>
                <a:gdLst>
                  <a:gd name="T0" fmla="*/ 0 w 24"/>
                  <a:gd name="T1" fmla="*/ 154 h 154"/>
                  <a:gd name="T2" fmla="*/ 8 w 24"/>
                  <a:gd name="T3" fmla="*/ 9 h 154"/>
                  <a:gd name="T4" fmla="*/ 8 w 24"/>
                  <a:gd name="T5" fmla="*/ 1 h 154"/>
                  <a:gd name="T6" fmla="*/ 24 w 24"/>
                  <a:gd name="T7" fmla="*/ 3 h 154"/>
                  <a:gd name="T8" fmla="*/ 23 w 24"/>
                  <a:gd name="T9" fmla="*/ 10 h 154"/>
                  <a:gd name="T10" fmla="*/ 1 w 24"/>
                  <a:gd name="T11" fmla="*/ 154 h 154"/>
                  <a:gd name="T12" fmla="*/ 0 w 24"/>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4" h="154">
                    <a:moveTo>
                      <a:pt x="0" y="154"/>
                    </a:moveTo>
                    <a:cubicBezTo>
                      <a:pt x="8" y="9"/>
                      <a:pt x="8" y="9"/>
                      <a:pt x="8" y="9"/>
                    </a:cubicBezTo>
                    <a:cubicBezTo>
                      <a:pt x="8" y="1"/>
                      <a:pt x="8" y="1"/>
                      <a:pt x="8" y="1"/>
                    </a:cubicBezTo>
                    <a:cubicBezTo>
                      <a:pt x="8" y="1"/>
                      <a:pt x="17" y="0"/>
                      <a:pt x="24" y="3"/>
                    </a:cubicBezTo>
                    <a:cubicBezTo>
                      <a:pt x="23" y="10"/>
                      <a:pt x="23" y="10"/>
                      <a:pt x="23" y="10"/>
                    </a:cubicBezTo>
                    <a:cubicBezTo>
                      <a:pt x="1" y="154"/>
                      <a:pt x="1" y="154"/>
                      <a:pt x="1" y="154"/>
                    </a:cubicBezTo>
                    <a:lnTo>
                      <a:pt x="0" y="154"/>
                    </a:lnTo>
                    <a:close/>
                  </a:path>
                </a:pathLst>
              </a:custGeom>
              <a:gradFill rotWithShape="1">
                <a:gsLst>
                  <a:gs pos="0">
                    <a:srgbClr val="808080">
                      <a:gamma/>
                      <a:tint val="50588"/>
                      <a:invGamma/>
                    </a:srgbClr>
                  </a:gs>
                  <a:gs pos="100000">
                    <a:srgbClr val="808080"/>
                  </a:gs>
                </a:gsLst>
                <a:lin ang="18900000" scaled="1"/>
              </a:gradFill>
              <a:ln>
                <a:noFill/>
              </a:ln>
              <a:effectLst/>
            </p:spPr>
            <p:txBody>
              <a:bodyPr/>
              <a:lstStyle/>
              <a:p>
                <a:pPr fontAlgn="auto">
                  <a:spcBef>
                    <a:spcPts val="0"/>
                  </a:spcBef>
                  <a:spcAft>
                    <a:spcPts val="0"/>
                  </a:spcAft>
                  <a:defRPr/>
                </a:pPr>
                <a:endParaRPr lang="pt-BR" kern="0">
                  <a:solidFill>
                    <a:sysClr val="windowText" lastClr="000000"/>
                  </a:solidFill>
                </a:endParaRPr>
              </a:p>
            </p:txBody>
          </p:sp>
          <p:grpSp>
            <p:nvGrpSpPr>
              <p:cNvPr id="115743" name="Group 409"/>
              <p:cNvGrpSpPr>
                <a:grpSpLocks/>
              </p:cNvGrpSpPr>
              <p:nvPr/>
            </p:nvGrpSpPr>
            <p:grpSpPr bwMode="auto">
              <a:xfrm>
                <a:off x="1905" y="2331"/>
                <a:ext cx="175" cy="270"/>
                <a:chOff x="3798" y="2086"/>
                <a:chExt cx="175" cy="270"/>
              </a:xfrm>
            </p:grpSpPr>
            <p:sp>
              <p:nvSpPr>
                <p:cNvPr id="36" name="Freeform 410"/>
                <p:cNvSpPr>
                  <a:spLocks/>
                </p:cNvSpPr>
                <p:nvPr/>
              </p:nvSpPr>
              <p:spPr bwMode="gray">
                <a:xfrm>
                  <a:off x="3826" y="2087"/>
                  <a:ext cx="151" cy="41"/>
                </a:xfrm>
                <a:custGeom>
                  <a:avLst/>
                  <a:gdLst>
                    <a:gd name="T0" fmla="*/ 1 w 79"/>
                    <a:gd name="T1" fmla="*/ 15 h 20"/>
                    <a:gd name="T2" fmla="*/ 1 w 79"/>
                    <a:gd name="T3" fmla="*/ 12 h 20"/>
                    <a:gd name="T4" fmla="*/ 44 w 79"/>
                    <a:gd name="T5" fmla="*/ 2 h 20"/>
                    <a:gd name="T6" fmla="*/ 79 w 79"/>
                    <a:gd name="T7" fmla="*/ 18 h 20"/>
                    <a:gd name="T8" fmla="*/ 78 w 79"/>
                    <a:gd name="T9" fmla="*/ 20 h 20"/>
                    <a:gd name="T10" fmla="*/ 43 w 79"/>
                    <a:gd name="T11" fmla="*/ 6 h 20"/>
                    <a:gd name="T12" fmla="*/ 1 w 79"/>
                    <a:gd name="T13" fmla="*/ 15 h 20"/>
                  </a:gdLst>
                  <a:ahLst/>
                  <a:cxnLst>
                    <a:cxn ang="0">
                      <a:pos x="T0" y="T1"/>
                    </a:cxn>
                    <a:cxn ang="0">
                      <a:pos x="T2" y="T3"/>
                    </a:cxn>
                    <a:cxn ang="0">
                      <a:pos x="T4" y="T5"/>
                    </a:cxn>
                    <a:cxn ang="0">
                      <a:pos x="T6" y="T7"/>
                    </a:cxn>
                    <a:cxn ang="0">
                      <a:pos x="T8" y="T9"/>
                    </a:cxn>
                    <a:cxn ang="0">
                      <a:pos x="T10" y="T11"/>
                    </a:cxn>
                    <a:cxn ang="0">
                      <a:pos x="T12" y="T13"/>
                    </a:cxn>
                  </a:cxnLst>
                  <a:rect l="0" t="0" r="r" b="b"/>
                  <a:pathLst>
                    <a:path w="79" h="20">
                      <a:moveTo>
                        <a:pt x="1" y="15"/>
                      </a:moveTo>
                      <a:cubicBezTo>
                        <a:pt x="0" y="14"/>
                        <a:pt x="1" y="13"/>
                        <a:pt x="1" y="12"/>
                      </a:cubicBezTo>
                      <a:cubicBezTo>
                        <a:pt x="1" y="7"/>
                        <a:pt x="23" y="0"/>
                        <a:pt x="44" y="2"/>
                      </a:cubicBezTo>
                      <a:cubicBezTo>
                        <a:pt x="64" y="4"/>
                        <a:pt x="79" y="12"/>
                        <a:pt x="79" y="18"/>
                      </a:cubicBezTo>
                      <a:cubicBezTo>
                        <a:pt x="79" y="19"/>
                        <a:pt x="79" y="20"/>
                        <a:pt x="78" y="20"/>
                      </a:cubicBezTo>
                      <a:cubicBezTo>
                        <a:pt x="75" y="15"/>
                        <a:pt x="61" y="8"/>
                        <a:pt x="43" y="6"/>
                      </a:cubicBezTo>
                      <a:cubicBezTo>
                        <a:pt x="25" y="5"/>
                        <a:pt x="6" y="10"/>
                        <a:pt x="1" y="15"/>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7" name="Freeform 411"/>
                <p:cNvSpPr>
                  <a:spLocks/>
                </p:cNvSpPr>
                <p:nvPr/>
              </p:nvSpPr>
              <p:spPr bwMode="gray">
                <a:xfrm>
                  <a:off x="3821" y="2123"/>
                  <a:ext cx="154" cy="41"/>
                </a:xfrm>
                <a:custGeom>
                  <a:avLst/>
                  <a:gdLst>
                    <a:gd name="T0" fmla="*/ 1 w 80"/>
                    <a:gd name="T1" fmla="*/ 14 h 20"/>
                    <a:gd name="T2" fmla="*/ 1 w 80"/>
                    <a:gd name="T3" fmla="*/ 12 h 20"/>
                    <a:gd name="T4" fmla="*/ 44 w 80"/>
                    <a:gd name="T5" fmla="*/ 2 h 20"/>
                    <a:gd name="T6" fmla="*/ 79 w 80"/>
                    <a:gd name="T7" fmla="*/ 17 h 20"/>
                    <a:gd name="T8" fmla="*/ 79 w 80"/>
                    <a:gd name="T9" fmla="*/ 20 h 20"/>
                    <a:gd name="T10" fmla="*/ 44 w 80"/>
                    <a:gd name="T11" fmla="*/ 6 h 20"/>
                    <a:gd name="T12" fmla="*/ 1 w 80"/>
                    <a:gd name="T13" fmla="*/ 14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1" y="14"/>
                      </a:moveTo>
                      <a:cubicBezTo>
                        <a:pt x="0" y="14"/>
                        <a:pt x="1" y="12"/>
                        <a:pt x="1" y="12"/>
                      </a:cubicBezTo>
                      <a:cubicBezTo>
                        <a:pt x="1" y="6"/>
                        <a:pt x="23" y="0"/>
                        <a:pt x="44" y="2"/>
                      </a:cubicBezTo>
                      <a:cubicBezTo>
                        <a:pt x="65" y="4"/>
                        <a:pt x="80" y="12"/>
                        <a:pt x="79" y="17"/>
                      </a:cubicBezTo>
                      <a:cubicBezTo>
                        <a:pt x="79" y="18"/>
                        <a:pt x="79" y="19"/>
                        <a:pt x="79" y="20"/>
                      </a:cubicBezTo>
                      <a:cubicBezTo>
                        <a:pt x="76" y="15"/>
                        <a:pt x="62" y="8"/>
                        <a:pt x="44" y="6"/>
                      </a:cubicBezTo>
                      <a:cubicBezTo>
                        <a:pt x="25" y="4"/>
                        <a:pt x="6" y="9"/>
                        <a:pt x="1" y="14"/>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8" name="Freeform 412"/>
                <p:cNvSpPr>
                  <a:spLocks/>
                </p:cNvSpPr>
                <p:nvPr/>
              </p:nvSpPr>
              <p:spPr bwMode="gray">
                <a:xfrm>
                  <a:off x="3818" y="2154"/>
                  <a:ext cx="154" cy="41"/>
                </a:xfrm>
                <a:custGeom>
                  <a:avLst/>
                  <a:gdLst>
                    <a:gd name="T0" fmla="*/ 1 w 80"/>
                    <a:gd name="T1" fmla="*/ 14 h 20"/>
                    <a:gd name="T2" fmla="*/ 1 w 80"/>
                    <a:gd name="T3" fmla="*/ 12 h 20"/>
                    <a:gd name="T4" fmla="*/ 44 w 80"/>
                    <a:gd name="T5" fmla="*/ 2 h 20"/>
                    <a:gd name="T6" fmla="*/ 80 w 80"/>
                    <a:gd name="T7" fmla="*/ 17 h 20"/>
                    <a:gd name="T8" fmla="*/ 79 w 80"/>
                    <a:gd name="T9" fmla="*/ 20 h 20"/>
                    <a:gd name="T10" fmla="*/ 44 w 80"/>
                    <a:gd name="T11" fmla="*/ 6 h 20"/>
                    <a:gd name="T12" fmla="*/ 1 w 80"/>
                    <a:gd name="T13" fmla="*/ 14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1" y="14"/>
                      </a:moveTo>
                      <a:cubicBezTo>
                        <a:pt x="0" y="13"/>
                        <a:pt x="1" y="12"/>
                        <a:pt x="1" y="12"/>
                      </a:cubicBezTo>
                      <a:cubicBezTo>
                        <a:pt x="1" y="6"/>
                        <a:pt x="23" y="0"/>
                        <a:pt x="44" y="2"/>
                      </a:cubicBezTo>
                      <a:cubicBezTo>
                        <a:pt x="65" y="4"/>
                        <a:pt x="80" y="12"/>
                        <a:pt x="80" y="17"/>
                      </a:cubicBezTo>
                      <a:cubicBezTo>
                        <a:pt x="80" y="18"/>
                        <a:pt x="80" y="19"/>
                        <a:pt x="79" y="20"/>
                      </a:cubicBezTo>
                      <a:cubicBezTo>
                        <a:pt x="76" y="15"/>
                        <a:pt x="62" y="7"/>
                        <a:pt x="44" y="6"/>
                      </a:cubicBezTo>
                      <a:cubicBezTo>
                        <a:pt x="26" y="4"/>
                        <a:pt x="6" y="9"/>
                        <a:pt x="1" y="14"/>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39" name="Freeform 413"/>
                <p:cNvSpPr>
                  <a:spLocks/>
                </p:cNvSpPr>
                <p:nvPr/>
              </p:nvSpPr>
              <p:spPr bwMode="gray">
                <a:xfrm>
                  <a:off x="3806" y="2262"/>
                  <a:ext cx="154" cy="41"/>
                </a:xfrm>
                <a:custGeom>
                  <a:avLst/>
                  <a:gdLst>
                    <a:gd name="T0" fmla="*/ 0 w 81"/>
                    <a:gd name="T1" fmla="*/ 15 h 21"/>
                    <a:gd name="T2" fmla="*/ 0 w 81"/>
                    <a:gd name="T3" fmla="*/ 12 h 21"/>
                    <a:gd name="T4" fmla="*/ 44 w 81"/>
                    <a:gd name="T5" fmla="*/ 2 h 21"/>
                    <a:gd name="T6" fmla="*/ 81 w 81"/>
                    <a:gd name="T7" fmla="*/ 18 h 21"/>
                    <a:gd name="T8" fmla="*/ 80 w 81"/>
                    <a:gd name="T9" fmla="*/ 21 h 21"/>
                    <a:gd name="T10" fmla="*/ 44 w 81"/>
                    <a:gd name="T11" fmla="*/ 6 h 21"/>
                    <a:gd name="T12" fmla="*/ 0 w 81"/>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81" h="21">
                      <a:moveTo>
                        <a:pt x="0" y="15"/>
                      </a:moveTo>
                      <a:cubicBezTo>
                        <a:pt x="0" y="14"/>
                        <a:pt x="0" y="13"/>
                        <a:pt x="0" y="12"/>
                      </a:cubicBezTo>
                      <a:cubicBezTo>
                        <a:pt x="1" y="7"/>
                        <a:pt x="23" y="0"/>
                        <a:pt x="44" y="2"/>
                      </a:cubicBezTo>
                      <a:cubicBezTo>
                        <a:pt x="66" y="4"/>
                        <a:pt x="81" y="13"/>
                        <a:pt x="81" y="18"/>
                      </a:cubicBezTo>
                      <a:cubicBezTo>
                        <a:pt x="81" y="19"/>
                        <a:pt x="81" y="20"/>
                        <a:pt x="80" y="21"/>
                      </a:cubicBezTo>
                      <a:cubicBezTo>
                        <a:pt x="77" y="15"/>
                        <a:pt x="63" y="8"/>
                        <a:pt x="44" y="6"/>
                      </a:cubicBezTo>
                      <a:cubicBezTo>
                        <a:pt x="25" y="5"/>
                        <a:pt x="5" y="10"/>
                        <a:pt x="0" y="15"/>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0" name="Freeform 414"/>
                <p:cNvSpPr>
                  <a:spLocks/>
                </p:cNvSpPr>
                <p:nvPr/>
              </p:nvSpPr>
              <p:spPr bwMode="gray">
                <a:xfrm>
                  <a:off x="3803" y="2298"/>
                  <a:ext cx="154" cy="41"/>
                </a:xfrm>
                <a:custGeom>
                  <a:avLst/>
                  <a:gdLst>
                    <a:gd name="T0" fmla="*/ 0 w 82"/>
                    <a:gd name="T1" fmla="*/ 15 h 21"/>
                    <a:gd name="T2" fmla="*/ 0 w 82"/>
                    <a:gd name="T3" fmla="*/ 12 h 21"/>
                    <a:gd name="T4" fmla="*/ 45 w 82"/>
                    <a:gd name="T5" fmla="*/ 2 h 21"/>
                    <a:gd name="T6" fmla="*/ 81 w 82"/>
                    <a:gd name="T7" fmla="*/ 18 h 21"/>
                    <a:gd name="T8" fmla="*/ 81 w 82"/>
                    <a:gd name="T9" fmla="*/ 21 h 21"/>
                    <a:gd name="T10" fmla="*/ 44 w 82"/>
                    <a:gd name="T11" fmla="*/ 6 h 21"/>
                    <a:gd name="T12" fmla="*/ 0 w 8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82" h="21">
                      <a:moveTo>
                        <a:pt x="0" y="15"/>
                      </a:moveTo>
                      <a:cubicBezTo>
                        <a:pt x="0" y="14"/>
                        <a:pt x="0" y="13"/>
                        <a:pt x="0" y="12"/>
                      </a:cubicBezTo>
                      <a:cubicBezTo>
                        <a:pt x="1" y="7"/>
                        <a:pt x="23" y="0"/>
                        <a:pt x="45" y="2"/>
                      </a:cubicBezTo>
                      <a:cubicBezTo>
                        <a:pt x="66" y="4"/>
                        <a:pt x="82" y="13"/>
                        <a:pt x="81" y="18"/>
                      </a:cubicBezTo>
                      <a:cubicBezTo>
                        <a:pt x="81" y="19"/>
                        <a:pt x="81" y="20"/>
                        <a:pt x="81" y="21"/>
                      </a:cubicBezTo>
                      <a:cubicBezTo>
                        <a:pt x="78" y="15"/>
                        <a:pt x="63" y="8"/>
                        <a:pt x="44" y="6"/>
                      </a:cubicBezTo>
                      <a:cubicBezTo>
                        <a:pt x="26" y="5"/>
                        <a:pt x="5" y="10"/>
                        <a:pt x="0" y="15"/>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sp>
              <p:nvSpPr>
                <p:cNvPr id="41" name="Freeform 415"/>
                <p:cNvSpPr>
                  <a:spLocks/>
                </p:cNvSpPr>
                <p:nvPr/>
              </p:nvSpPr>
              <p:spPr bwMode="gray">
                <a:xfrm>
                  <a:off x="3798" y="2334"/>
                  <a:ext cx="156" cy="41"/>
                </a:xfrm>
                <a:custGeom>
                  <a:avLst/>
                  <a:gdLst>
                    <a:gd name="T0" fmla="*/ 1 w 82"/>
                    <a:gd name="T1" fmla="*/ 12 h 20"/>
                    <a:gd name="T2" fmla="*/ 45 w 82"/>
                    <a:gd name="T3" fmla="*/ 2 h 20"/>
                    <a:gd name="T4" fmla="*/ 81 w 82"/>
                    <a:gd name="T5" fmla="*/ 18 h 20"/>
                    <a:gd name="T6" fmla="*/ 81 w 82"/>
                    <a:gd name="T7" fmla="*/ 20 h 20"/>
                    <a:gd name="T8" fmla="*/ 45 w 82"/>
                    <a:gd name="T9" fmla="*/ 6 h 20"/>
                    <a:gd name="T10" fmla="*/ 1 w 82"/>
                    <a:gd name="T11" fmla="*/ 14 h 20"/>
                    <a:gd name="T12" fmla="*/ 1 w 82"/>
                    <a:gd name="T13" fmla="*/ 12 h 20"/>
                  </a:gdLst>
                  <a:ahLst/>
                  <a:cxnLst>
                    <a:cxn ang="0">
                      <a:pos x="T0" y="T1"/>
                    </a:cxn>
                    <a:cxn ang="0">
                      <a:pos x="T2" y="T3"/>
                    </a:cxn>
                    <a:cxn ang="0">
                      <a:pos x="T4" y="T5"/>
                    </a:cxn>
                    <a:cxn ang="0">
                      <a:pos x="T6" y="T7"/>
                    </a:cxn>
                    <a:cxn ang="0">
                      <a:pos x="T8" y="T9"/>
                    </a:cxn>
                    <a:cxn ang="0">
                      <a:pos x="T10" y="T11"/>
                    </a:cxn>
                    <a:cxn ang="0">
                      <a:pos x="T12" y="T13"/>
                    </a:cxn>
                  </a:cxnLst>
                  <a:rect l="0" t="0" r="r" b="b"/>
                  <a:pathLst>
                    <a:path w="82" h="20">
                      <a:moveTo>
                        <a:pt x="1" y="12"/>
                      </a:moveTo>
                      <a:cubicBezTo>
                        <a:pt x="1" y="6"/>
                        <a:pt x="23" y="0"/>
                        <a:pt x="45" y="2"/>
                      </a:cubicBezTo>
                      <a:cubicBezTo>
                        <a:pt x="66" y="4"/>
                        <a:pt x="82" y="12"/>
                        <a:pt x="81" y="18"/>
                      </a:cubicBezTo>
                      <a:cubicBezTo>
                        <a:pt x="81" y="18"/>
                        <a:pt x="81" y="20"/>
                        <a:pt x="81" y="20"/>
                      </a:cubicBezTo>
                      <a:cubicBezTo>
                        <a:pt x="78" y="15"/>
                        <a:pt x="63" y="8"/>
                        <a:pt x="45" y="6"/>
                      </a:cubicBezTo>
                      <a:cubicBezTo>
                        <a:pt x="26" y="4"/>
                        <a:pt x="5" y="9"/>
                        <a:pt x="1" y="14"/>
                      </a:cubicBezTo>
                      <a:cubicBezTo>
                        <a:pt x="0" y="14"/>
                        <a:pt x="0" y="13"/>
                        <a:pt x="1" y="12"/>
                      </a:cubicBezTo>
                      <a:close/>
                    </a:path>
                  </a:pathLst>
                </a:custGeom>
                <a:gradFill rotWithShape="1">
                  <a:gsLst>
                    <a:gs pos="0">
                      <a:srgbClr val="EE4836">
                        <a:gamma/>
                        <a:shade val="46275"/>
                        <a:invGamma/>
                      </a:srgbClr>
                    </a:gs>
                    <a:gs pos="50000">
                      <a:srgbClr val="EE4836"/>
                    </a:gs>
                    <a:gs pos="100000">
                      <a:srgbClr val="EE4836">
                        <a:gamma/>
                        <a:shade val="46275"/>
                        <a:invGamma/>
                      </a:srgbClr>
                    </a:gs>
                  </a:gsLst>
                  <a:lin ang="0" scaled="1"/>
                </a:gradFill>
                <a:ln>
                  <a:noFill/>
                </a:ln>
              </p:spPr>
              <p:txBody>
                <a:bodyPr/>
                <a:lstStyle/>
                <a:p>
                  <a:pPr fontAlgn="auto">
                    <a:spcBef>
                      <a:spcPts val="0"/>
                    </a:spcBef>
                    <a:spcAft>
                      <a:spcPts val="0"/>
                    </a:spcAft>
                    <a:defRPr/>
                  </a:pPr>
                  <a:endParaRPr lang="pt-BR" kern="0">
                    <a:solidFill>
                      <a:sysClr val="windowText" lastClr="000000"/>
                    </a:solidFill>
                  </a:endParaRPr>
                </a:p>
              </p:txBody>
            </p:sp>
          </p:grpSp>
        </p:grpSp>
      </p:grpSp>
    </p:spTree>
    <p:custDataLst>
      <p:tags r:id="rId1"/>
    </p:custDataLst>
    <p:extLst>
      <p:ext uri="{BB962C8B-B14F-4D97-AF65-F5344CB8AC3E}">
        <p14:creationId xmlns:p14="http://schemas.microsoft.com/office/powerpoint/2010/main" val="591556780"/>
      </p:ext>
    </p:extLst>
  </p:cSld>
  <p:clrMapOvr>
    <a:masterClrMapping/>
  </p:clrMapOvr>
  <p:transition spd="slow">
    <p:strips dir="rd"/>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6"/>
          <p:cNvSpPr>
            <a:spLocks noChangeArrowheads="1"/>
          </p:cNvSpPr>
          <p:nvPr/>
        </p:nvSpPr>
        <p:spPr bwMode="auto">
          <a:xfrm>
            <a:off x="10745" y="1395078"/>
            <a:ext cx="5827762" cy="800100"/>
          </a:xfrm>
          <a:prstGeom prst="rect">
            <a:avLst/>
          </a:prstGeom>
          <a:solidFill>
            <a:srgbClr val="99CCFF"/>
          </a:solidFill>
          <a:ln w="9525">
            <a:solidFill>
              <a:schemeClr val="tx1"/>
            </a:solidFill>
            <a:miter lim="800000"/>
            <a:headEnd/>
            <a:tailEnd/>
          </a:ln>
          <a:effectLst>
            <a:innerShdw blurRad="63500" dist="50800" dir="10800000">
              <a:prstClr val="black">
                <a:alpha val="50000"/>
              </a:prstClr>
            </a:innerShdw>
          </a:effectLst>
        </p:spPr>
        <p:txBody>
          <a:bodyPr wrap="none" lIns="136145" tIns="68058" rIns="136145" bIns="68058" anchor="ctr"/>
          <a:lstStyle/>
          <a:p>
            <a:pPr>
              <a:defRPr/>
            </a:pPr>
            <a:r>
              <a:rPr lang="pt-BR" sz="3600" dirty="0"/>
              <a:t>7. Autorizar</a:t>
            </a:r>
          </a:p>
        </p:txBody>
      </p:sp>
      <p:sp>
        <p:nvSpPr>
          <p:cNvPr id="15" name="Text Box 17"/>
          <p:cNvSpPr txBox="1">
            <a:spLocks noChangeArrowheads="1"/>
          </p:cNvSpPr>
          <p:nvPr/>
        </p:nvSpPr>
        <p:spPr bwMode="auto">
          <a:xfrm>
            <a:off x="6188739" y="2227177"/>
            <a:ext cx="6933958" cy="2722768"/>
          </a:xfrm>
          <a:prstGeom prst="rect">
            <a:avLst/>
          </a:prstGeom>
          <a:solidFill>
            <a:schemeClr val="accent6">
              <a:lumMod val="40000"/>
              <a:lumOff val="60000"/>
            </a:schemeClr>
          </a:solidFill>
          <a:ln>
            <a:noFill/>
          </a:ln>
          <a:effectLst>
            <a:innerShdw blurRad="63500" dist="50800" dir="108000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Início real dos projetos, confere se o projeto possui requisitos mínimos para iniciar, ação de alocação de  recursos para sua execução. Se necessário avaliar o balanceamento do portfólio de projetos e programas e realocar orçamentos e recursos de componentes suspensos ou desativados, para o projeto que se inicia.</a:t>
            </a:r>
          </a:p>
          <a:p>
            <a:pPr>
              <a:defRPr/>
            </a:pPr>
            <a:r>
              <a:rPr lang="pt-BR" sz="2100" dirty="0">
                <a:solidFill>
                  <a:schemeClr val="tx1"/>
                </a:solidFill>
              </a:rPr>
              <a:t>Comunicar formalmente à organização as decisões tomadas.</a:t>
            </a:r>
          </a:p>
        </p:txBody>
      </p:sp>
      <p:sp>
        <p:nvSpPr>
          <p:cNvPr id="117768" name="Seta para baixo 15"/>
          <p:cNvSpPr>
            <a:spLocks noChangeArrowheads="1"/>
          </p:cNvSpPr>
          <p:nvPr/>
        </p:nvSpPr>
        <p:spPr bwMode="auto">
          <a:xfrm>
            <a:off x="5357813" y="2259808"/>
            <a:ext cx="604811"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7" name="Rectangle 16"/>
          <p:cNvSpPr>
            <a:spLocks noChangeArrowheads="1"/>
          </p:cNvSpPr>
          <p:nvPr/>
        </p:nvSpPr>
        <p:spPr bwMode="auto">
          <a:xfrm>
            <a:off x="10860" y="5035488"/>
            <a:ext cx="5844746" cy="1188132"/>
          </a:xfrm>
          <a:prstGeom prst="rect">
            <a:avLst/>
          </a:prstGeom>
          <a:solidFill>
            <a:srgbClr val="99CCFF"/>
          </a:solidFill>
          <a:ln w="9525">
            <a:solidFill>
              <a:schemeClr val="tx1"/>
            </a:solidFill>
            <a:miter lim="800000"/>
            <a:headEnd/>
            <a:tailEnd/>
          </a:ln>
          <a:effectLst>
            <a:innerShdw blurRad="63500" dist="50800" dir="10800000">
              <a:prstClr val="black">
                <a:alpha val="50000"/>
              </a:prstClr>
            </a:innerShdw>
          </a:effectLst>
        </p:spPr>
        <p:txBody>
          <a:bodyPr wrap="none" lIns="136145" tIns="68058" rIns="136145" bIns="68058" anchor="ctr"/>
          <a:lstStyle/>
          <a:p>
            <a:pPr>
              <a:defRPr/>
            </a:pPr>
            <a:r>
              <a:rPr lang="pt-BR" sz="3600" dirty="0"/>
              <a:t>8. Reportar Performance </a:t>
            </a:r>
          </a:p>
          <a:p>
            <a:pPr>
              <a:defRPr/>
            </a:pPr>
            <a:r>
              <a:rPr lang="pt-BR" sz="3600" dirty="0"/>
              <a:t>do Portfólio</a:t>
            </a:r>
          </a:p>
        </p:txBody>
      </p:sp>
      <p:sp>
        <p:nvSpPr>
          <p:cNvPr id="18" name="Text Box 17"/>
          <p:cNvSpPr txBox="1">
            <a:spLocks noChangeArrowheads="1"/>
          </p:cNvSpPr>
          <p:nvPr/>
        </p:nvSpPr>
        <p:spPr bwMode="auto">
          <a:xfrm>
            <a:off x="6172524" y="6468386"/>
            <a:ext cx="6933958" cy="2399603"/>
          </a:xfrm>
          <a:prstGeom prst="rect">
            <a:avLst/>
          </a:prstGeom>
          <a:solidFill>
            <a:schemeClr val="accent6">
              <a:lumMod val="40000"/>
              <a:lumOff val="60000"/>
            </a:schemeClr>
          </a:solidFill>
          <a:ln>
            <a:noFill/>
          </a:ln>
          <a:effectLst>
            <a:innerShdw blurRad="63500" dist="50800" dir="108000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Coletar indicadores de desempenho.</a:t>
            </a:r>
          </a:p>
          <a:p>
            <a:pPr>
              <a:defRPr/>
            </a:pPr>
            <a:r>
              <a:rPr lang="pt-BR" sz="2100" dirty="0">
                <a:solidFill>
                  <a:schemeClr val="tx1"/>
                </a:solidFill>
              </a:rPr>
              <a:t>Revisar prioridade, escopo, resultado, riscos e performance financeira, impactos nos negócios. </a:t>
            </a:r>
          </a:p>
          <a:p>
            <a:pPr>
              <a:defRPr/>
            </a:pPr>
            <a:r>
              <a:rPr lang="pt-BR" sz="2100" dirty="0">
                <a:solidFill>
                  <a:schemeClr val="tx1"/>
                </a:solidFill>
              </a:rPr>
              <a:t>Apresentar relatórios periódicos.</a:t>
            </a:r>
          </a:p>
          <a:p>
            <a:pPr>
              <a:defRPr/>
            </a:pPr>
            <a:r>
              <a:rPr lang="pt-BR" sz="2100" dirty="0">
                <a:solidFill>
                  <a:schemeClr val="tx1"/>
                </a:solidFill>
              </a:rPr>
              <a:t>Fazer recomendações para determinar a continuidade, a inclusão ou o cancelamento. Que pode refletir </a:t>
            </a:r>
            <a:r>
              <a:rPr lang="pt-BR" sz="2100" u="sng" dirty="0">
                <a:solidFill>
                  <a:schemeClr val="tx1"/>
                </a:solidFill>
              </a:rPr>
              <a:t>mudança estratégica.</a:t>
            </a:r>
          </a:p>
        </p:txBody>
      </p:sp>
      <p:sp>
        <p:nvSpPr>
          <p:cNvPr id="117775" name="Seta para baixo 15"/>
          <p:cNvSpPr>
            <a:spLocks noChangeArrowheads="1"/>
          </p:cNvSpPr>
          <p:nvPr/>
        </p:nvSpPr>
        <p:spPr bwMode="auto">
          <a:xfrm>
            <a:off x="5431633" y="6436520"/>
            <a:ext cx="604810"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17776" name="Rectangle 2"/>
          <p:cNvSpPr>
            <a:spLocks noGrp="1" noChangeArrowheads="1"/>
          </p:cNvSpPr>
          <p:nvPr>
            <p:ph type="title"/>
          </p:nvPr>
        </p:nvSpPr>
        <p:spPr bwMode="auto">
          <a:xfrm>
            <a:off x="685800" y="411958"/>
            <a:ext cx="11655525" cy="57388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rPr>
              <a:t>Atividades de Gestão de Portfólio</a:t>
            </a:r>
            <a:endParaRPr lang="en-US" altLang="pt-BR" sz="3600" dirty="0">
              <a:solidFill>
                <a:schemeClr val="tx1"/>
              </a:solidFill>
            </a:endParaRPr>
          </a:p>
        </p:txBody>
      </p:sp>
      <p:grpSp>
        <p:nvGrpSpPr>
          <p:cNvPr id="117777" name="Grupo 43"/>
          <p:cNvGrpSpPr>
            <a:grpSpLocks/>
          </p:cNvGrpSpPr>
          <p:nvPr/>
        </p:nvGrpSpPr>
        <p:grpSpPr bwMode="auto">
          <a:xfrm>
            <a:off x="942976" y="6403182"/>
            <a:ext cx="3482718" cy="3474243"/>
            <a:chOff x="4343887" y="2056548"/>
            <a:chExt cx="4548594" cy="3168866"/>
          </a:xfrm>
        </p:grpSpPr>
        <p:sp>
          <p:nvSpPr>
            <p:cNvPr id="11" name="Ellipse 74"/>
            <p:cNvSpPr/>
            <p:nvPr/>
          </p:nvSpPr>
          <p:spPr bwMode="gray">
            <a:xfrm flipH="1">
              <a:off x="4343887" y="2056548"/>
              <a:ext cx="4502832" cy="3168866"/>
            </a:xfrm>
            <a:prstGeom prst="ellipse">
              <a:avLst/>
            </a:prstGeom>
            <a:gradFill>
              <a:gsLst>
                <a:gs pos="51000">
                  <a:srgbClr val="D7D7D7"/>
                </a:gs>
                <a:gs pos="100000">
                  <a:srgbClr val="FFFFFF"/>
                </a:gs>
              </a:gsLst>
              <a:lin ang="2700000" scaled="0"/>
            </a:gradFill>
            <a:ln w="3175">
              <a:noFill/>
              <a:round/>
              <a:headEnd/>
              <a:tailEnd/>
            </a:ln>
            <a:effectLst>
              <a:outerShdw blurRad="393700" dist="38100" dir="5400000" algn="t" rotWithShape="0">
                <a:prstClr val="black">
                  <a:alpha val="78000"/>
                </a:prstClr>
              </a:outerShdw>
            </a:effectLst>
            <a:scene3d>
              <a:camera prst="perspectiveRelaxed" fov="5400000">
                <a:rot lat="17673601" lon="0" rev="0"/>
              </a:camera>
              <a:lightRig rig="threePt" dir="t"/>
            </a:scene3d>
            <a:sp3d extrusionH="57150" prstMaterial="matte">
              <a:bevelT w="152400" h="50800" prst="softRound"/>
            </a:sp3d>
          </p:spPr>
          <p:txBody>
            <a:bodyPr anchor="ctr"/>
            <a:lstStyle/>
            <a:p>
              <a:pPr>
                <a:defRPr/>
              </a:pPr>
              <a:endParaRPr lang="de-DE" dirty="0"/>
            </a:p>
          </p:txBody>
        </p:sp>
        <p:grpSp>
          <p:nvGrpSpPr>
            <p:cNvPr id="117779" name="Gruppieren 112"/>
            <p:cNvGrpSpPr>
              <a:grpSpLocks/>
            </p:cNvGrpSpPr>
            <p:nvPr/>
          </p:nvGrpSpPr>
          <p:grpSpPr bwMode="auto">
            <a:xfrm>
              <a:off x="4499993" y="2213117"/>
              <a:ext cx="4392488" cy="2080365"/>
              <a:chOff x="4499993" y="2213117"/>
              <a:chExt cx="4392488" cy="2080365"/>
            </a:xfrm>
          </p:grpSpPr>
          <p:pic>
            <p:nvPicPr>
              <p:cNvPr id="117780" name="_effe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3" y="3734944"/>
                <a:ext cx="2301502" cy="55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81" name="_effe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7339" y="3747850"/>
                <a:ext cx="2195142" cy="53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115"/>
              <p:cNvGrpSpPr/>
              <p:nvPr/>
            </p:nvGrpSpPr>
            <p:grpSpPr>
              <a:xfrm>
                <a:off x="4802951" y="2213117"/>
                <a:ext cx="3657490" cy="1832604"/>
                <a:chOff x="6489609" y="2584791"/>
                <a:chExt cx="1893887" cy="948943"/>
              </a:xfrm>
              <a:effectLst>
                <a:reflection blurRad="6350" stA="52000" endA="300" endPos="35000" dir="5400000" sy="-100000" algn="bl" rotWithShape="0"/>
              </a:effectLst>
            </p:grpSpPr>
            <p:grpSp>
              <p:nvGrpSpPr>
                <p:cNvPr id="5" name="Gruppieren 116"/>
                <p:cNvGrpSpPr/>
                <p:nvPr/>
              </p:nvGrpSpPr>
              <p:grpSpPr bwMode="gray">
                <a:xfrm>
                  <a:off x="6489609" y="2584791"/>
                  <a:ext cx="1893887" cy="948943"/>
                  <a:chOff x="6559059" y="2968559"/>
                  <a:chExt cx="1893887" cy="948943"/>
                </a:xfrm>
              </p:grpSpPr>
              <p:sp>
                <p:nvSpPr>
                  <p:cNvPr id="23" name="Oval 7"/>
                  <p:cNvSpPr>
                    <a:spLocks noChangeArrowheads="1"/>
                  </p:cNvSpPr>
                  <p:nvPr/>
                </p:nvSpPr>
                <p:spPr bwMode="gray">
                  <a:xfrm>
                    <a:off x="7343012" y="2968559"/>
                    <a:ext cx="325981" cy="325981"/>
                  </a:xfrm>
                  <a:prstGeom prst="ellipse">
                    <a:avLst/>
                  </a:prstGeom>
                  <a:gradFill>
                    <a:gsLst>
                      <a:gs pos="0">
                        <a:srgbClr val="000000"/>
                      </a:gs>
                      <a:gs pos="100000">
                        <a:srgbClr val="646464"/>
                      </a:gs>
                    </a:gsLst>
                    <a:lin ang="5400000" scaled="0"/>
                  </a:gradFill>
                  <a:ln w="9525">
                    <a:solidFill>
                      <a:srgbClr val="969696"/>
                    </a:solidFill>
                    <a:round/>
                    <a:headEnd/>
                    <a:tailEnd/>
                  </a:ln>
                  <a:effectLst>
                    <a:innerShdw blurRad="1143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4" name="Freeform 10"/>
                  <p:cNvSpPr>
                    <a:spLocks/>
                  </p:cNvSpPr>
                  <p:nvPr/>
                </p:nvSpPr>
                <p:spPr bwMode="gray">
                  <a:xfrm>
                    <a:off x="7583998" y="2973558"/>
                    <a:ext cx="554967" cy="599964"/>
                  </a:xfrm>
                  <a:custGeom>
                    <a:avLst/>
                    <a:gdLst/>
                    <a:ahLst/>
                    <a:cxnLst>
                      <a:cxn ang="0">
                        <a:pos x="229" y="81"/>
                      </a:cxn>
                      <a:cxn ang="0">
                        <a:pos x="136" y="9"/>
                      </a:cxn>
                      <a:cxn ang="0">
                        <a:pos x="84" y="21"/>
                      </a:cxn>
                      <a:cxn ang="0">
                        <a:pos x="71" y="47"/>
                      </a:cxn>
                      <a:cxn ang="0">
                        <a:pos x="68" y="58"/>
                      </a:cxn>
                      <a:cxn ang="0">
                        <a:pos x="8" y="179"/>
                      </a:cxn>
                      <a:cxn ang="0">
                        <a:pos x="4" y="192"/>
                      </a:cxn>
                      <a:cxn ang="0">
                        <a:pos x="18" y="229"/>
                      </a:cxn>
                      <a:cxn ang="0">
                        <a:pos x="45" y="249"/>
                      </a:cxn>
                      <a:cxn ang="0">
                        <a:pos x="229" y="81"/>
                      </a:cxn>
                    </a:cxnLst>
                    <a:rect l="0" t="0" r="r" b="b"/>
                    <a:pathLst>
                      <a:path w="235" h="254">
                        <a:moveTo>
                          <a:pt x="229" y="81"/>
                        </a:moveTo>
                        <a:cubicBezTo>
                          <a:pt x="201" y="57"/>
                          <a:pt x="171" y="17"/>
                          <a:pt x="136" y="9"/>
                        </a:cubicBezTo>
                        <a:cubicBezTo>
                          <a:pt x="101" y="0"/>
                          <a:pt x="94" y="11"/>
                          <a:pt x="84" y="21"/>
                        </a:cubicBezTo>
                        <a:cubicBezTo>
                          <a:pt x="76" y="29"/>
                          <a:pt x="74" y="42"/>
                          <a:pt x="71" y="47"/>
                        </a:cubicBezTo>
                        <a:cubicBezTo>
                          <a:pt x="70" y="50"/>
                          <a:pt x="69" y="54"/>
                          <a:pt x="68" y="58"/>
                        </a:cubicBezTo>
                        <a:cubicBezTo>
                          <a:pt x="64" y="76"/>
                          <a:pt x="32" y="158"/>
                          <a:pt x="8" y="179"/>
                        </a:cubicBezTo>
                        <a:cubicBezTo>
                          <a:pt x="7" y="184"/>
                          <a:pt x="6" y="188"/>
                          <a:pt x="4" y="192"/>
                        </a:cubicBezTo>
                        <a:cubicBezTo>
                          <a:pt x="0" y="201"/>
                          <a:pt x="10" y="221"/>
                          <a:pt x="18" y="229"/>
                        </a:cubicBezTo>
                        <a:cubicBezTo>
                          <a:pt x="26" y="237"/>
                          <a:pt x="35" y="245"/>
                          <a:pt x="45" y="249"/>
                        </a:cubicBezTo>
                        <a:cubicBezTo>
                          <a:pt x="54" y="254"/>
                          <a:pt x="235" y="86"/>
                          <a:pt x="229" y="81"/>
                        </a:cubicBezTo>
                        <a:close/>
                      </a:path>
                    </a:pathLst>
                  </a:custGeom>
                  <a:gradFill>
                    <a:gsLst>
                      <a:gs pos="0">
                        <a:srgbClr val="000000"/>
                      </a:gs>
                      <a:gs pos="100000">
                        <a:srgbClr val="646464"/>
                      </a:gs>
                    </a:gsLst>
                    <a:lin ang="5400000" scaled="0"/>
                  </a:gradFill>
                  <a:ln w="9525">
                    <a:solidFill>
                      <a:srgbClr val="969696"/>
                    </a:solidFill>
                    <a:round/>
                    <a:headEnd/>
                    <a:tailEnd/>
                  </a:ln>
                  <a:effectLst>
                    <a:innerShdw blurRad="279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5" name="Freeform 11"/>
                  <p:cNvSpPr>
                    <a:spLocks/>
                  </p:cNvSpPr>
                  <p:nvPr/>
                </p:nvSpPr>
                <p:spPr bwMode="gray">
                  <a:xfrm>
                    <a:off x="7499003" y="3013556"/>
                    <a:ext cx="252985" cy="382977"/>
                  </a:xfrm>
                  <a:custGeom>
                    <a:avLst/>
                    <a:gdLst/>
                    <a:ahLst/>
                    <a:cxnLst>
                      <a:cxn ang="0">
                        <a:pos x="104" y="41"/>
                      </a:cxn>
                      <a:cxn ang="0">
                        <a:pos x="107" y="30"/>
                      </a:cxn>
                      <a:cxn ang="0">
                        <a:pos x="104" y="32"/>
                      </a:cxn>
                      <a:cxn ang="0">
                        <a:pos x="60" y="27"/>
                      </a:cxn>
                      <a:cxn ang="0">
                        <a:pos x="23" y="0"/>
                      </a:cxn>
                      <a:cxn ang="0">
                        <a:pos x="18" y="35"/>
                      </a:cxn>
                      <a:cxn ang="0">
                        <a:pos x="6" y="104"/>
                      </a:cxn>
                      <a:cxn ang="0">
                        <a:pos x="44" y="137"/>
                      </a:cxn>
                      <a:cxn ang="0">
                        <a:pos x="44" y="162"/>
                      </a:cxn>
                      <a:cxn ang="0">
                        <a:pos x="104" y="41"/>
                      </a:cxn>
                    </a:cxnLst>
                    <a:rect l="0" t="0" r="r" b="b"/>
                    <a:pathLst>
                      <a:path w="107" h="162">
                        <a:moveTo>
                          <a:pt x="104" y="41"/>
                        </a:moveTo>
                        <a:cubicBezTo>
                          <a:pt x="105" y="37"/>
                          <a:pt x="106" y="33"/>
                          <a:pt x="107" y="30"/>
                        </a:cubicBezTo>
                        <a:cubicBezTo>
                          <a:pt x="106" y="31"/>
                          <a:pt x="105" y="32"/>
                          <a:pt x="104" y="32"/>
                        </a:cubicBezTo>
                        <a:cubicBezTo>
                          <a:pt x="98" y="31"/>
                          <a:pt x="67" y="33"/>
                          <a:pt x="60" y="27"/>
                        </a:cubicBezTo>
                        <a:cubicBezTo>
                          <a:pt x="53" y="20"/>
                          <a:pt x="29" y="0"/>
                          <a:pt x="23" y="0"/>
                        </a:cubicBezTo>
                        <a:cubicBezTo>
                          <a:pt x="16" y="0"/>
                          <a:pt x="21" y="24"/>
                          <a:pt x="18" y="35"/>
                        </a:cubicBezTo>
                        <a:cubicBezTo>
                          <a:pt x="16" y="46"/>
                          <a:pt x="0" y="103"/>
                          <a:pt x="6" y="104"/>
                        </a:cubicBezTo>
                        <a:cubicBezTo>
                          <a:pt x="13" y="104"/>
                          <a:pt x="41" y="116"/>
                          <a:pt x="44" y="137"/>
                        </a:cubicBezTo>
                        <a:cubicBezTo>
                          <a:pt x="46" y="149"/>
                          <a:pt x="45" y="156"/>
                          <a:pt x="44" y="162"/>
                        </a:cubicBezTo>
                        <a:cubicBezTo>
                          <a:pt x="68" y="141"/>
                          <a:pt x="100" y="59"/>
                          <a:pt x="104" y="41"/>
                        </a:cubicBezTo>
                        <a:close/>
                      </a:path>
                    </a:pathLst>
                  </a:custGeom>
                  <a:gradFill>
                    <a:gsLst>
                      <a:gs pos="0">
                        <a:srgbClr val="000000"/>
                      </a:gs>
                      <a:gs pos="100000">
                        <a:srgbClr val="646464"/>
                      </a:gs>
                    </a:gsLst>
                    <a:lin ang="5400000" scaled="0"/>
                  </a:gradFill>
                  <a:ln w="9525">
                    <a:solidFill>
                      <a:srgbClr val="969696"/>
                    </a:solidFill>
                    <a:round/>
                    <a:headEnd/>
                    <a:tailEnd/>
                  </a:ln>
                  <a:effectLst>
                    <a:innerShdw blurRad="279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6" name="Freeform 12"/>
                  <p:cNvSpPr>
                    <a:spLocks/>
                  </p:cNvSpPr>
                  <p:nvPr/>
                </p:nvSpPr>
                <p:spPr bwMode="gray">
                  <a:xfrm>
                    <a:off x="7216019" y="3013556"/>
                    <a:ext cx="289983" cy="384977"/>
                  </a:xfrm>
                  <a:custGeom>
                    <a:avLst/>
                    <a:gdLst/>
                    <a:ahLst/>
                    <a:cxnLst>
                      <a:cxn ang="0">
                        <a:pos x="52" y="133"/>
                      </a:cxn>
                      <a:cxn ang="0">
                        <a:pos x="79" y="163"/>
                      </a:cxn>
                      <a:cxn ang="0">
                        <a:pos x="79" y="137"/>
                      </a:cxn>
                      <a:cxn ang="0">
                        <a:pos x="117" y="104"/>
                      </a:cxn>
                      <a:cxn ang="0">
                        <a:pos x="105" y="35"/>
                      </a:cxn>
                      <a:cxn ang="0">
                        <a:pos x="100" y="0"/>
                      </a:cxn>
                      <a:cxn ang="0">
                        <a:pos x="63" y="27"/>
                      </a:cxn>
                      <a:cxn ang="0">
                        <a:pos x="19" y="32"/>
                      </a:cxn>
                      <a:cxn ang="0">
                        <a:pos x="3" y="4"/>
                      </a:cxn>
                      <a:cxn ang="0">
                        <a:pos x="0" y="1"/>
                      </a:cxn>
                      <a:cxn ang="0">
                        <a:pos x="3" y="24"/>
                      </a:cxn>
                      <a:cxn ang="0">
                        <a:pos x="52" y="133"/>
                      </a:cxn>
                    </a:cxnLst>
                    <a:rect l="0" t="0" r="r" b="b"/>
                    <a:pathLst>
                      <a:path w="123" h="163">
                        <a:moveTo>
                          <a:pt x="52" y="133"/>
                        </a:moveTo>
                        <a:cubicBezTo>
                          <a:pt x="62" y="147"/>
                          <a:pt x="70" y="157"/>
                          <a:pt x="79" y="163"/>
                        </a:cubicBezTo>
                        <a:cubicBezTo>
                          <a:pt x="78" y="157"/>
                          <a:pt x="77" y="150"/>
                          <a:pt x="79" y="137"/>
                        </a:cubicBezTo>
                        <a:cubicBezTo>
                          <a:pt x="82" y="116"/>
                          <a:pt x="110" y="104"/>
                          <a:pt x="117" y="104"/>
                        </a:cubicBezTo>
                        <a:cubicBezTo>
                          <a:pt x="123" y="103"/>
                          <a:pt x="107" y="46"/>
                          <a:pt x="105" y="35"/>
                        </a:cubicBezTo>
                        <a:cubicBezTo>
                          <a:pt x="102" y="24"/>
                          <a:pt x="106" y="0"/>
                          <a:pt x="100" y="0"/>
                        </a:cubicBezTo>
                        <a:cubicBezTo>
                          <a:pt x="94" y="0"/>
                          <a:pt x="70" y="20"/>
                          <a:pt x="63" y="27"/>
                        </a:cubicBezTo>
                        <a:cubicBezTo>
                          <a:pt x="56" y="33"/>
                          <a:pt x="25" y="31"/>
                          <a:pt x="19" y="32"/>
                        </a:cubicBezTo>
                        <a:cubicBezTo>
                          <a:pt x="14" y="32"/>
                          <a:pt x="14" y="15"/>
                          <a:pt x="3" y="4"/>
                        </a:cubicBezTo>
                        <a:cubicBezTo>
                          <a:pt x="2" y="3"/>
                          <a:pt x="1" y="2"/>
                          <a:pt x="0" y="1"/>
                        </a:cubicBezTo>
                        <a:cubicBezTo>
                          <a:pt x="1" y="10"/>
                          <a:pt x="2" y="18"/>
                          <a:pt x="3" y="24"/>
                        </a:cubicBezTo>
                        <a:cubicBezTo>
                          <a:pt x="5" y="39"/>
                          <a:pt x="23" y="93"/>
                          <a:pt x="52" y="133"/>
                        </a:cubicBezTo>
                        <a:close/>
                      </a:path>
                    </a:pathLst>
                  </a:custGeom>
                  <a:gradFill>
                    <a:gsLst>
                      <a:gs pos="0">
                        <a:srgbClr val="000000"/>
                      </a:gs>
                      <a:gs pos="100000">
                        <a:srgbClr val="646464"/>
                      </a:gs>
                    </a:gsLst>
                    <a:lin ang="5400000" scaled="0"/>
                  </a:gradFill>
                  <a:ln w="9525">
                    <a:solidFill>
                      <a:srgbClr val="969696"/>
                    </a:solidFill>
                    <a:round/>
                    <a:headEnd/>
                    <a:tailEnd/>
                  </a:ln>
                  <a:effectLst>
                    <a:innerShdw blurRad="279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7" name="Freeform 13"/>
                  <p:cNvSpPr>
                    <a:spLocks/>
                  </p:cNvSpPr>
                  <p:nvPr/>
                </p:nvSpPr>
                <p:spPr bwMode="gray">
                  <a:xfrm>
                    <a:off x="6866040" y="2975558"/>
                    <a:ext cx="554967" cy="597964"/>
                  </a:xfrm>
                  <a:custGeom>
                    <a:avLst/>
                    <a:gdLst/>
                    <a:ahLst/>
                    <a:cxnLst>
                      <a:cxn ang="0">
                        <a:pos x="227" y="179"/>
                      </a:cxn>
                      <a:cxn ang="0">
                        <a:pos x="200" y="149"/>
                      </a:cxn>
                      <a:cxn ang="0">
                        <a:pos x="151" y="40"/>
                      </a:cxn>
                      <a:cxn ang="0">
                        <a:pos x="148" y="17"/>
                      </a:cxn>
                      <a:cxn ang="0">
                        <a:pos x="99" y="8"/>
                      </a:cxn>
                      <a:cxn ang="0">
                        <a:pos x="6" y="80"/>
                      </a:cxn>
                      <a:cxn ang="0">
                        <a:pos x="190" y="248"/>
                      </a:cxn>
                      <a:cxn ang="0">
                        <a:pos x="217" y="228"/>
                      </a:cxn>
                      <a:cxn ang="0">
                        <a:pos x="231" y="191"/>
                      </a:cxn>
                      <a:cxn ang="0">
                        <a:pos x="227" y="179"/>
                      </a:cxn>
                    </a:cxnLst>
                    <a:rect l="0" t="0" r="r" b="b"/>
                    <a:pathLst>
                      <a:path w="235" h="253">
                        <a:moveTo>
                          <a:pt x="227" y="179"/>
                        </a:moveTo>
                        <a:cubicBezTo>
                          <a:pt x="218" y="173"/>
                          <a:pt x="210" y="163"/>
                          <a:pt x="200" y="149"/>
                        </a:cubicBezTo>
                        <a:cubicBezTo>
                          <a:pt x="171" y="109"/>
                          <a:pt x="153" y="55"/>
                          <a:pt x="151" y="40"/>
                        </a:cubicBezTo>
                        <a:cubicBezTo>
                          <a:pt x="150" y="34"/>
                          <a:pt x="149" y="26"/>
                          <a:pt x="148" y="17"/>
                        </a:cubicBezTo>
                        <a:cubicBezTo>
                          <a:pt x="139" y="8"/>
                          <a:pt x="130" y="0"/>
                          <a:pt x="99" y="8"/>
                        </a:cubicBezTo>
                        <a:cubicBezTo>
                          <a:pt x="64" y="16"/>
                          <a:pt x="34" y="56"/>
                          <a:pt x="6" y="80"/>
                        </a:cubicBezTo>
                        <a:cubicBezTo>
                          <a:pt x="0" y="85"/>
                          <a:pt x="181" y="253"/>
                          <a:pt x="190" y="248"/>
                        </a:cubicBezTo>
                        <a:cubicBezTo>
                          <a:pt x="200" y="244"/>
                          <a:pt x="209" y="236"/>
                          <a:pt x="217" y="228"/>
                        </a:cubicBezTo>
                        <a:cubicBezTo>
                          <a:pt x="225" y="220"/>
                          <a:pt x="235" y="200"/>
                          <a:pt x="231" y="191"/>
                        </a:cubicBezTo>
                        <a:cubicBezTo>
                          <a:pt x="229" y="187"/>
                          <a:pt x="228" y="184"/>
                          <a:pt x="227" y="179"/>
                        </a:cubicBezTo>
                        <a:close/>
                      </a:path>
                    </a:pathLst>
                  </a:custGeom>
                  <a:gradFill>
                    <a:gsLst>
                      <a:gs pos="0">
                        <a:srgbClr val="000000"/>
                      </a:gs>
                      <a:gs pos="100000">
                        <a:srgbClr val="646464"/>
                      </a:gs>
                    </a:gsLst>
                    <a:lin ang="5400000" scaled="0"/>
                  </a:gradFill>
                  <a:ln w="9525">
                    <a:solidFill>
                      <a:srgbClr val="969696"/>
                    </a:solidFill>
                    <a:round/>
                    <a:headEnd/>
                    <a:tailEnd/>
                  </a:ln>
                  <a:effectLst>
                    <a:innerShdw blurRad="279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8" name="Oval 6"/>
                  <p:cNvSpPr>
                    <a:spLocks noChangeArrowheads="1"/>
                  </p:cNvSpPr>
                  <p:nvPr/>
                </p:nvSpPr>
                <p:spPr bwMode="gray">
                  <a:xfrm>
                    <a:off x="7685991" y="3152548"/>
                    <a:ext cx="766955" cy="764954"/>
                  </a:xfrm>
                  <a:prstGeom prst="ellipse">
                    <a:avLst/>
                  </a:prstGeom>
                  <a:gradFill>
                    <a:gsLst>
                      <a:gs pos="0">
                        <a:srgbClr val="000000"/>
                      </a:gs>
                      <a:gs pos="100000">
                        <a:srgbClr val="646464"/>
                      </a:gs>
                    </a:gsLst>
                    <a:lin ang="5400000" scaled="0"/>
                  </a:gradFill>
                  <a:ln w="9525">
                    <a:solidFill>
                      <a:srgbClr val="969696"/>
                    </a:solidFill>
                    <a:round/>
                    <a:headEnd/>
                    <a:tailEnd/>
                  </a:ln>
                  <a:effectLst>
                    <a:innerShdw blurRad="1143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29" name="Oval 8"/>
                  <p:cNvSpPr>
                    <a:spLocks noChangeArrowheads="1"/>
                  </p:cNvSpPr>
                  <p:nvPr/>
                </p:nvSpPr>
                <p:spPr bwMode="gray">
                  <a:xfrm>
                    <a:off x="6559059" y="3152548"/>
                    <a:ext cx="764955" cy="764954"/>
                  </a:xfrm>
                  <a:prstGeom prst="ellipse">
                    <a:avLst/>
                  </a:prstGeom>
                  <a:gradFill>
                    <a:gsLst>
                      <a:gs pos="0">
                        <a:srgbClr val="000000"/>
                      </a:gs>
                      <a:gs pos="100000">
                        <a:srgbClr val="646464"/>
                      </a:gs>
                    </a:gsLst>
                    <a:lin ang="5400000" scaled="0"/>
                  </a:gradFill>
                  <a:ln w="9525">
                    <a:solidFill>
                      <a:srgbClr val="969696"/>
                    </a:solidFill>
                    <a:round/>
                    <a:headEnd/>
                    <a:tailEnd/>
                  </a:ln>
                  <a:effectLst>
                    <a:innerShdw blurRad="1143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30" name="Oval 14"/>
                  <p:cNvSpPr>
                    <a:spLocks noChangeArrowheads="1"/>
                  </p:cNvSpPr>
                  <p:nvPr/>
                </p:nvSpPr>
                <p:spPr bwMode="gray">
                  <a:xfrm>
                    <a:off x="7751988" y="3216544"/>
                    <a:ext cx="637962" cy="637962"/>
                  </a:xfrm>
                  <a:prstGeom prst="ellipse">
                    <a:avLst/>
                  </a:prstGeom>
                  <a:gradFill flip="none" rotWithShape="1">
                    <a:gsLst>
                      <a:gs pos="0">
                        <a:srgbClr val="2A79FF"/>
                      </a:gs>
                      <a:gs pos="100000">
                        <a:srgbClr val="2A79FF">
                          <a:lumMod val="60000"/>
                          <a:lumOff val="40000"/>
                        </a:srgbClr>
                      </a:gs>
                    </a:gsLst>
                    <a:lin ang="2700000" scaled="1"/>
                    <a:tileRect/>
                  </a:gradFill>
                  <a:ln w="9525">
                    <a:solidFill>
                      <a:srgbClr val="969696"/>
                    </a:solidFill>
                    <a:round/>
                    <a:headEnd/>
                    <a:tailEnd/>
                  </a:ln>
                  <a:effectLst>
                    <a:innerShdw blurRad="406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31" name="Oval 15"/>
                  <p:cNvSpPr>
                    <a:spLocks noChangeArrowheads="1"/>
                  </p:cNvSpPr>
                  <p:nvPr/>
                </p:nvSpPr>
                <p:spPr bwMode="gray">
                  <a:xfrm>
                    <a:off x="6623055" y="3216544"/>
                    <a:ext cx="637962" cy="637962"/>
                  </a:xfrm>
                  <a:prstGeom prst="ellipse">
                    <a:avLst/>
                  </a:prstGeom>
                  <a:gradFill flip="none" rotWithShape="1">
                    <a:gsLst>
                      <a:gs pos="0">
                        <a:srgbClr val="2A79FF"/>
                      </a:gs>
                      <a:gs pos="100000">
                        <a:srgbClr val="2A79FF">
                          <a:lumMod val="60000"/>
                          <a:lumOff val="40000"/>
                        </a:srgbClr>
                      </a:gs>
                    </a:gsLst>
                    <a:lin ang="2700000" scaled="1"/>
                    <a:tileRect/>
                  </a:gradFill>
                  <a:ln w="9525">
                    <a:solidFill>
                      <a:srgbClr val="969696"/>
                    </a:solidFill>
                    <a:round/>
                    <a:headEnd/>
                    <a:tailEnd/>
                  </a:ln>
                  <a:effectLst>
                    <a:innerShdw blurRad="4064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sp>
                <p:nvSpPr>
                  <p:cNvPr id="32" name="Oval 9"/>
                  <p:cNvSpPr>
                    <a:spLocks noChangeArrowheads="1"/>
                  </p:cNvSpPr>
                  <p:nvPr/>
                </p:nvSpPr>
                <p:spPr bwMode="gray">
                  <a:xfrm>
                    <a:off x="7398009" y="3023555"/>
                    <a:ext cx="216987" cy="216987"/>
                  </a:xfrm>
                  <a:prstGeom prst="ellipse">
                    <a:avLst/>
                  </a:prstGeom>
                  <a:gradFill flip="none" rotWithShape="1">
                    <a:gsLst>
                      <a:gs pos="0">
                        <a:srgbClr val="646464"/>
                      </a:gs>
                      <a:gs pos="100000">
                        <a:srgbClr val="000000"/>
                      </a:gs>
                    </a:gsLst>
                    <a:lin ang="16200000" scaled="1"/>
                    <a:tileRect/>
                  </a:gradFill>
                  <a:ln w="9525">
                    <a:solidFill>
                      <a:srgbClr val="969696"/>
                    </a:solidFill>
                    <a:round/>
                    <a:headEnd/>
                    <a:tailEnd/>
                  </a:ln>
                  <a:effectLst>
                    <a:innerShdw blurRad="254000">
                      <a:prstClr val="black"/>
                    </a:innerShdw>
                  </a:effectLst>
                </p:spPr>
                <p:txBody>
                  <a:bodyPr/>
                  <a:lstStyle/>
                  <a:p>
                    <a:pPr fontAlgn="auto">
                      <a:spcBef>
                        <a:spcPts val="0"/>
                      </a:spcBef>
                      <a:spcAft>
                        <a:spcPts val="0"/>
                      </a:spcAft>
                      <a:defRPr/>
                    </a:pPr>
                    <a:endParaRPr lang="de-DE" kern="0">
                      <a:solidFill>
                        <a:sysClr val="windowText" lastClr="000000"/>
                      </a:solidFill>
                    </a:endParaRPr>
                  </a:p>
                </p:txBody>
              </p:sp>
            </p:grpSp>
            <p:sp>
              <p:nvSpPr>
                <p:cNvPr id="21" name="Ellipse 117"/>
                <p:cNvSpPr/>
                <p:nvPr/>
              </p:nvSpPr>
              <p:spPr bwMode="auto">
                <a:xfrm>
                  <a:off x="6632203" y="2848152"/>
                  <a:ext cx="480117" cy="386474"/>
                </a:xfrm>
                <a:prstGeom prst="ellipse">
                  <a:avLst/>
                </a:prstGeom>
                <a:gradFill>
                  <a:gsLst>
                    <a:gs pos="0">
                      <a:srgbClr val="FFFFFF">
                        <a:alpha val="82000"/>
                      </a:srgbClr>
                    </a:gs>
                    <a:gs pos="100000">
                      <a:srgbClr val="FFFFFF">
                        <a:alpha val="0"/>
                      </a:srgbClr>
                    </a:gs>
                  </a:gsLst>
                  <a:lin ang="5400000" scaled="1"/>
                </a:gradFill>
                <a:ln w="12700">
                  <a:noFill/>
                  <a:round/>
                  <a:headEnd/>
                  <a:tailEnd/>
                </a:ln>
              </p:spPr>
              <p:txBody>
                <a:bodyPr anchor="ctr"/>
                <a:lstStyle/>
                <a:p>
                  <a:pPr fontAlgn="auto">
                    <a:spcBef>
                      <a:spcPts val="0"/>
                    </a:spcBef>
                    <a:spcAft>
                      <a:spcPts val="0"/>
                    </a:spcAft>
                    <a:defRPr/>
                  </a:pPr>
                  <a:endParaRPr lang="de-DE" kern="0" dirty="0">
                    <a:solidFill>
                      <a:sysClr val="windowText" lastClr="000000"/>
                    </a:solidFill>
                  </a:endParaRPr>
                </a:p>
              </p:txBody>
            </p:sp>
            <p:sp>
              <p:nvSpPr>
                <p:cNvPr id="22" name="Ellipse 118"/>
                <p:cNvSpPr/>
                <p:nvPr/>
              </p:nvSpPr>
              <p:spPr bwMode="auto">
                <a:xfrm>
                  <a:off x="7761209" y="2848152"/>
                  <a:ext cx="480117" cy="386474"/>
                </a:xfrm>
                <a:prstGeom prst="ellipse">
                  <a:avLst/>
                </a:prstGeom>
                <a:gradFill>
                  <a:gsLst>
                    <a:gs pos="0">
                      <a:srgbClr val="FFFFFF">
                        <a:alpha val="82000"/>
                      </a:srgbClr>
                    </a:gs>
                    <a:gs pos="100000">
                      <a:srgbClr val="FFFFFF">
                        <a:alpha val="0"/>
                      </a:srgbClr>
                    </a:gs>
                  </a:gsLst>
                  <a:lin ang="5400000" scaled="1"/>
                </a:gradFill>
                <a:ln w="12700">
                  <a:noFill/>
                  <a:round/>
                  <a:headEnd/>
                  <a:tailEnd/>
                </a:ln>
              </p:spPr>
              <p:txBody>
                <a:bodyPr anchor="ctr"/>
                <a:lstStyle/>
                <a:p>
                  <a:pPr fontAlgn="auto">
                    <a:spcBef>
                      <a:spcPts val="0"/>
                    </a:spcBef>
                    <a:spcAft>
                      <a:spcPts val="0"/>
                    </a:spcAft>
                    <a:defRPr/>
                  </a:pPr>
                  <a:endParaRPr lang="de-DE" kern="0" dirty="0">
                    <a:solidFill>
                      <a:sysClr val="windowText" lastClr="000000"/>
                    </a:solidFill>
                  </a:endParaRPr>
                </a:p>
              </p:txBody>
            </p:sp>
          </p:grpSp>
        </p:grpSp>
      </p:grpSp>
    </p:spTree>
    <p:custDataLst>
      <p:tags r:id="rId1"/>
    </p:custDataLst>
    <p:extLst>
      <p:ext uri="{BB962C8B-B14F-4D97-AF65-F5344CB8AC3E}">
        <p14:creationId xmlns:p14="http://schemas.microsoft.com/office/powerpoint/2010/main" val="566775613"/>
      </p:ext>
    </p:extLst>
  </p:cSld>
  <p:clrMapOvr>
    <a:masterClrMapping/>
  </p:clrMapOvr>
  <p:transition spd="slow">
    <p:strips dir="rd"/>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extBox 5"/>
          <p:cNvSpPr txBox="1">
            <a:spLocks noChangeArrowheads="1"/>
          </p:cNvSpPr>
          <p:nvPr/>
        </p:nvSpPr>
        <p:spPr bwMode="auto">
          <a:xfrm>
            <a:off x="0" y="1557338"/>
            <a:ext cx="13344525" cy="840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pPr>
            <a:r>
              <a:rPr lang="en-US" altLang="pt-BR" sz="3600" dirty="0" err="1">
                <a:solidFill>
                  <a:srgbClr val="000000"/>
                </a:solidFill>
                <a:latin typeface="Arial" panose="020B0604020202020204" pitchFamily="34" charset="0"/>
                <a:ea typeface="MS PGothic" panose="020B0600070205080204" pitchFamily="34" charset="-128"/>
              </a:rPr>
              <a:t>Autorizar</a:t>
            </a:r>
            <a:r>
              <a:rPr lang="en-US" altLang="pt-BR" sz="3600" dirty="0">
                <a:solidFill>
                  <a:srgbClr val="000000"/>
                </a:solidFill>
                <a:latin typeface="Arial" panose="020B0604020202020204" pitchFamily="34" charset="0"/>
                <a:ea typeface="MS PGothic" panose="020B0600070205080204" pitchFamily="34" charset="-128"/>
              </a:rPr>
              <a:t> o </a:t>
            </a:r>
            <a:r>
              <a:rPr lang="en-US" altLang="pt-BR" sz="3600" dirty="0" err="1">
                <a:solidFill>
                  <a:srgbClr val="000000"/>
                </a:solidFill>
                <a:latin typeface="Arial" panose="020B0604020202020204" pitchFamily="34" charset="0"/>
                <a:ea typeface="MS PGothic" panose="020B0600070205080204" pitchFamily="34" charset="-128"/>
              </a:rPr>
              <a:t>Portfóli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significa</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obter</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a:solidFill>
                  <a:srgbClr val="1F497D"/>
                </a:solidFill>
                <a:latin typeface="Arial" panose="020B0604020202020204" pitchFamily="34" charset="0"/>
                <a:ea typeface="MS PGothic" panose="020B0600070205080204" pitchFamily="34" charset="-128"/>
              </a:rPr>
              <a:t>o </a:t>
            </a:r>
            <a:r>
              <a:rPr lang="en-US" altLang="pt-BR" sz="3600" dirty="0" err="1">
                <a:solidFill>
                  <a:srgbClr val="1F497D"/>
                </a:solidFill>
                <a:latin typeface="Arial" panose="020B0604020202020204" pitchFamily="34" charset="0"/>
                <a:ea typeface="MS PGothic" panose="020B0600070205080204" pitchFamily="34" charset="-128"/>
              </a:rPr>
              <a:t>compromisso</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sobre</a:t>
            </a:r>
            <a:r>
              <a:rPr lang="en-US" altLang="pt-BR" sz="3600" dirty="0">
                <a:solidFill>
                  <a:srgbClr val="1F497D"/>
                </a:solidFill>
                <a:latin typeface="Arial" panose="020B0604020202020204" pitchFamily="34" charset="0"/>
                <a:ea typeface="MS PGothic" panose="020B0600070205080204" pitchFamily="34" charset="-128"/>
              </a:rPr>
              <a:t> a </a:t>
            </a:r>
            <a:r>
              <a:rPr lang="en-US" altLang="pt-BR" sz="3600" dirty="0" err="1">
                <a:solidFill>
                  <a:srgbClr val="1F497D"/>
                </a:solidFill>
                <a:latin typeface="Arial" panose="020B0604020202020204" pitchFamily="34" charset="0"/>
                <a:ea typeface="MS PGothic" panose="020B0600070205080204" pitchFamily="34" charset="-128"/>
              </a:rPr>
              <a:t>programação</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estabelecida</a:t>
            </a:r>
            <a:r>
              <a:rPr lang="en-US" altLang="pt-BR" sz="3600" dirty="0">
                <a:solidFill>
                  <a:srgbClr val="000000"/>
                </a:solidFill>
                <a:latin typeface="Arial" panose="020B0604020202020204" pitchFamily="34" charset="0"/>
                <a:ea typeface="MS PGothic" panose="020B0600070205080204" pitchFamily="34" charset="-128"/>
              </a:rPr>
              <a:t> para o </a:t>
            </a:r>
            <a:r>
              <a:rPr lang="en-US" altLang="pt-BR" sz="3600" b="1" dirty="0" err="1">
                <a:solidFill>
                  <a:srgbClr val="000000"/>
                </a:solidFill>
                <a:latin typeface="Arial" panose="020B0604020202020204" pitchFamily="34" charset="0"/>
                <a:ea typeface="MS PGothic" panose="020B0600070205080204" pitchFamily="34" charset="-128"/>
              </a:rPr>
              <a:t>próximo</a:t>
            </a:r>
            <a:r>
              <a:rPr lang="en-US" altLang="pt-BR" sz="3600" b="1" dirty="0">
                <a:solidFill>
                  <a:srgbClr val="000000"/>
                </a:solidFill>
                <a:latin typeface="Arial" panose="020B0604020202020204" pitchFamily="34" charset="0"/>
                <a:ea typeface="MS PGothic" panose="020B0600070205080204" pitchFamily="34" charset="-128"/>
              </a:rPr>
              <a:t> </a:t>
            </a:r>
            <a:r>
              <a:rPr lang="en-US" altLang="pt-BR" sz="3600" b="1" dirty="0" err="1">
                <a:solidFill>
                  <a:srgbClr val="000000"/>
                </a:solidFill>
                <a:latin typeface="Arial" panose="020B0604020202020204" pitchFamily="34" charset="0"/>
                <a:ea typeface="MS PGothic" panose="020B0600070205080204" pitchFamily="34" charset="-128"/>
              </a:rPr>
              <a:t>ciclo</a:t>
            </a:r>
            <a:r>
              <a:rPr lang="en-US" altLang="pt-BR" sz="3600" b="1" dirty="0">
                <a:solidFill>
                  <a:srgbClr val="000000"/>
                </a:solidFill>
                <a:latin typeface="Arial" panose="020B0604020202020204" pitchFamily="34" charset="0"/>
                <a:ea typeface="MS PGothic" panose="020B0600070205080204" pitchFamily="34" charset="-128"/>
              </a:rPr>
              <a:t> de </a:t>
            </a:r>
            <a:r>
              <a:rPr lang="en-US" altLang="pt-BR" sz="3600" b="1" dirty="0" err="1">
                <a:solidFill>
                  <a:srgbClr val="000000"/>
                </a:solidFill>
                <a:latin typeface="Arial" panose="020B0604020202020204" pitchFamily="34" charset="0"/>
                <a:ea typeface="MS PGothic" panose="020B0600070205080204" pitchFamily="34" charset="-128"/>
              </a:rPr>
              <a:t>execução</a:t>
            </a:r>
            <a:r>
              <a:rPr lang="en-US" altLang="pt-BR" sz="3600" b="1" dirty="0">
                <a:solidFill>
                  <a:srgbClr val="000000"/>
                </a:solidFill>
                <a:latin typeface="Arial" panose="020B0604020202020204" pitchFamily="34" charset="0"/>
                <a:ea typeface="MS PGothic" panose="020B0600070205080204" pitchFamily="34" charset="-128"/>
              </a:rPr>
              <a:t>.</a:t>
            </a:r>
          </a:p>
          <a:p>
            <a:pPr eaLnBrk="1" hangingPunct="1">
              <a:spcBef>
                <a:spcPct val="0"/>
              </a:spcBef>
            </a:pPr>
            <a:endParaRPr lang="en-US" altLang="pt-BR" sz="3600" dirty="0">
              <a:solidFill>
                <a:srgbClr val="000000"/>
              </a:solidFill>
              <a:latin typeface="Arial" panose="020B0604020202020204" pitchFamily="34" charset="0"/>
              <a:ea typeface="MS PGothic" panose="020B0600070205080204" pitchFamily="34" charset="-128"/>
            </a:endParaRPr>
          </a:p>
          <a:p>
            <a:pPr eaLnBrk="1" hangingPunct="1">
              <a:spcBef>
                <a:spcPct val="0"/>
              </a:spcBef>
            </a:pPr>
            <a:r>
              <a:rPr lang="en-US" altLang="pt-BR" sz="3600" dirty="0">
                <a:solidFill>
                  <a:srgbClr val="000000"/>
                </a:solidFill>
                <a:latin typeface="Arial" panose="020B0604020202020204" pitchFamily="34" charset="0"/>
                <a:ea typeface="MS PGothic" panose="020B0600070205080204" pitchFamily="34" charset="-128"/>
              </a:rPr>
              <a:t>A boa </a:t>
            </a:r>
            <a:r>
              <a:rPr lang="en-US" altLang="pt-BR" sz="3600" dirty="0" err="1">
                <a:solidFill>
                  <a:srgbClr val="000000"/>
                </a:solidFill>
                <a:latin typeface="Arial" panose="020B0604020202020204" pitchFamily="34" charset="0"/>
                <a:ea typeface="MS PGothic" panose="020B0600070205080204" pitchFamily="34" charset="-128"/>
              </a:rPr>
              <a:t>prática</a:t>
            </a:r>
            <a:r>
              <a:rPr lang="en-US" altLang="pt-BR" sz="3600" dirty="0">
                <a:solidFill>
                  <a:srgbClr val="000000"/>
                </a:solidFill>
                <a:latin typeface="Arial" panose="020B0604020202020204" pitchFamily="34" charset="0"/>
                <a:ea typeface="MS PGothic" panose="020B0600070205080204" pitchFamily="34" charset="-128"/>
              </a:rPr>
              <a:t> é que </a:t>
            </a:r>
            <a:r>
              <a:rPr lang="en-US" altLang="pt-BR" sz="3600" dirty="0" err="1">
                <a:solidFill>
                  <a:srgbClr val="000000"/>
                </a:solidFill>
                <a:latin typeface="Arial" panose="020B0604020202020204" pitchFamily="34" charset="0"/>
                <a:ea typeface="MS PGothic" panose="020B0600070205080204" pitchFamily="34" charset="-128"/>
              </a:rPr>
              <a:t>esta</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autorização</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seja</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conjunta</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envolvend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todo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o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principai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tomadores</a:t>
            </a:r>
            <a:r>
              <a:rPr lang="en-US" altLang="pt-BR" sz="3600" dirty="0">
                <a:solidFill>
                  <a:srgbClr val="000000"/>
                </a:solidFill>
                <a:latin typeface="Arial" panose="020B0604020202020204" pitchFamily="34" charset="0"/>
                <a:ea typeface="MS PGothic" panose="020B0600070205080204" pitchFamily="34" charset="-128"/>
              </a:rPr>
              <a:t> de </a:t>
            </a:r>
            <a:r>
              <a:rPr lang="en-US" altLang="pt-BR" sz="3600" dirty="0" err="1">
                <a:solidFill>
                  <a:srgbClr val="000000"/>
                </a:solidFill>
                <a:latin typeface="Arial" panose="020B0604020202020204" pitchFamily="34" charset="0"/>
                <a:ea typeface="MS PGothic" panose="020B0600070205080204" pitchFamily="34" charset="-128"/>
              </a:rPr>
              <a:t>decisã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responsávei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finai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pelo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projetos</a:t>
            </a:r>
            <a:r>
              <a:rPr lang="en-US" altLang="pt-BR" sz="3600" dirty="0">
                <a:solidFill>
                  <a:srgbClr val="000000"/>
                </a:solidFill>
                <a:latin typeface="Arial" panose="020B0604020202020204" pitchFamily="34" charset="0"/>
                <a:ea typeface="MS PGothic" panose="020B0600070205080204" pitchFamily="34" charset="-128"/>
              </a:rPr>
              <a:t> do </a:t>
            </a:r>
            <a:r>
              <a:rPr lang="en-US" altLang="pt-BR" sz="3600" dirty="0" err="1">
                <a:solidFill>
                  <a:srgbClr val="000000"/>
                </a:solidFill>
                <a:latin typeface="Arial" panose="020B0604020202020204" pitchFamily="34" charset="0"/>
                <a:ea typeface="MS PGothic" panose="020B0600070205080204" pitchFamily="34" charset="-128"/>
              </a:rPr>
              <a:t>portfólio</a:t>
            </a:r>
            <a:r>
              <a:rPr lang="en-US" altLang="pt-BR" sz="3600" dirty="0">
                <a:solidFill>
                  <a:srgbClr val="000000"/>
                </a:solidFill>
                <a:latin typeface="Arial" panose="020B0604020202020204" pitchFamily="34" charset="0"/>
                <a:ea typeface="MS PGothic" panose="020B0600070205080204" pitchFamily="34" charset="-128"/>
              </a:rPr>
              <a:t>.</a:t>
            </a:r>
          </a:p>
          <a:p>
            <a:pPr eaLnBrk="1" hangingPunct="1">
              <a:spcBef>
                <a:spcPct val="0"/>
              </a:spcBef>
            </a:pPr>
            <a:endParaRPr lang="en-US" altLang="pt-BR" sz="3600" dirty="0">
              <a:solidFill>
                <a:srgbClr val="000000"/>
              </a:solidFill>
              <a:latin typeface="Arial" panose="020B0604020202020204" pitchFamily="34" charset="0"/>
              <a:ea typeface="MS PGothic" panose="020B0600070205080204" pitchFamily="34" charset="-128"/>
            </a:endParaRPr>
          </a:p>
          <a:p>
            <a:pPr eaLnBrk="1" hangingPunct="1">
              <a:spcBef>
                <a:spcPct val="0"/>
              </a:spcBef>
            </a:pPr>
            <a:r>
              <a:rPr lang="en-US" altLang="pt-BR" sz="3600" dirty="0">
                <a:solidFill>
                  <a:srgbClr val="000000"/>
                </a:solidFill>
                <a:latin typeface="Arial" panose="020B0604020202020204" pitchFamily="34" charset="0"/>
                <a:ea typeface="MS PGothic" panose="020B0600070205080204" pitchFamily="34" charset="-128"/>
              </a:rPr>
              <a:t>Por </a:t>
            </a:r>
            <a:r>
              <a:rPr lang="en-US" altLang="pt-BR" sz="3600" dirty="0" err="1">
                <a:solidFill>
                  <a:srgbClr val="000000"/>
                </a:solidFill>
                <a:latin typeface="Arial" panose="020B0604020202020204" pitchFamily="34" charset="0"/>
                <a:ea typeface="MS PGothic" panose="020B0600070205080204" pitchFamily="34" charset="-128"/>
              </a:rPr>
              <a:t>iss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diversa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Organizaçõe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optam</a:t>
            </a:r>
            <a:r>
              <a:rPr lang="en-US" altLang="pt-BR" sz="3600" dirty="0">
                <a:solidFill>
                  <a:srgbClr val="000000"/>
                </a:solidFill>
                <a:latin typeface="Arial" panose="020B0604020202020204" pitchFamily="34" charset="0"/>
                <a:ea typeface="MS PGothic" panose="020B0600070205080204" pitchFamily="34" charset="-128"/>
              </a:rPr>
              <a:t> por </a:t>
            </a:r>
            <a:r>
              <a:rPr lang="en-US" altLang="pt-BR" sz="3600" dirty="0" err="1">
                <a:solidFill>
                  <a:srgbClr val="1F497D"/>
                </a:solidFill>
                <a:latin typeface="Arial" panose="020B0604020202020204" pitchFamily="34" charset="0"/>
                <a:ea typeface="MS PGothic" panose="020B0600070205080204" pitchFamily="34" charset="-128"/>
              </a:rPr>
              <a:t>criar</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Comitês</a:t>
            </a:r>
            <a:r>
              <a:rPr lang="en-US" altLang="pt-BR" sz="3600" dirty="0">
                <a:solidFill>
                  <a:srgbClr val="1F497D"/>
                </a:solidFill>
                <a:latin typeface="Arial" panose="020B0604020202020204" pitchFamily="34" charset="0"/>
                <a:ea typeface="MS PGothic" panose="020B0600070205080204" pitchFamily="34" charset="-128"/>
              </a:rPr>
              <a:t> de </a:t>
            </a:r>
            <a:r>
              <a:rPr lang="en-US" altLang="pt-BR" sz="3600" dirty="0" err="1">
                <a:solidFill>
                  <a:srgbClr val="1F497D"/>
                </a:solidFill>
                <a:latin typeface="Arial" panose="020B0604020202020204" pitchFamily="34" charset="0"/>
                <a:ea typeface="MS PGothic" panose="020B0600070205080204" pitchFamily="34" charset="-128"/>
              </a:rPr>
              <a:t>Gerenciamento</a:t>
            </a:r>
            <a:r>
              <a:rPr lang="en-US" altLang="pt-BR" sz="3600" dirty="0">
                <a:solidFill>
                  <a:srgbClr val="1F497D"/>
                </a:solidFill>
                <a:latin typeface="Arial" panose="020B0604020202020204" pitchFamily="34" charset="0"/>
                <a:ea typeface="MS PGothic" panose="020B0600070205080204" pitchFamily="34" charset="-128"/>
              </a:rPr>
              <a:t> de </a:t>
            </a:r>
            <a:r>
              <a:rPr lang="en-US" altLang="pt-BR" sz="3600" dirty="0" err="1">
                <a:solidFill>
                  <a:srgbClr val="1F497D"/>
                </a:solidFill>
                <a:latin typeface="Arial" panose="020B0604020202020204" pitchFamily="34" charset="0"/>
                <a:ea typeface="MS PGothic" panose="020B0600070205080204" pitchFamily="34" charset="-128"/>
              </a:rPr>
              <a:t>Portfólio</a:t>
            </a:r>
            <a:r>
              <a:rPr lang="en-US" altLang="pt-BR" sz="3600" dirty="0">
                <a:solidFill>
                  <a:srgbClr val="000000"/>
                </a:solidFill>
                <a:latin typeface="Arial" panose="020B0604020202020204" pitchFamily="34" charset="0"/>
                <a:ea typeface="MS PGothic" panose="020B0600070205080204" pitchFamily="34" charset="-128"/>
              </a:rPr>
              <a:t>, que se </a:t>
            </a:r>
            <a:r>
              <a:rPr lang="en-US" altLang="pt-BR" sz="3600" dirty="0" err="1">
                <a:solidFill>
                  <a:srgbClr val="000000"/>
                </a:solidFill>
                <a:latin typeface="Arial" panose="020B0604020202020204" pitchFamily="34" charset="0"/>
                <a:ea typeface="MS PGothic" panose="020B0600070205080204" pitchFamily="34" charset="-128"/>
              </a:rPr>
              <a:t>tornam</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responsáveis</a:t>
            </a:r>
            <a:r>
              <a:rPr lang="en-US" altLang="pt-BR" sz="3600" dirty="0">
                <a:solidFill>
                  <a:srgbClr val="000000"/>
                </a:solidFill>
                <a:latin typeface="Arial" panose="020B0604020202020204" pitchFamily="34" charset="0"/>
                <a:ea typeface="MS PGothic" panose="020B0600070205080204" pitchFamily="34" charset="-128"/>
              </a:rPr>
              <a:t> por </a:t>
            </a:r>
            <a:r>
              <a:rPr lang="en-US" altLang="pt-BR" sz="3600" dirty="0" err="1">
                <a:solidFill>
                  <a:srgbClr val="1F497D"/>
                </a:solidFill>
                <a:latin typeface="Arial" panose="020B0604020202020204" pitchFamily="34" charset="0"/>
                <a:ea typeface="MS PGothic" panose="020B0600070205080204" pitchFamily="34" charset="-128"/>
              </a:rPr>
              <a:t>aprovar</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projeto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acompanhar</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projetos</a:t>
            </a:r>
            <a:r>
              <a:rPr lang="en-US" altLang="pt-BR" sz="3600" dirty="0">
                <a:solidFill>
                  <a:srgbClr val="1F497D"/>
                </a:solidFill>
                <a:latin typeface="Arial" panose="020B0604020202020204" pitchFamily="34" charset="0"/>
                <a:ea typeface="MS PGothic" panose="020B0600070205080204" pitchFamily="34" charset="-128"/>
              </a:rPr>
              <a:t> </a:t>
            </a:r>
            <a:r>
              <a:rPr lang="en-US" altLang="pt-BR" sz="3600" dirty="0">
                <a:solidFill>
                  <a:srgbClr val="000000"/>
                </a:solidFill>
                <a:latin typeface="Arial" panose="020B0604020202020204" pitchFamily="34" charset="0"/>
                <a:ea typeface="MS PGothic" panose="020B0600070205080204" pitchFamily="34" charset="-128"/>
              </a:rPr>
              <a:t>e </a:t>
            </a:r>
            <a:r>
              <a:rPr lang="en-US" altLang="pt-BR" sz="3600" dirty="0" err="1">
                <a:solidFill>
                  <a:srgbClr val="1F497D"/>
                </a:solidFill>
                <a:latin typeface="Arial" panose="020B0604020202020204" pitchFamily="34" charset="0"/>
                <a:ea typeface="MS PGothic" panose="020B0600070205080204" pitchFamily="34" charset="-128"/>
              </a:rPr>
              <a:t>autorizar</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mudança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na</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programaçã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estabelecida</a:t>
            </a:r>
            <a:r>
              <a:rPr lang="en-US" altLang="pt-BR" sz="3600" dirty="0">
                <a:solidFill>
                  <a:srgbClr val="000000"/>
                </a:solidFill>
                <a:latin typeface="Arial" panose="020B0604020202020204" pitchFamily="34" charset="0"/>
                <a:ea typeface="MS PGothic" panose="020B0600070205080204" pitchFamily="34" charset="-128"/>
              </a:rPr>
              <a:t> para </a:t>
            </a:r>
            <a:r>
              <a:rPr lang="en-US" altLang="pt-BR" sz="3600" dirty="0" err="1">
                <a:solidFill>
                  <a:srgbClr val="000000"/>
                </a:solidFill>
                <a:latin typeface="Arial" panose="020B0604020202020204" pitchFamily="34" charset="0"/>
                <a:ea typeface="MS PGothic" panose="020B0600070205080204" pitchFamily="34" charset="-128"/>
              </a:rPr>
              <a:t>o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projetos</a:t>
            </a:r>
            <a:r>
              <a:rPr lang="en-US" altLang="pt-BR" sz="3600" dirty="0">
                <a:solidFill>
                  <a:srgbClr val="000000"/>
                </a:solidFill>
                <a:latin typeface="Arial" panose="020B0604020202020204" pitchFamily="34" charset="0"/>
                <a:ea typeface="MS PGothic" panose="020B0600070205080204" pitchFamily="34" charset="-128"/>
              </a:rPr>
              <a:t>.</a:t>
            </a:r>
          </a:p>
          <a:p>
            <a:pPr eaLnBrk="1" hangingPunct="1">
              <a:spcBef>
                <a:spcPct val="0"/>
              </a:spcBef>
            </a:pPr>
            <a:endParaRPr lang="en-US" altLang="pt-BR" sz="3600" dirty="0">
              <a:solidFill>
                <a:srgbClr val="000000"/>
              </a:solidFill>
              <a:latin typeface="Arial" panose="020B0604020202020204" pitchFamily="34" charset="0"/>
              <a:ea typeface="MS PGothic" panose="020B0600070205080204" pitchFamily="34" charset="-128"/>
            </a:endParaRPr>
          </a:p>
          <a:p>
            <a:pPr eaLnBrk="1" hangingPunct="1">
              <a:spcBef>
                <a:spcPct val="0"/>
              </a:spcBef>
            </a:pPr>
            <a:r>
              <a:rPr lang="en-US" altLang="pt-BR" sz="3600" dirty="0">
                <a:solidFill>
                  <a:srgbClr val="000000"/>
                </a:solidFill>
                <a:latin typeface="Arial" panose="020B0604020202020204" pitchFamily="34" charset="0"/>
                <a:ea typeface="MS PGothic" panose="020B0600070205080204" pitchFamily="34" charset="-128"/>
              </a:rPr>
              <a:t>Este </a:t>
            </a:r>
            <a:r>
              <a:rPr lang="en-US" altLang="pt-BR" sz="3600" dirty="0" err="1">
                <a:solidFill>
                  <a:srgbClr val="000000"/>
                </a:solidFill>
                <a:latin typeface="Arial" panose="020B0604020202020204" pitchFamily="34" charset="0"/>
                <a:ea typeface="MS PGothic" panose="020B0600070205080204" pitchFamily="34" charset="-128"/>
              </a:rPr>
              <a:t>Comitê</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costuma</a:t>
            </a:r>
            <a:r>
              <a:rPr lang="en-US" altLang="pt-BR" sz="3600" dirty="0">
                <a:solidFill>
                  <a:srgbClr val="000000"/>
                </a:solidFill>
                <a:latin typeface="Arial" panose="020B0604020202020204" pitchFamily="34" charset="0"/>
                <a:ea typeface="MS PGothic" panose="020B0600070205080204" pitchFamily="34" charset="-128"/>
              </a:rPr>
              <a:t> ser </a:t>
            </a:r>
            <a:r>
              <a:rPr lang="en-US" altLang="pt-BR" sz="3600" dirty="0" err="1">
                <a:solidFill>
                  <a:srgbClr val="000000"/>
                </a:solidFill>
                <a:latin typeface="Arial" panose="020B0604020202020204" pitchFamily="34" charset="0"/>
                <a:ea typeface="MS PGothic" panose="020B0600070205080204" pitchFamily="34" charset="-128"/>
              </a:rPr>
              <a:t>formado</a:t>
            </a:r>
            <a:r>
              <a:rPr lang="en-US" altLang="pt-BR" sz="3600" dirty="0">
                <a:solidFill>
                  <a:srgbClr val="000000"/>
                </a:solidFill>
                <a:latin typeface="Arial" panose="020B0604020202020204" pitchFamily="34" charset="0"/>
                <a:ea typeface="MS PGothic" panose="020B0600070205080204" pitchFamily="34" charset="-128"/>
              </a:rPr>
              <a:t> por </a:t>
            </a:r>
            <a:r>
              <a:rPr lang="en-US" altLang="pt-BR" sz="3600" dirty="0" err="1">
                <a:solidFill>
                  <a:srgbClr val="000000"/>
                </a:solidFill>
                <a:latin typeface="Arial" panose="020B0604020202020204" pitchFamily="34" charset="0"/>
                <a:ea typeface="MS PGothic" panose="020B0600070205080204" pitchFamily="34" charset="-128"/>
              </a:rPr>
              <a:t>componentes</a:t>
            </a:r>
            <a:r>
              <a:rPr lang="en-US" altLang="pt-BR" sz="3600" dirty="0">
                <a:solidFill>
                  <a:srgbClr val="000000"/>
                </a:solidFill>
                <a:latin typeface="Arial" panose="020B0604020202020204" pitchFamily="34" charset="0"/>
                <a:ea typeface="MS PGothic" panose="020B0600070205080204" pitchFamily="34" charset="-128"/>
              </a:rPr>
              <a:t> da </a:t>
            </a:r>
            <a:r>
              <a:rPr lang="en-US" altLang="pt-BR" sz="3600" dirty="0">
                <a:solidFill>
                  <a:srgbClr val="1F497D"/>
                </a:solidFill>
                <a:latin typeface="Arial" panose="020B0604020202020204" pitchFamily="34" charset="0"/>
                <a:ea typeface="MS PGothic" panose="020B0600070205080204" pitchFamily="34" charset="-128"/>
              </a:rPr>
              <a:t>Alta</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Administração</a:t>
            </a:r>
            <a:r>
              <a:rPr lang="en-US" altLang="pt-BR" sz="3600" dirty="0">
                <a:solidFill>
                  <a:srgbClr val="000000"/>
                </a:solidFill>
                <a:latin typeface="Arial" panose="020B0604020202020204" pitchFamily="34" charset="0"/>
                <a:ea typeface="MS PGothic" panose="020B0600070205080204" pitchFamily="34" charset="-128"/>
              </a:rPr>
              <a:t> e </a:t>
            </a:r>
            <a:r>
              <a:rPr lang="en-US" altLang="pt-BR" sz="3600" dirty="0" err="1">
                <a:solidFill>
                  <a:srgbClr val="000000"/>
                </a:solidFill>
                <a:latin typeface="Arial" panose="020B0604020202020204" pitchFamily="34" charset="0"/>
                <a:ea typeface="MS PGothic" panose="020B0600070205080204" pitchFamily="34" charset="-128"/>
              </a:rPr>
              <a:t>deve</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ter</a:t>
            </a:r>
            <a:r>
              <a:rPr lang="en-US" altLang="pt-BR" sz="3600" dirty="0">
                <a:solidFill>
                  <a:srgbClr val="000000"/>
                </a:solidFill>
                <a:latin typeface="Arial" panose="020B0604020202020204" pitchFamily="34" charset="0"/>
                <a:ea typeface="MS PGothic" panose="020B0600070205080204" pitchFamily="34" charset="-128"/>
              </a:rPr>
              <a:t> um </a:t>
            </a:r>
            <a:r>
              <a:rPr lang="en-US" altLang="pt-BR" sz="3600" dirty="0" err="1">
                <a:solidFill>
                  <a:srgbClr val="1F497D"/>
                </a:solidFill>
                <a:latin typeface="Arial" panose="020B0604020202020204" pitchFamily="34" charset="0"/>
                <a:ea typeface="MS PGothic" panose="020B0600070205080204" pitchFamily="34" charset="-128"/>
              </a:rPr>
              <a:t>model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a:solidFill>
                  <a:srgbClr val="1F497D"/>
                </a:solidFill>
                <a:latin typeface="Arial" panose="020B0604020202020204" pitchFamily="34" charset="0"/>
                <a:ea typeface="MS PGothic" panose="020B0600070205080204" pitchFamily="34" charset="-128"/>
              </a:rPr>
              <a:t>de</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gestã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definindo</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alçada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1F497D"/>
                </a:solidFill>
                <a:latin typeface="Arial" panose="020B0604020202020204" pitchFamily="34" charset="0"/>
                <a:ea typeface="MS PGothic" panose="020B0600070205080204" pitchFamily="34" charset="-128"/>
              </a:rPr>
              <a:t>reuniões</a:t>
            </a:r>
            <a:r>
              <a:rPr lang="en-US" altLang="pt-BR" sz="3600" dirty="0">
                <a:solidFill>
                  <a:srgbClr val="000000"/>
                </a:solidFill>
                <a:latin typeface="Arial" panose="020B0604020202020204" pitchFamily="34" charset="0"/>
                <a:ea typeface="MS PGothic" panose="020B0600070205080204" pitchFamily="34" charset="-128"/>
              </a:rPr>
              <a:t> </a:t>
            </a:r>
            <a:r>
              <a:rPr lang="en-US" altLang="pt-BR" sz="3600" dirty="0" err="1">
                <a:solidFill>
                  <a:srgbClr val="000000"/>
                </a:solidFill>
                <a:latin typeface="Arial" panose="020B0604020202020204" pitchFamily="34" charset="0"/>
                <a:ea typeface="MS PGothic" panose="020B0600070205080204" pitchFamily="34" charset="-128"/>
              </a:rPr>
              <a:t>regulares</a:t>
            </a:r>
            <a:r>
              <a:rPr lang="en-US" altLang="pt-BR" sz="3600" dirty="0">
                <a:solidFill>
                  <a:srgbClr val="000000"/>
                </a:solidFill>
                <a:latin typeface="Arial" panose="020B0604020202020204" pitchFamily="34" charset="0"/>
                <a:ea typeface="MS PGothic" panose="020B0600070205080204" pitchFamily="34" charset="-128"/>
              </a:rPr>
              <a:t> e </a:t>
            </a:r>
            <a:r>
              <a:rPr lang="en-US" altLang="pt-BR" sz="3600" dirty="0" err="1">
                <a:solidFill>
                  <a:srgbClr val="1F497D"/>
                </a:solidFill>
                <a:latin typeface="Arial" panose="020B0604020202020204" pitchFamily="34" charset="0"/>
                <a:ea typeface="MS PGothic" panose="020B0600070205080204" pitchFamily="34" charset="-128"/>
              </a:rPr>
              <a:t>responsabilidades</a:t>
            </a:r>
            <a:r>
              <a:rPr lang="en-US" altLang="pt-BR" sz="3600" dirty="0">
                <a:solidFill>
                  <a:srgbClr val="1F497D"/>
                </a:solidFill>
                <a:latin typeface="Arial" panose="020B0604020202020204" pitchFamily="34" charset="0"/>
                <a:ea typeface="MS PGothic" panose="020B0600070205080204" pitchFamily="34" charset="-128"/>
              </a:rPr>
              <a:t>.</a:t>
            </a:r>
            <a:endParaRPr lang="pt-BR" altLang="pt-BR" sz="3600" dirty="0">
              <a:solidFill>
                <a:srgbClr val="000000"/>
              </a:solidFill>
              <a:latin typeface="Arial" panose="020B0604020202020204" pitchFamily="34" charset="0"/>
              <a:ea typeface="MS PGothic" panose="020B0600070205080204" pitchFamily="34" charset="-128"/>
            </a:endParaRPr>
          </a:p>
        </p:txBody>
      </p:sp>
      <p:sp>
        <p:nvSpPr>
          <p:cNvPr id="118787" name="Text Box 3"/>
          <p:cNvSpPr txBox="1">
            <a:spLocks noChangeArrowheads="1"/>
          </p:cNvSpPr>
          <p:nvPr/>
        </p:nvSpPr>
        <p:spPr bwMode="auto">
          <a:xfrm>
            <a:off x="1997870" y="283370"/>
            <a:ext cx="727948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50000"/>
              </a:spcBef>
              <a:buFontTx/>
              <a:buNone/>
            </a:pPr>
            <a:r>
              <a:rPr lang="pt-BR" altLang="pt-BR" sz="3600" b="1" dirty="0">
                <a:solidFill>
                  <a:schemeClr val="tx1"/>
                </a:solidFill>
                <a:latin typeface="Arial" panose="020B0604020202020204" pitchFamily="34" charset="0"/>
                <a:ea typeface="MS PGothic" panose="020B0600070205080204" pitchFamily="34" charset="-128"/>
              </a:rPr>
              <a:t>Autorizando o Portfólio</a:t>
            </a:r>
          </a:p>
        </p:txBody>
      </p:sp>
    </p:spTree>
    <p:extLst>
      <p:ext uri="{BB962C8B-B14F-4D97-AF65-F5344CB8AC3E}">
        <p14:creationId xmlns:p14="http://schemas.microsoft.com/office/powerpoint/2010/main" val="1474924121"/>
      </p:ext>
    </p:extLst>
  </p:cSld>
  <p:clrMapOvr>
    <a:masterClrMapping/>
  </p:clrMapOvr>
  <p:transition>
    <p:strips dir="rd"/>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ChangeArrowheads="1"/>
          </p:cNvSpPr>
          <p:nvPr>
            <p:ph type="title"/>
          </p:nvPr>
        </p:nvSpPr>
        <p:spPr bwMode="auto">
          <a:xfrm>
            <a:off x="219075" y="283370"/>
            <a:ext cx="12344400" cy="57388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a:solidFill>
                  <a:schemeClr val="tx1"/>
                </a:solidFill>
              </a:rPr>
              <a:t>Reportar Performance do Portfólio</a:t>
            </a:r>
            <a:endParaRPr lang="en-US" altLang="pt-BR" sz="3600">
              <a:solidFill>
                <a:schemeClr val="tx1"/>
              </a:solidFill>
            </a:endParaRPr>
          </a:p>
        </p:txBody>
      </p:sp>
      <p:sp>
        <p:nvSpPr>
          <p:cNvPr id="119811" name="Line 251"/>
          <p:cNvSpPr>
            <a:spLocks noChangeShapeType="1"/>
          </p:cNvSpPr>
          <p:nvPr/>
        </p:nvSpPr>
        <p:spPr bwMode="auto">
          <a:xfrm>
            <a:off x="5386388" y="6253163"/>
            <a:ext cx="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pic>
        <p:nvPicPr>
          <p:cNvPr id="119812" name="Picture 8" descr="C:\Users\Pallesi\AppData\Roaming\PixelMetrics\CaptureWiz\Temp\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75" y="2788445"/>
            <a:ext cx="12946857" cy="581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390792920"/>
      </p:ext>
    </p:extLst>
  </p:cSld>
  <p:clrMapOvr>
    <a:masterClrMapping/>
  </p:clrMapOvr>
  <p:transition spd="slow">
    <p:strips dir="rd"/>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306620" y="4472311"/>
            <a:ext cx="3200400" cy="1500188"/>
          </a:xfrm>
          <a:prstGeom prst="rect">
            <a:avLst/>
          </a:prstGeom>
          <a:solidFill>
            <a:schemeClr val="bg1">
              <a:lumMod val="95000"/>
            </a:schemeClr>
          </a:solidFill>
          <a:ln w="28575"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defRPr/>
            </a:pPr>
            <a:r>
              <a:rPr lang="en-US" dirty="0">
                <a:latin typeface="Arial" charset="0"/>
              </a:rPr>
              <a:t>ALINHAMENTO</a:t>
            </a:r>
          </a:p>
        </p:txBody>
      </p:sp>
      <p:sp>
        <p:nvSpPr>
          <p:cNvPr id="3" name="Rectangle 2"/>
          <p:cNvSpPr>
            <a:spLocks noChangeArrowheads="1"/>
          </p:cNvSpPr>
          <p:nvPr/>
        </p:nvSpPr>
        <p:spPr bwMode="auto">
          <a:xfrm>
            <a:off x="335586" y="2479204"/>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en-US" sz="2100"/>
              <a:t>Mapa </a:t>
            </a:r>
          </a:p>
          <a:p>
            <a:pPr algn="ctr">
              <a:lnSpc>
                <a:spcPts val="1950"/>
              </a:lnSpc>
              <a:defRPr/>
            </a:pPr>
            <a:r>
              <a:rPr lang="en-US" sz="2100"/>
              <a:t>Estratégico</a:t>
            </a:r>
          </a:p>
        </p:txBody>
      </p:sp>
      <p:sp>
        <p:nvSpPr>
          <p:cNvPr id="4" name="Rectangle 3"/>
          <p:cNvSpPr>
            <a:spLocks noChangeArrowheads="1"/>
          </p:cNvSpPr>
          <p:nvPr/>
        </p:nvSpPr>
        <p:spPr bwMode="auto">
          <a:xfrm>
            <a:off x="335586" y="4055591"/>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pt-BR" sz="2100" dirty="0"/>
              <a:t>Lista de Projetos</a:t>
            </a:r>
          </a:p>
          <a:p>
            <a:pPr algn="ctr">
              <a:lnSpc>
                <a:spcPts val="1950"/>
              </a:lnSpc>
              <a:defRPr/>
            </a:pPr>
            <a:r>
              <a:rPr lang="pt-BR" sz="2100" dirty="0"/>
              <a:t>em execução (Acompanhamento) </a:t>
            </a:r>
            <a:endParaRPr lang="en-US" sz="2100" dirty="0"/>
          </a:p>
        </p:txBody>
      </p:sp>
      <p:sp>
        <p:nvSpPr>
          <p:cNvPr id="5" name="Rectangle 4"/>
          <p:cNvSpPr>
            <a:spLocks noChangeArrowheads="1"/>
          </p:cNvSpPr>
          <p:nvPr/>
        </p:nvSpPr>
        <p:spPr bwMode="auto">
          <a:xfrm>
            <a:off x="335586" y="5631979"/>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pt-BR" sz="2100" dirty="0"/>
              <a:t>Recursos</a:t>
            </a:r>
          </a:p>
          <a:p>
            <a:pPr algn="ctr">
              <a:lnSpc>
                <a:spcPts val="1950"/>
              </a:lnSpc>
              <a:defRPr/>
            </a:pPr>
            <a:r>
              <a:rPr lang="pt-BR" sz="2100" dirty="0"/>
              <a:t>críticos necessários</a:t>
            </a:r>
          </a:p>
          <a:p>
            <a:pPr algn="ctr">
              <a:lnSpc>
                <a:spcPts val="1950"/>
              </a:lnSpc>
              <a:defRPr/>
            </a:pPr>
            <a:r>
              <a:rPr lang="pt-BR" sz="2100" dirty="0"/>
              <a:t> aos projetos</a:t>
            </a:r>
          </a:p>
        </p:txBody>
      </p:sp>
      <p:sp>
        <p:nvSpPr>
          <p:cNvPr id="6" name="Rectangle 5"/>
          <p:cNvSpPr>
            <a:spLocks noChangeArrowheads="1"/>
          </p:cNvSpPr>
          <p:nvPr/>
        </p:nvSpPr>
        <p:spPr bwMode="auto">
          <a:xfrm>
            <a:off x="335586" y="7208366"/>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en-US" sz="2100"/>
              <a:t>Limitação</a:t>
            </a:r>
          </a:p>
          <a:p>
            <a:pPr algn="ctr">
              <a:lnSpc>
                <a:spcPts val="1950"/>
              </a:lnSpc>
              <a:defRPr/>
            </a:pPr>
            <a:r>
              <a:rPr lang="en-US" sz="2100"/>
              <a:t> Orçamentária  e de capacidade</a:t>
            </a:r>
          </a:p>
        </p:txBody>
      </p:sp>
      <p:sp>
        <p:nvSpPr>
          <p:cNvPr id="7" name="Rectangle 6"/>
          <p:cNvSpPr>
            <a:spLocks noChangeArrowheads="1"/>
          </p:cNvSpPr>
          <p:nvPr/>
        </p:nvSpPr>
        <p:spPr bwMode="auto">
          <a:xfrm>
            <a:off x="9508161" y="3979391"/>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pt-BR" sz="2100" dirty="0"/>
              <a:t>  Visibilidade do Inventário estruturado de projetos</a:t>
            </a:r>
          </a:p>
        </p:txBody>
      </p:sp>
      <p:sp>
        <p:nvSpPr>
          <p:cNvPr id="8" name="Rectangle 7"/>
          <p:cNvSpPr>
            <a:spLocks noChangeArrowheads="1"/>
          </p:cNvSpPr>
          <p:nvPr/>
        </p:nvSpPr>
        <p:spPr bwMode="auto">
          <a:xfrm>
            <a:off x="9508161" y="5589116"/>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lnSpc>
                <a:spcPts val="1950"/>
              </a:lnSpc>
              <a:defRPr/>
            </a:pPr>
            <a:r>
              <a:rPr lang="pt-BR" sz="2100" dirty="0"/>
              <a:t>Lista de Espera</a:t>
            </a:r>
          </a:p>
          <a:p>
            <a:pPr algn="ctr">
              <a:lnSpc>
                <a:spcPts val="1950"/>
              </a:lnSpc>
              <a:defRPr/>
            </a:pPr>
            <a:r>
              <a:rPr lang="pt-BR" sz="2100" dirty="0"/>
              <a:t>(não selecionados) </a:t>
            </a:r>
            <a:endParaRPr lang="en-US" sz="2100" dirty="0"/>
          </a:p>
        </p:txBody>
      </p:sp>
      <p:cxnSp>
        <p:nvCxnSpPr>
          <p:cNvPr id="9" name="Elbow Connector 11"/>
          <p:cNvCxnSpPr>
            <a:cxnSpLocks noChangeShapeType="1"/>
          </p:cNvCxnSpPr>
          <p:nvPr/>
        </p:nvCxnSpPr>
        <p:spPr bwMode="auto">
          <a:xfrm>
            <a:off x="3836023" y="2864967"/>
            <a:ext cx="1485900" cy="2357438"/>
          </a:xfrm>
          <a:prstGeom prst="bentConnector3">
            <a:avLst>
              <a:gd name="adj1" fmla="val 50000"/>
            </a:avLst>
          </a:prstGeom>
          <a:ln>
            <a:headEnd/>
            <a:tailEnd type="arrow" w="med" len="med"/>
          </a:ln>
        </p:spPr>
        <p:style>
          <a:lnRef idx="3">
            <a:schemeClr val="accent2"/>
          </a:lnRef>
          <a:fillRef idx="0">
            <a:schemeClr val="accent2"/>
          </a:fillRef>
          <a:effectRef idx="2">
            <a:schemeClr val="accent2"/>
          </a:effectRef>
          <a:fontRef idx="minor">
            <a:schemeClr val="tx1"/>
          </a:fontRef>
        </p:style>
      </p:cxnSp>
      <p:cxnSp>
        <p:nvCxnSpPr>
          <p:cNvPr id="10" name="Elbow Connector 13"/>
          <p:cNvCxnSpPr>
            <a:cxnSpLocks noChangeShapeType="1"/>
          </p:cNvCxnSpPr>
          <p:nvPr/>
        </p:nvCxnSpPr>
        <p:spPr bwMode="auto">
          <a:xfrm>
            <a:off x="3836023" y="4441354"/>
            <a:ext cx="1485900" cy="781050"/>
          </a:xfrm>
          <a:prstGeom prst="bentConnector3">
            <a:avLst>
              <a:gd name="adj1" fmla="val 50000"/>
            </a:avLst>
          </a:prstGeom>
          <a:ln>
            <a:headEnd/>
            <a:tailEnd type="arrow" w="med" len="med"/>
          </a:ln>
        </p:spPr>
        <p:style>
          <a:lnRef idx="3">
            <a:schemeClr val="accent2"/>
          </a:lnRef>
          <a:fillRef idx="0">
            <a:schemeClr val="accent2"/>
          </a:fillRef>
          <a:effectRef idx="2">
            <a:schemeClr val="accent2"/>
          </a:effectRef>
          <a:fontRef idx="minor">
            <a:schemeClr val="tx1"/>
          </a:fontRef>
        </p:style>
      </p:cxnSp>
      <p:cxnSp>
        <p:nvCxnSpPr>
          <p:cNvPr id="11" name="Elbow Connector 15"/>
          <p:cNvCxnSpPr>
            <a:cxnSpLocks noChangeShapeType="1"/>
          </p:cNvCxnSpPr>
          <p:nvPr/>
        </p:nvCxnSpPr>
        <p:spPr bwMode="auto">
          <a:xfrm flipV="1">
            <a:off x="3836023" y="5222404"/>
            <a:ext cx="1485900" cy="795338"/>
          </a:xfrm>
          <a:prstGeom prst="bentConnector3">
            <a:avLst>
              <a:gd name="adj1" fmla="val 50000"/>
            </a:avLst>
          </a:prstGeom>
          <a:ln>
            <a:headEnd/>
            <a:tailEnd type="arrow" w="med" len="med"/>
          </a:ln>
        </p:spPr>
        <p:style>
          <a:lnRef idx="3">
            <a:schemeClr val="accent2"/>
          </a:lnRef>
          <a:fillRef idx="0">
            <a:schemeClr val="accent2"/>
          </a:fillRef>
          <a:effectRef idx="2">
            <a:schemeClr val="accent2"/>
          </a:effectRef>
          <a:fontRef idx="minor">
            <a:schemeClr val="tx1"/>
          </a:fontRef>
        </p:style>
      </p:cxnSp>
      <p:cxnSp>
        <p:nvCxnSpPr>
          <p:cNvPr id="120858" name="Shape 17"/>
          <p:cNvCxnSpPr>
            <a:cxnSpLocks noChangeShapeType="1"/>
          </p:cNvCxnSpPr>
          <p:nvPr/>
        </p:nvCxnSpPr>
        <p:spPr bwMode="auto">
          <a:xfrm flipV="1">
            <a:off x="3836023" y="5222404"/>
            <a:ext cx="1485900" cy="2371725"/>
          </a:xfrm>
          <a:prstGeom prst="bentConnector2">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cxnSp>
        <p:nvCxnSpPr>
          <p:cNvPr id="13" name="Elbow Connector 19"/>
          <p:cNvCxnSpPr>
            <a:cxnSpLocks noChangeShapeType="1"/>
          </p:cNvCxnSpPr>
          <p:nvPr/>
        </p:nvCxnSpPr>
        <p:spPr bwMode="auto">
          <a:xfrm flipV="1">
            <a:off x="3836023" y="5222404"/>
            <a:ext cx="1485900" cy="2371725"/>
          </a:xfrm>
          <a:prstGeom prst="bentConnector3">
            <a:avLst>
              <a:gd name="adj1" fmla="val 50000"/>
            </a:avLst>
          </a:prstGeom>
          <a:ln>
            <a:headEnd/>
            <a:tailEnd type="arrow" w="med" len="med"/>
          </a:ln>
        </p:spPr>
        <p:style>
          <a:lnRef idx="3">
            <a:schemeClr val="accent2"/>
          </a:lnRef>
          <a:fillRef idx="0">
            <a:schemeClr val="accent2"/>
          </a:fillRef>
          <a:effectRef idx="2">
            <a:schemeClr val="accent2"/>
          </a:effectRef>
          <a:fontRef idx="minor">
            <a:schemeClr val="tx1"/>
          </a:fontRef>
        </p:style>
      </p:cxnSp>
      <p:cxnSp>
        <p:nvCxnSpPr>
          <p:cNvPr id="14" name="Elbow Connector 21"/>
          <p:cNvCxnSpPr>
            <a:cxnSpLocks noChangeShapeType="1"/>
          </p:cNvCxnSpPr>
          <p:nvPr/>
        </p:nvCxnSpPr>
        <p:spPr bwMode="auto">
          <a:xfrm flipV="1">
            <a:off x="8522323" y="4365154"/>
            <a:ext cx="985838" cy="857250"/>
          </a:xfrm>
          <a:prstGeom prst="bentConnector3">
            <a:avLst>
              <a:gd name="adj1" fmla="val 50000"/>
            </a:avLst>
          </a:prstGeom>
          <a:ln>
            <a:headEnd/>
            <a:tailEnd type="arrow" w="med" len="med"/>
          </a:ln>
        </p:spPr>
        <p:style>
          <a:lnRef idx="3">
            <a:schemeClr val="accent6"/>
          </a:lnRef>
          <a:fillRef idx="0">
            <a:schemeClr val="accent6"/>
          </a:fillRef>
          <a:effectRef idx="2">
            <a:schemeClr val="accent6"/>
          </a:effectRef>
          <a:fontRef idx="minor">
            <a:schemeClr val="tx1"/>
          </a:fontRef>
        </p:style>
      </p:cxnSp>
      <p:cxnSp>
        <p:nvCxnSpPr>
          <p:cNvPr id="15" name="Elbow Connector 23"/>
          <p:cNvCxnSpPr>
            <a:cxnSpLocks noChangeShapeType="1"/>
          </p:cNvCxnSpPr>
          <p:nvPr/>
        </p:nvCxnSpPr>
        <p:spPr bwMode="auto">
          <a:xfrm>
            <a:off x="8522323" y="5220023"/>
            <a:ext cx="985838" cy="752475"/>
          </a:xfrm>
          <a:prstGeom prst="bentConnector3">
            <a:avLst>
              <a:gd name="adj1" fmla="val 50000"/>
            </a:avLst>
          </a:prstGeom>
          <a:ln>
            <a:headEnd/>
            <a:tailEnd type="arrow" w="med" len="med"/>
          </a:ln>
        </p:spPr>
        <p:style>
          <a:lnRef idx="3">
            <a:schemeClr val="accent6"/>
          </a:lnRef>
          <a:fillRef idx="0">
            <a:schemeClr val="accent6"/>
          </a:fillRef>
          <a:effectRef idx="2">
            <a:schemeClr val="accent6"/>
          </a:effectRef>
          <a:fontRef idx="minor">
            <a:schemeClr val="tx1"/>
          </a:fontRef>
        </p:style>
      </p:cxnSp>
      <p:sp>
        <p:nvSpPr>
          <p:cNvPr id="16" name="Rectangle 6"/>
          <p:cNvSpPr>
            <a:spLocks noChangeArrowheads="1"/>
          </p:cNvSpPr>
          <p:nvPr/>
        </p:nvSpPr>
        <p:spPr bwMode="auto">
          <a:xfrm>
            <a:off x="5523966" y="8310362"/>
            <a:ext cx="3500438" cy="771525"/>
          </a:xfrm>
          <a:prstGeom prst="rect">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ctr"/>
          <a:lstStyle/>
          <a:p>
            <a:pPr algn="ctr">
              <a:defRPr/>
            </a:pPr>
            <a:r>
              <a:rPr lang="pt-BR" sz="2100" dirty="0"/>
              <a:t>  Recomendações e ações</a:t>
            </a:r>
          </a:p>
          <a:p>
            <a:pPr algn="ctr">
              <a:defRPr/>
            </a:pPr>
            <a:r>
              <a:rPr lang="pt-BR" sz="2100" dirty="0"/>
              <a:t> corretivas p/ projetos</a:t>
            </a:r>
          </a:p>
        </p:txBody>
      </p:sp>
      <p:cxnSp>
        <p:nvCxnSpPr>
          <p:cNvPr id="23" name="Elbow Connector 23"/>
          <p:cNvCxnSpPr>
            <a:cxnSpLocks noChangeShapeType="1"/>
          </p:cNvCxnSpPr>
          <p:nvPr/>
        </p:nvCxnSpPr>
        <p:spPr bwMode="auto">
          <a:xfrm rot="5400000">
            <a:off x="5927951" y="7157170"/>
            <a:ext cx="2307432" cy="0"/>
          </a:xfrm>
          <a:prstGeom prst="bentConnector3">
            <a:avLst>
              <a:gd name="adj1" fmla="val 50000"/>
            </a:avLst>
          </a:prstGeom>
          <a:ln>
            <a:headEnd/>
            <a:tailEnd type="arrow" w="med" len="med"/>
          </a:ln>
        </p:spPr>
        <p:style>
          <a:lnRef idx="3">
            <a:schemeClr val="accent6"/>
          </a:lnRef>
          <a:fillRef idx="0">
            <a:schemeClr val="accent6"/>
          </a:fillRef>
          <a:effectRef idx="2">
            <a:schemeClr val="accent6"/>
          </a:effectRef>
          <a:fontRef idx="minor">
            <a:schemeClr val="tx1"/>
          </a:fontRef>
        </p:style>
      </p:cxnSp>
      <p:sp>
        <p:nvSpPr>
          <p:cNvPr id="29" name="Oval 25"/>
          <p:cNvSpPr>
            <a:spLocks noChangeArrowheads="1"/>
          </p:cNvSpPr>
          <p:nvPr/>
        </p:nvSpPr>
        <p:spPr bwMode="auto">
          <a:xfrm>
            <a:off x="5997007" y="1593903"/>
            <a:ext cx="2078832" cy="1081088"/>
          </a:xfrm>
          <a:prstGeom prst="ellipse">
            <a:avLst/>
          </a:prstGeom>
          <a:solidFill>
            <a:schemeClr val="bg1"/>
          </a:solidFill>
          <a:ln w="9525" algn="ctr">
            <a:noFill/>
            <a:round/>
            <a:headEnd/>
            <a:tailEn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0" tIns="0" rIns="0" bIns="0" anchor="b"/>
          <a:lstStyle/>
          <a:p>
            <a:pPr algn="ctr">
              <a:lnSpc>
                <a:spcPts val="1950"/>
              </a:lnSpc>
              <a:defRPr/>
            </a:pPr>
            <a:r>
              <a:rPr lang="en-US" sz="2100"/>
              <a:t>PMO</a:t>
            </a:r>
          </a:p>
          <a:p>
            <a:pPr algn="ctr">
              <a:lnSpc>
                <a:spcPts val="1950"/>
              </a:lnSpc>
              <a:defRPr/>
            </a:pPr>
            <a:endParaRPr lang="en-US" sz="2100"/>
          </a:p>
        </p:txBody>
      </p:sp>
      <p:cxnSp>
        <p:nvCxnSpPr>
          <p:cNvPr id="47" name="Elbow Connector 23"/>
          <p:cNvCxnSpPr>
            <a:cxnSpLocks noChangeShapeType="1"/>
          </p:cNvCxnSpPr>
          <p:nvPr/>
        </p:nvCxnSpPr>
        <p:spPr bwMode="auto">
          <a:xfrm rot="5400000">
            <a:off x="5882707" y="3668639"/>
            <a:ext cx="2307431" cy="0"/>
          </a:xfrm>
          <a:prstGeom prst="bentConnector3">
            <a:avLst>
              <a:gd name="adj1" fmla="val 50000"/>
            </a:avLst>
          </a:prstGeom>
          <a:ln>
            <a:headEnd/>
            <a:tailEnd type="arrow" w="med" len="med"/>
          </a:ln>
        </p:spPr>
        <p:style>
          <a:lnRef idx="3">
            <a:schemeClr val="accent6"/>
          </a:lnRef>
          <a:fillRef idx="0">
            <a:schemeClr val="accent6"/>
          </a:fillRef>
          <a:effectRef idx="2">
            <a:schemeClr val="accent6"/>
          </a:effectRef>
          <a:fontRef idx="minor">
            <a:schemeClr val="tx1"/>
          </a:fontRef>
        </p:style>
      </p:cxnSp>
      <p:pic>
        <p:nvPicPr>
          <p:cNvPr id="120870" name="Imagem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1462" y="30957"/>
            <a:ext cx="12492038" cy="96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71" name="CaixaDeTexto 17"/>
          <p:cNvSpPr txBox="1">
            <a:spLocks noChangeArrowheads="1"/>
          </p:cNvSpPr>
          <p:nvPr/>
        </p:nvSpPr>
        <p:spPr bwMode="auto">
          <a:xfrm>
            <a:off x="148606" y="9430833"/>
            <a:ext cx="1299612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dirty="0">
                <a:solidFill>
                  <a:schemeClr val="tx1"/>
                </a:solidFill>
                <a:latin typeface="Arial" panose="020B0604020202020204" pitchFamily="34" charset="0"/>
              </a:rPr>
              <a:t>Postergar; Suspender; Agilizar; Aumentar recursos; Mudar estratégia de execução..</a:t>
            </a:r>
          </a:p>
        </p:txBody>
      </p:sp>
      <p:sp>
        <p:nvSpPr>
          <p:cNvPr id="22" name="Rectangle 2"/>
          <p:cNvSpPr txBox="1">
            <a:spLocks noChangeArrowheads="1"/>
          </p:cNvSpPr>
          <p:nvPr/>
        </p:nvSpPr>
        <p:spPr bwMode="auto">
          <a:xfrm>
            <a:off x="160338" y="111125"/>
            <a:ext cx="8229600" cy="3825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rtl="0" eaLnBrk="1" fontAlgn="base" hangingPunct="1">
              <a:spcBef>
                <a:spcPct val="0"/>
              </a:spcBef>
              <a:spcAft>
                <a:spcPct val="0"/>
              </a:spcAft>
              <a:defRPr sz="4951" kern="1200">
                <a:solidFill>
                  <a:schemeClr val="tx1"/>
                </a:solidFill>
                <a:latin typeface="+mj-lt"/>
                <a:ea typeface="+mj-ea"/>
                <a:cs typeface="+mj-cs"/>
              </a:defRPr>
            </a:lvl1pPr>
            <a:lvl2pPr algn="ctr" rtl="0" eaLnBrk="1" fontAlgn="base" hangingPunct="1">
              <a:spcBef>
                <a:spcPct val="0"/>
              </a:spcBef>
              <a:spcAft>
                <a:spcPct val="0"/>
              </a:spcAft>
              <a:defRPr sz="4951">
                <a:solidFill>
                  <a:schemeClr val="tx1"/>
                </a:solidFill>
                <a:latin typeface="Calibri" pitchFamily="34" charset="0"/>
              </a:defRPr>
            </a:lvl2pPr>
            <a:lvl3pPr algn="ctr" rtl="0" eaLnBrk="1" fontAlgn="base" hangingPunct="1">
              <a:spcBef>
                <a:spcPct val="0"/>
              </a:spcBef>
              <a:spcAft>
                <a:spcPct val="0"/>
              </a:spcAft>
              <a:defRPr sz="4951">
                <a:solidFill>
                  <a:schemeClr val="tx1"/>
                </a:solidFill>
                <a:latin typeface="Calibri" pitchFamily="34" charset="0"/>
              </a:defRPr>
            </a:lvl3pPr>
            <a:lvl4pPr algn="ctr" rtl="0" eaLnBrk="1" fontAlgn="base" hangingPunct="1">
              <a:spcBef>
                <a:spcPct val="0"/>
              </a:spcBef>
              <a:spcAft>
                <a:spcPct val="0"/>
              </a:spcAft>
              <a:defRPr sz="4951">
                <a:solidFill>
                  <a:schemeClr val="tx1"/>
                </a:solidFill>
                <a:latin typeface="Calibri" pitchFamily="34" charset="0"/>
              </a:defRPr>
            </a:lvl4pPr>
            <a:lvl5pPr algn="ctr" rtl="0" eaLnBrk="1" fontAlgn="base" hangingPunct="1">
              <a:spcBef>
                <a:spcPct val="0"/>
              </a:spcBef>
              <a:spcAft>
                <a:spcPct val="0"/>
              </a:spcAft>
              <a:defRPr sz="4951">
                <a:solidFill>
                  <a:schemeClr val="tx1"/>
                </a:solidFill>
                <a:latin typeface="Calibri" pitchFamily="34" charset="0"/>
              </a:defRPr>
            </a:lvl5pPr>
            <a:lvl6pPr marL="514287" algn="ctr" rtl="0" eaLnBrk="1" fontAlgn="base" hangingPunct="1">
              <a:spcBef>
                <a:spcPct val="0"/>
              </a:spcBef>
              <a:spcAft>
                <a:spcPct val="0"/>
              </a:spcAft>
              <a:defRPr sz="4951">
                <a:solidFill>
                  <a:schemeClr val="tx1"/>
                </a:solidFill>
                <a:latin typeface="Calibri" pitchFamily="34" charset="0"/>
              </a:defRPr>
            </a:lvl6pPr>
            <a:lvl7pPr marL="1028573" algn="ctr" rtl="0" eaLnBrk="1" fontAlgn="base" hangingPunct="1">
              <a:spcBef>
                <a:spcPct val="0"/>
              </a:spcBef>
              <a:spcAft>
                <a:spcPct val="0"/>
              </a:spcAft>
              <a:defRPr sz="4951">
                <a:solidFill>
                  <a:schemeClr val="tx1"/>
                </a:solidFill>
                <a:latin typeface="Calibri" pitchFamily="34" charset="0"/>
              </a:defRPr>
            </a:lvl7pPr>
            <a:lvl8pPr marL="1542859" algn="ctr" rtl="0" eaLnBrk="1" fontAlgn="base" hangingPunct="1">
              <a:spcBef>
                <a:spcPct val="0"/>
              </a:spcBef>
              <a:spcAft>
                <a:spcPct val="0"/>
              </a:spcAft>
              <a:defRPr sz="4951">
                <a:solidFill>
                  <a:schemeClr val="tx1"/>
                </a:solidFill>
                <a:latin typeface="Calibri" pitchFamily="34" charset="0"/>
              </a:defRPr>
            </a:lvl8pPr>
            <a:lvl9pPr marL="2057144" algn="ctr" rtl="0" eaLnBrk="1" fontAlgn="base" hangingPunct="1">
              <a:spcBef>
                <a:spcPct val="0"/>
              </a:spcBef>
              <a:spcAft>
                <a:spcPct val="0"/>
              </a:spcAft>
              <a:defRPr sz="4951">
                <a:solidFill>
                  <a:schemeClr val="tx1"/>
                </a:solidFill>
                <a:latin typeface="Calibri" pitchFamily="34" charset="0"/>
              </a:defRPr>
            </a:lvl9pPr>
          </a:lstStyle>
          <a:p>
            <a:r>
              <a:rPr lang="pt-BR" altLang="pt-BR" sz="3600" b="1"/>
              <a:t>Reportar Performance do Portfólio</a:t>
            </a:r>
            <a:endParaRPr lang="en-US" altLang="pt-BR" sz="3600" b="1" dirty="0"/>
          </a:p>
        </p:txBody>
      </p:sp>
    </p:spTree>
    <p:custDataLst>
      <p:tags r:id="rId1"/>
    </p:custDataLst>
    <p:extLst>
      <p:ext uri="{BB962C8B-B14F-4D97-AF65-F5344CB8AC3E}">
        <p14:creationId xmlns:p14="http://schemas.microsoft.com/office/powerpoint/2010/main" val="2737290259"/>
      </p:ext>
    </p:extLst>
  </p:cSld>
  <p:clrMapOvr>
    <a:masterClrMapping/>
  </p:clrMapOvr>
  <p:transition>
    <p:strips dir="rd"/>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ChangeArrowheads="1"/>
          </p:cNvSpPr>
          <p:nvPr>
            <p:ph type="title"/>
          </p:nvPr>
        </p:nvSpPr>
        <p:spPr bwMode="auto">
          <a:xfrm>
            <a:off x="240507" y="166688"/>
            <a:ext cx="12344400" cy="5738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rPr>
              <a:t>Reportar Performance do Portfólio</a:t>
            </a:r>
            <a:endParaRPr lang="en-US" altLang="pt-BR" sz="3600" dirty="0">
              <a:solidFill>
                <a:schemeClr val="tx1"/>
              </a:solidFill>
            </a:endParaRPr>
          </a:p>
        </p:txBody>
      </p:sp>
      <p:sp>
        <p:nvSpPr>
          <p:cNvPr id="122883" name="Line 251"/>
          <p:cNvSpPr>
            <a:spLocks noChangeShapeType="1"/>
          </p:cNvSpPr>
          <p:nvPr/>
        </p:nvSpPr>
        <p:spPr bwMode="auto">
          <a:xfrm>
            <a:off x="5088731" y="5700192"/>
            <a:ext cx="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122884" name="Text Box 4"/>
          <p:cNvSpPr txBox="1">
            <a:spLocks noChangeArrowheads="1"/>
          </p:cNvSpPr>
          <p:nvPr/>
        </p:nvSpPr>
        <p:spPr bwMode="auto">
          <a:xfrm>
            <a:off x="240507" y="1471092"/>
            <a:ext cx="12530138"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150"/>
              </a:lnSpc>
              <a:spcBef>
                <a:spcPct val="0"/>
              </a:spcBef>
              <a:buClr>
                <a:srgbClr val="FF0000"/>
              </a:buClr>
              <a:buFont typeface="Wingdings" panose="05000000000000000000" pitchFamily="2" charset="2"/>
              <a:buChar char="ü"/>
            </a:pPr>
            <a:r>
              <a:rPr lang="pt-BR" altLang="pt-BR" sz="3600">
                <a:solidFill>
                  <a:srgbClr val="000000"/>
                </a:solidFill>
                <a:latin typeface="Calibri" panose="020F0502020204030204" pitchFamily="34" charset="0"/>
              </a:rPr>
              <a:t>Diversos motivos podem levar a mudanças, tais como alterações na estratégia, mudanças de conjuntura econômica ou o próprio desempenho dos projetos do portfólio. </a:t>
            </a:r>
          </a:p>
          <a:p>
            <a:pPr>
              <a:lnSpc>
                <a:spcPts val="3150"/>
              </a:lnSpc>
              <a:spcBef>
                <a:spcPct val="0"/>
              </a:spcBef>
              <a:buClr>
                <a:srgbClr val="FF0000"/>
              </a:buClr>
              <a:buFont typeface="Wingdings" panose="05000000000000000000" pitchFamily="2" charset="2"/>
              <a:buChar char="ü"/>
            </a:pPr>
            <a:endParaRPr lang="pt-BR" altLang="pt-BR" sz="3600">
              <a:solidFill>
                <a:srgbClr val="000000"/>
              </a:solidFill>
              <a:latin typeface="Calibri" panose="020F0502020204030204" pitchFamily="34" charset="0"/>
            </a:endParaRPr>
          </a:p>
        </p:txBody>
      </p:sp>
      <p:sp>
        <p:nvSpPr>
          <p:cNvPr id="122885" name="Text Box 5"/>
          <p:cNvSpPr txBox="1">
            <a:spLocks noChangeArrowheads="1"/>
          </p:cNvSpPr>
          <p:nvPr/>
        </p:nvSpPr>
        <p:spPr bwMode="auto">
          <a:xfrm>
            <a:off x="295275" y="2916511"/>
            <a:ext cx="12313445"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150"/>
              </a:lnSpc>
              <a:spcBef>
                <a:spcPct val="0"/>
              </a:spcBef>
              <a:buClr>
                <a:srgbClr val="FF0000"/>
              </a:buClr>
              <a:buFont typeface="Wingdings" panose="05000000000000000000" pitchFamily="2" charset="2"/>
              <a:buChar char="ü"/>
            </a:pPr>
            <a:r>
              <a:rPr lang="pt-BR" altLang="pt-BR" sz="3600">
                <a:solidFill>
                  <a:srgbClr val="000000"/>
                </a:solidFill>
                <a:latin typeface="Calibri" panose="020F0502020204030204" pitchFamily="34" charset="0"/>
              </a:rPr>
              <a:t>Dessa forma, projetos podem ser </a:t>
            </a:r>
            <a:r>
              <a:rPr lang="pt-BR" altLang="pt-BR" sz="3600">
                <a:solidFill>
                  <a:srgbClr val="FF0000"/>
                </a:solidFill>
                <a:latin typeface="Calibri" panose="020F0502020204030204" pitchFamily="34" charset="0"/>
              </a:rPr>
              <a:t>postergados ou até mesmo </a:t>
            </a:r>
            <a:br>
              <a:rPr lang="pt-BR" altLang="pt-BR" sz="3600">
                <a:solidFill>
                  <a:srgbClr val="FF0000"/>
                </a:solidFill>
                <a:latin typeface="Calibri" panose="020F0502020204030204" pitchFamily="34" charset="0"/>
              </a:rPr>
            </a:br>
            <a:r>
              <a:rPr lang="pt-BR" altLang="pt-BR" sz="3600">
                <a:solidFill>
                  <a:srgbClr val="FF0000"/>
                </a:solidFill>
                <a:latin typeface="Calibri" panose="020F0502020204030204" pitchFamily="34" charset="0"/>
              </a:rPr>
              <a:t>cancelados. E novos projetos podem surgir ao longo do ano. </a:t>
            </a:r>
          </a:p>
          <a:p>
            <a:pPr>
              <a:lnSpc>
                <a:spcPts val="3150"/>
              </a:lnSpc>
              <a:spcBef>
                <a:spcPct val="0"/>
              </a:spcBef>
              <a:buClr>
                <a:srgbClr val="FF0000"/>
              </a:buClr>
              <a:buFont typeface="Wingdings" panose="05000000000000000000" pitchFamily="2" charset="2"/>
              <a:buChar char="ü"/>
            </a:pPr>
            <a:endParaRPr lang="pt-BR" altLang="pt-BR" sz="3600">
              <a:solidFill>
                <a:srgbClr val="000000"/>
              </a:solidFill>
              <a:latin typeface="Calibri" panose="020F0502020204030204" pitchFamily="34" charset="0"/>
            </a:endParaRPr>
          </a:p>
        </p:txBody>
      </p:sp>
      <p:sp>
        <p:nvSpPr>
          <p:cNvPr id="122886" name="Text Box 6"/>
          <p:cNvSpPr txBox="1">
            <a:spLocks noChangeArrowheads="1"/>
          </p:cNvSpPr>
          <p:nvPr/>
        </p:nvSpPr>
        <p:spPr bwMode="auto">
          <a:xfrm>
            <a:off x="142875" y="4321449"/>
            <a:ext cx="12618245"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150"/>
              </a:lnSpc>
              <a:spcBef>
                <a:spcPct val="0"/>
              </a:spcBef>
              <a:buClr>
                <a:srgbClr val="FF0000"/>
              </a:buClr>
              <a:buFont typeface="Wingdings" panose="05000000000000000000" pitchFamily="2" charset="2"/>
              <a:buChar char="ü"/>
            </a:pPr>
            <a:r>
              <a:rPr lang="pt-BR" altLang="pt-BR" sz="3600">
                <a:solidFill>
                  <a:srgbClr val="000000"/>
                </a:solidFill>
                <a:latin typeface="Calibri" panose="020F0502020204030204" pitchFamily="34" charset="0"/>
              </a:rPr>
              <a:t>Dependendo do setor onde a Organização atua, esta realidade pode ser ainda mais frequente. </a:t>
            </a:r>
          </a:p>
          <a:p>
            <a:pPr>
              <a:lnSpc>
                <a:spcPts val="3150"/>
              </a:lnSpc>
              <a:spcBef>
                <a:spcPct val="0"/>
              </a:spcBef>
              <a:buClr>
                <a:srgbClr val="FF0000"/>
              </a:buClr>
              <a:buFont typeface="Wingdings" panose="05000000000000000000" pitchFamily="2" charset="2"/>
              <a:buChar char="ü"/>
            </a:pPr>
            <a:endParaRPr lang="pt-BR" altLang="pt-BR" sz="3600">
              <a:solidFill>
                <a:srgbClr val="000000"/>
              </a:solidFill>
              <a:latin typeface="Calibri" panose="020F0502020204030204" pitchFamily="34" charset="0"/>
            </a:endParaRPr>
          </a:p>
        </p:txBody>
      </p:sp>
      <p:sp>
        <p:nvSpPr>
          <p:cNvPr id="13" name="Text Box 9"/>
          <p:cNvSpPr txBox="1">
            <a:spLocks noChangeArrowheads="1"/>
          </p:cNvSpPr>
          <p:nvPr/>
        </p:nvSpPr>
        <p:spPr bwMode="auto">
          <a:xfrm>
            <a:off x="240506" y="5616849"/>
            <a:ext cx="12313443" cy="1231106"/>
          </a:xfrm>
          <a:prstGeom prst="rect">
            <a:avLst/>
          </a:prstGeom>
          <a:noFill/>
          <a:ln>
            <a:noFill/>
          </a:ln>
          <a:effectLst/>
        </p:spPr>
        <p:txBody>
          <a:bodyPr lIns="0" tIns="0" rIns="0" bIns="0">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marL="514350" indent="-514350">
              <a:lnSpc>
                <a:spcPts val="3150"/>
              </a:lnSpc>
              <a:buClr>
                <a:srgbClr val="FF0000"/>
              </a:buClr>
              <a:buFont typeface="Wingdings" pitchFamily="2" charset="2"/>
              <a:buChar char="ü"/>
              <a:defRPr/>
            </a:pPr>
            <a:r>
              <a:rPr lang="pt-BR" sz="3600" i="0" dirty="0">
                <a:solidFill>
                  <a:srgbClr val="000000"/>
                </a:solidFill>
                <a:latin typeface="Calibri" pitchFamily="34" charset="0"/>
              </a:rPr>
              <a:t>Importante  sempre comunicar a todos os envolvidos sobre as mudanças autorizadas. </a:t>
            </a:r>
          </a:p>
          <a:p>
            <a:pPr>
              <a:lnSpc>
                <a:spcPts val="3150"/>
              </a:lnSpc>
              <a:defRPr/>
            </a:pPr>
            <a:endParaRPr lang="pt-BR" dirty="0">
              <a:solidFill>
                <a:srgbClr val="000000"/>
              </a:solidFill>
            </a:endParaRPr>
          </a:p>
        </p:txBody>
      </p:sp>
      <p:sp>
        <p:nvSpPr>
          <p:cNvPr id="14" name="Text Box 5"/>
          <p:cNvSpPr txBox="1">
            <a:spLocks noChangeArrowheads="1"/>
          </p:cNvSpPr>
          <p:nvPr/>
        </p:nvSpPr>
        <p:spPr bwMode="auto">
          <a:xfrm>
            <a:off x="350044" y="6967017"/>
            <a:ext cx="12611100" cy="1231106"/>
          </a:xfrm>
          <a:prstGeom prst="rect">
            <a:avLst/>
          </a:prstGeom>
          <a:noFill/>
          <a:ln>
            <a:noFill/>
          </a:ln>
          <a:effectLst/>
        </p:spPr>
        <p:txBody>
          <a:bodyPr lIns="0" tIns="0" rIns="0" bIns="0">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marL="514350" indent="-514350">
              <a:lnSpc>
                <a:spcPts val="3150"/>
              </a:lnSpc>
              <a:buClr>
                <a:srgbClr val="FF0000"/>
              </a:buClr>
              <a:buFont typeface="Wingdings" pitchFamily="2" charset="2"/>
              <a:buChar char="ü"/>
              <a:defRPr/>
            </a:pPr>
            <a:r>
              <a:rPr lang="pt-BR" sz="3600" i="0" dirty="0">
                <a:solidFill>
                  <a:srgbClr val="FF0000"/>
                </a:solidFill>
                <a:latin typeface="Calibri" pitchFamily="34" charset="0"/>
              </a:rPr>
              <a:t>O PMO </a:t>
            </a:r>
            <a:r>
              <a:rPr lang="pt-BR" sz="3600" i="0" dirty="0">
                <a:solidFill>
                  <a:srgbClr val="000000"/>
                </a:solidFill>
                <a:latin typeface="Calibri" pitchFamily="34" charset="0"/>
              </a:rPr>
              <a:t>deve ser o </a:t>
            </a:r>
            <a:r>
              <a:rPr lang="pt-BR" sz="3600" i="0" dirty="0">
                <a:solidFill>
                  <a:srgbClr val="FF0000"/>
                </a:solidFill>
                <a:latin typeface="Calibri" pitchFamily="34" charset="0"/>
              </a:rPr>
              <a:t>“Guardião” </a:t>
            </a:r>
            <a:r>
              <a:rPr lang="pt-BR" sz="3600" i="0" dirty="0">
                <a:solidFill>
                  <a:srgbClr val="000000"/>
                </a:solidFill>
                <a:latin typeface="Calibri" pitchFamily="34" charset="0"/>
              </a:rPr>
              <a:t>dos Processos de Gerenciamento de Portfólio e responsável pela comunicação. </a:t>
            </a:r>
          </a:p>
          <a:p>
            <a:pPr>
              <a:lnSpc>
                <a:spcPts val="3150"/>
              </a:lnSpc>
              <a:defRPr/>
            </a:pPr>
            <a:endParaRPr lang="pt-BR" dirty="0">
              <a:solidFill>
                <a:srgbClr val="000000"/>
              </a:solidFill>
            </a:endParaRPr>
          </a:p>
        </p:txBody>
      </p:sp>
      <p:pic>
        <p:nvPicPr>
          <p:cNvPr id="122889" name="Picture 11" descr="http://t3.gstatic.com/images?q=tbn:ANd9GcSR9jEcoDt9mXHwAlUX8lrAMheZEruXUBHTKjzraRYchIDrkZy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7462" y="7493274"/>
            <a:ext cx="2890838" cy="211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0" name="Imagem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90925" y="7745686"/>
            <a:ext cx="3748088"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599500189"/>
      </p:ext>
    </p:extLst>
  </p:cSld>
  <p:clrMapOvr>
    <a:masterClrMapping/>
  </p:clrMapOvr>
  <p:transition spd="slow">
    <p:strips dir="rd"/>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bwMode="auto">
          <a:xfrm>
            <a:off x="-50007" y="173833"/>
            <a:ext cx="11418095"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300" dirty="0">
                <a:solidFill>
                  <a:schemeClr val="tx1"/>
                </a:solidFill>
              </a:rPr>
              <a:t>Práticas de Gestão de Portfólio Projetos - 2017</a:t>
            </a:r>
            <a:endParaRPr lang="en-US" altLang="pt-BR" sz="3300" dirty="0">
              <a:solidFill>
                <a:schemeClr val="tx1"/>
              </a:solidFill>
            </a:endParaRPr>
          </a:p>
        </p:txBody>
      </p:sp>
      <p:pic>
        <p:nvPicPr>
          <p:cNvPr id="12390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280" y="1759124"/>
            <a:ext cx="12544921" cy="780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78821003"/>
      </p:ext>
    </p:extLst>
  </p:cSld>
  <p:clrMapOvr>
    <a:masterClrMapping/>
  </p:clrMapOvr>
  <p:transition spd="slow">
    <p:strips dir="rd"/>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ítulo 1"/>
          <p:cNvSpPr>
            <a:spLocks noGrp="1"/>
          </p:cNvSpPr>
          <p:nvPr>
            <p:ph type="title"/>
          </p:nvPr>
        </p:nvSpPr>
        <p:spPr bwMode="auto">
          <a:xfrm>
            <a:off x="21432" y="180975"/>
            <a:ext cx="7560468" cy="105965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a:solidFill>
                  <a:schemeClr val="tx1"/>
                </a:solidFill>
              </a:rPr>
              <a:t>Software de Apoio a Gestão de Portfolio  </a:t>
            </a:r>
          </a:p>
        </p:txBody>
      </p:sp>
      <p:sp>
        <p:nvSpPr>
          <p:cNvPr id="4" name="Rectangle 3"/>
          <p:cNvSpPr txBox="1">
            <a:spLocks noChangeArrowheads="1"/>
          </p:cNvSpPr>
          <p:nvPr/>
        </p:nvSpPr>
        <p:spPr>
          <a:xfrm>
            <a:off x="702470" y="1240632"/>
            <a:ext cx="9191625" cy="7198518"/>
          </a:xfrm>
          <a:prstGeom prst="rect">
            <a:avLst/>
          </a:prstGeom>
        </p:spPr>
        <p:txBody>
          <a:bodyPr lIns="136145" tIns="68058" rIns="136145" bIns="68058"/>
          <a:lstStyle>
            <a:lvl1pPr marL="342900" indent="-342900" algn="l" rtl="0" eaLnBrk="0" fontAlgn="base" hangingPunct="0">
              <a:spcBef>
                <a:spcPct val="20000"/>
              </a:spcBef>
              <a:spcAft>
                <a:spcPct val="0"/>
              </a:spcAft>
              <a:buChar char="•"/>
              <a:defRPr sz="3200">
                <a:solidFill>
                  <a:srgbClr val="404040"/>
                </a:solidFill>
                <a:latin typeface="+mn-lt"/>
                <a:ea typeface="+mn-ea"/>
                <a:cs typeface="+mn-cs"/>
              </a:defRPr>
            </a:lvl1pPr>
            <a:lvl2pPr marL="742950" indent="-285750" algn="l" rtl="0" eaLnBrk="0" fontAlgn="base" hangingPunct="0">
              <a:spcBef>
                <a:spcPct val="20000"/>
              </a:spcBef>
              <a:spcAft>
                <a:spcPct val="0"/>
              </a:spcAft>
              <a:buChar char="–"/>
              <a:defRPr sz="2800">
                <a:solidFill>
                  <a:srgbClr val="404040"/>
                </a:solidFill>
                <a:latin typeface="+mn-lt"/>
              </a:defRPr>
            </a:lvl2pPr>
            <a:lvl3pPr marL="1143000" indent="-228600" algn="l" rtl="0" eaLnBrk="0" fontAlgn="base" hangingPunct="0">
              <a:spcBef>
                <a:spcPct val="20000"/>
              </a:spcBef>
              <a:spcAft>
                <a:spcPct val="0"/>
              </a:spcAft>
              <a:buChar char="•"/>
              <a:defRPr sz="2400">
                <a:solidFill>
                  <a:srgbClr val="404040"/>
                </a:solidFill>
                <a:latin typeface="+mn-lt"/>
              </a:defRPr>
            </a:lvl3pPr>
            <a:lvl4pPr marL="1600200" indent="-228600" algn="l" rtl="0" eaLnBrk="0" fontAlgn="base" hangingPunct="0">
              <a:spcBef>
                <a:spcPct val="20000"/>
              </a:spcBef>
              <a:spcAft>
                <a:spcPct val="0"/>
              </a:spcAft>
              <a:buChar char="–"/>
              <a:defRPr sz="2000">
                <a:solidFill>
                  <a:srgbClr val="404040"/>
                </a:solidFill>
                <a:latin typeface="+mn-lt"/>
              </a:defRPr>
            </a:lvl4pPr>
            <a:lvl5pPr marL="2057400" indent="-228600" algn="l" rtl="0" eaLnBrk="0" fontAlgn="base" hangingPunct="0">
              <a:spcBef>
                <a:spcPct val="20000"/>
              </a:spcBef>
              <a:spcAft>
                <a:spcPct val="0"/>
              </a:spcAft>
              <a:buChar char="»"/>
              <a:defRPr sz="2000">
                <a:solidFill>
                  <a:srgbClr val="404040"/>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lnSpc>
                <a:spcPct val="80000"/>
              </a:lnSpc>
              <a:buFont typeface="Wingdings" panose="05000000000000000000" pitchFamily="2" charset="2"/>
              <a:buChar char="Ø"/>
              <a:defRPr/>
            </a:pPr>
            <a:r>
              <a:rPr lang="pt-BR" altLang="pt-BR" sz="3000" kern="0" dirty="0">
                <a:solidFill>
                  <a:srgbClr val="FF0000"/>
                </a:solidFill>
              </a:rPr>
              <a:t>Primavera:</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Base WEB;</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Base histórica; </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 Apontamentos de horas, comunicação e consulta aos documentos do projeto;</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Análise de risco, alertas de atrasos;</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Gerência de Documentação;</a:t>
            </a:r>
          </a:p>
          <a:p>
            <a:pPr lvl="1">
              <a:lnSpc>
                <a:spcPct val="80000"/>
              </a:lnSpc>
              <a:buClr>
                <a:srgbClr val="C00000"/>
              </a:buClr>
              <a:buFont typeface="Wingdings" panose="05000000000000000000" pitchFamily="2" charset="2"/>
              <a:buChar char="v"/>
              <a:defRPr/>
            </a:pPr>
            <a:r>
              <a:rPr lang="pt-BR" altLang="pt-BR" sz="3000" kern="0" dirty="0">
                <a:latin typeface="Calibri" panose="020F0502020204030204" pitchFamily="34" charset="0"/>
                <a:ea typeface="Calibri" panose="020F0502020204030204" pitchFamily="34" charset="0"/>
                <a:cs typeface="Calibri" panose="020F0502020204030204" pitchFamily="34" charset="0"/>
              </a:rPr>
              <a:t>Controle de uso de Recursos.</a:t>
            </a:r>
          </a:p>
          <a:p>
            <a:pPr lvl="1">
              <a:lnSpc>
                <a:spcPct val="80000"/>
              </a:lnSpc>
              <a:defRPr/>
            </a:pPr>
            <a:endParaRPr lang="pt-BR" altLang="pt-BR" sz="1500" kern="0" dirty="0"/>
          </a:p>
          <a:p>
            <a:pPr>
              <a:lnSpc>
                <a:spcPct val="80000"/>
              </a:lnSpc>
              <a:buFont typeface="Monotype Sorts" pitchFamily="2" charset="2"/>
              <a:buNone/>
              <a:defRPr/>
            </a:pPr>
            <a:endParaRPr lang="en-US" altLang="pt-BR" sz="2400" kern="0" dirty="0"/>
          </a:p>
        </p:txBody>
      </p:sp>
      <p:graphicFrame>
        <p:nvGraphicFramePr>
          <p:cNvPr id="5" name="Object 5"/>
          <p:cNvGraphicFramePr>
            <a:graphicFrameLocks noGrp="1" noChangeAspect="1"/>
          </p:cNvGraphicFramePr>
          <p:nvPr>
            <p:ph sz="quarter" idx="4294967295"/>
            <p:extLst>
              <p:ext uri="{D42A27DB-BD31-4B8C-83A1-F6EECF244321}">
                <p14:modId xmlns:p14="http://schemas.microsoft.com/office/powerpoint/2010/main" val="4272686274"/>
              </p:ext>
            </p:extLst>
          </p:nvPr>
        </p:nvGraphicFramePr>
        <p:xfrm>
          <a:off x="9629900" y="2014537"/>
          <a:ext cx="3257550" cy="1078707"/>
        </p:xfrm>
        <a:graphic>
          <a:graphicData uri="http://schemas.openxmlformats.org/presentationml/2006/ole">
            <mc:AlternateContent xmlns:mc="http://schemas.openxmlformats.org/markup-compatibility/2006">
              <mc:Choice xmlns:v="urn:schemas-microsoft-com:vml" Requires="v">
                <p:oleObj name="Foto do Photo Editor" r:id="rId3" imgW="2172003" imgH="380852" progId="MSPhotoEd.3">
                  <p:embed/>
                </p:oleObj>
              </mc:Choice>
              <mc:Fallback>
                <p:oleObj name="Foto do Photo Editor" r:id="rId3" imgW="2172003" imgH="380852"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29900" y="2014537"/>
                        <a:ext cx="3257550" cy="10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 name="Object 4"/>
          <p:cNvGraphicFramePr>
            <a:graphicFrameLocks noChangeAspect="1"/>
          </p:cNvGraphicFramePr>
          <p:nvPr>
            <p:extLst>
              <p:ext uri="{D42A27DB-BD31-4B8C-83A1-F6EECF244321}">
                <p14:modId xmlns:p14="http://schemas.microsoft.com/office/powerpoint/2010/main" val="878743526"/>
              </p:ext>
            </p:extLst>
          </p:nvPr>
        </p:nvGraphicFramePr>
        <p:xfrm>
          <a:off x="9800159" y="6746082"/>
          <a:ext cx="2917031" cy="862013"/>
        </p:xfrm>
        <a:graphic>
          <a:graphicData uri="http://schemas.openxmlformats.org/presentationml/2006/ole">
            <mc:AlternateContent xmlns:mc="http://schemas.openxmlformats.org/markup-compatibility/2006">
              <mc:Choice xmlns:v="urn:schemas-microsoft-com:vml" Requires="v">
                <p:oleObj name="Foto do Photo Editor" r:id="rId5" imgW="1314286" imgH="380852" progId="MSPhotoEd.3">
                  <p:embed/>
                </p:oleObj>
              </mc:Choice>
              <mc:Fallback>
                <p:oleObj name="Foto do Photo Editor" r:id="rId5" imgW="1314286" imgH="380852" progId="MSPhotoEd.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0159" y="6746082"/>
                        <a:ext cx="2917031"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5"/>
          <p:cNvSpPr txBox="1">
            <a:spLocks noChangeArrowheads="1"/>
          </p:cNvSpPr>
          <p:nvPr/>
        </p:nvSpPr>
        <p:spPr bwMode="auto">
          <a:xfrm>
            <a:off x="1033463" y="4945857"/>
            <a:ext cx="9282113" cy="3600450"/>
          </a:xfrm>
          <a:prstGeom prst="rect">
            <a:avLst/>
          </a:prstGeom>
          <a:noFill/>
          <a:ln>
            <a:noFill/>
          </a:ln>
        </p:spPr>
        <p:txBody>
          <a:bodyPr lIns="136145" tIns="68058" rIns="136145" bIns="68058"/>
          <a:lstStyle>
            <a:lvl1pPr marL="282575" indent="-282575">
              <a:defRPr sz="3200">
                <a:solidFill>
                  <a:schemeClr val="tx1"/>
                </a:solidFill>
                <a:latin typeface="Times New Roman" pitchFamily="18" charset="0"/>
              </a:defRPr>
            </a:lvl1pPr>
            <a:lvl2pPr marL="679450" indent="-225425">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a:defRPr sz="2000">
                <a:solidFill>
                  <a:schemeClr val="tx1"/>
                </a:solidFill>
                <a:latin typeface="Times New Roman" pitchFamily="18" charset="0"/>
              </a:defRPr>
            </a:lvl6pPr>
            <a:lvl7pPr>
              <a:defRPr sz="2000">
                <a:solidFill>
                  <a:schemeClr val="tx1"/>
                </a:solidFill>
                <a:latin typeface="Times New Roman" pitchFamily="18" charset="0"/>
              </a:defRPr>
            </a:lvl7pPr>
            <a:lvl8pPr>
              <a:defRPr sz="2000">
                <a:solidFill>
                  <a:schemeClr val="tx1"/>
                </a:solidFill>
                <a:latin typeface="Times New Roman" pitchFamily="18" charset="0"/>
              </a:defRPr>
            </a:lvl8pPr>
            <a:lvl9pPr>
              <a:defRPr sz="2000">
                <a:solidFill>
                  <a:schemeClr val="tx1"/>
                </a:solidFill>
                <a:latin typeface="Times New Roman" pitchFamily="18" charset="0"/>
              </a:defRPr>
            </a:lvl9pPr>
          </a:lstStyle>
          <a:p>
            <a:pPr>
              <a:lnSpc>
                <a:spcPct val="80000"/>
              </a:lnSpc>
              <a:spcAft>
                <a:spcPct val="35000"/>
              </a:spcAft>
              <a:buClr>
                <a:schemeClr val="tx1"/>
              </a:buClr>
              <a:buSzPct val="75000"/>
              <a:buFont typeface="Wingdings" pitchFamily="2" charset="2"/>
              <a:buChar char="Ø"/>
              <a:defRPr/>
            </a:pPr>
            <a:r>
              <a:rPr lang="pt-BR" sz="3000" dirty="0">
                <a:solidFill>
                  <a:srgbClr val="FF0000"/>
                </a:solidFill>
              </a:rPr>
              <a:t>Microsoft Project Server 2010/2013: </a:t>
            </a:r>
          </a:p>
          <a:p>
            <a:pPr lvl="1">
              <a:lnSpc>
                <a:spcPct val="80000"/>
              </a:lnSpc>
              <a:spcAft>
                <a:spcPct val="30000"/>
              </a:spcAft>
              <a:buClr>
                <a:srgbClr val="800000"/>
              </a:buClr>
              <a:buFont typeface="Wingdings" pitchFamily="2" charset="2"/>
              <a:buChar char="v"/>
              <a:defRPr/>
            </a:pPr>
            <a:r>
              <a:rPr lang="pt-BR" sz="3000" dirty="0">
                <a:latin typeface="Calibri" pitchFamily="34" charset="0"/>
                <a:cs typeface="Calibri" pitchFamily="34" charset="0"/>
              </a:rPr>
              <a:t>Desktops e notebooks em rede; </a:t>
            </a:r>
          </a:p>
          <a:p>
            <a:pPr lvl="1">
              <a:lnSpc>
                <a:spcPct val="80000"/>
              </a:lnSpc>
              <a:spcAft>
                <a:spcPct val="30000"/>
              </a:spcAft>
              <a:buClr>
                <a:srgbClr val="800000"/>
              </a:buClr>
              <a:buFont typeface="Wingdings" pitchFamily="2" charset="2"/>
              <a:buChar char="v"/>
              <a:defRPr/>
            </a:pPr>
            <a:r>
              <a:rPr lang="pt-BR" sz="3000" dirty="0">
                <a:latin typeface="Calibri" pitchFamily="34" charset="0"/>
                <a:cs typeface="Calibri" pitchFamily="34" charset="0"/>
              </a:rPr>
              <a:t>Ênfase no processo de controle de diversos projetos e controle de recursos; </a:t>
            </a:r>
          </a:p>
          <a:p>
            <a:pPr lvl="1">
              <a:lnSpc>
                <a:spcPct val="80000"/>
              </a:lnSpc>
              <a:spcAft>
                <a:spcPct val="30000"/>
              </a:spcAft>
              <a:buClr>
                <a:srgbClr val="800000"/>
              </a:buClr>
              <a:buFont typeface="Wingdings" pitchFamily="2" charset="2"/>
              <a:buChar char="v"/>
              <a:defRPr/>
            </a:pPr>
            <a:r>
              <a:rPr lang="pt-BR" sz="3000" dirty="0">
                <a:latin typeface="Calibri" pitchFamily="34" charset="0"/>
                <a:cs typeface="Calibri" pitchFamily="34" charset="0"/>
              </a:rPr>
              <a:t>Ênfase no processo de seleção, avaliação e priorização de projetos;</a:t>
            </a:r>
          </a:p>
          <a:p>
            <a:pPr lvl="1">
              <a:lnSpc>
                <a:spcPct val="80000"/>
              </a:lnSpc>
              <a:spcAft>
                <a:spcPct val="30000"/>
              </a:spcAft>
              <a:buClr>
                <a:srgbClr val="800000"/>
              </a:buClr>
              <a:buFont typeface="Wingdings" pitchFamily="2" charset="2"/>
              <a:buChar char="v"/>
              <a:defRPr/>
            </a:pPr>
            <a:r>
              <a:rPr lang="pt-BR" sz="3000" dirty="0">
                <a:latin typeface="Calibri" pitchFamily="34" charset="0"/>
                <a:cs typeface="Calibri" pitchFamily="34" charset="0"/>
              </a:rPr>
              <a:t> Controle do Portfólio dos projetos da empresa;</a:t>
            </a:r>
          </a:p>
          <a:p>
            <a:pPr lvl="1">
              <a:lnSpc>
                <a:spcPct val="80000"/>
              </a:lnSpc>
              <a:spcAft>
                <a:spcPct val="30000"/>
              </a:spcAft>
              <a:buClr>
                <a:srgbClr val="800000"/>
              </a:buClr>
              <a:buFont typeface="Wingdings" pitchFamily="2" charset="2"/>
              <a:buChar char="v"/>
              <a:defRPr/>
            </a:pPr>
            <a:r>
              <a:rPr lang="pt-BR" sz="3000" dirty="0">
                <a:latin typeface="Calibri" pitchFamily="34" charset="0"/>
                <a:cs typeface="Calibri" pitchFamily="34" charset="0"/>
              </a:rPr>
              <a:t>Possibilidade de relatório via interface WEB.</a:t>
            </a:r>
          </a:p>
          <a:p>
            <a:pPr marL="514350" indent="-514350">
              <a:lnSpc>
                <a:spcPct val="80000"/>
              </a:lnSpc>
              <a:spcAft>
                <a:spcPct val="30000"/>
              </a:spcAft>
              <a:buClr>
                <a:srgbClr val="800000"/>
              </a:buClr>
              <a:buFont typeface="Wingdings" pitchFamily="2" charset="2"/>
              <a:buChar char="Ø"/>
              <a:defRPr/>
            </a:pPr>
            <a:endParaRPr lang="pt-BR" sz="1200" dirty="0">
              <a:solidFill>
                <a:srgbClr val="FF0000"/>
              </a:solidFill>
            </a:endParaRPr>
          </a:p>
          <a:p>
            <a:pPr marL="514350" indent="-514350">
              <a:lnSpc>
                <a:spcPct val="80000"/>
              </a:lnSpc>
              <a:spcAft>
                <a:spcPct val="30000"/>
              </a:spcAft>
              <a:buClr>
                <a:srgbClr val="800000"/>
              </a:buClr>
              <a:buFont typeface="Wingdings" pitchFamily="2" charset="2"/>
              <a:buChar char="Ø"/>
              <a:defRPr/>
            </a:pPr>
            <a:r>
              <a:rPr lang="pt-BR" sz="3000" dirty="0">
                <a:solidFill>
                  <a:srgbClr val="FF0000"/>
                </a:solidFill>
              </a:rPr>
              <a:t>Project </a:t>
            </a:r>
            <a:r>
              <a:rPr lang="pt-BR" sz="3000" dirty="0" err="1">
                <a:solidFill>
                  <a:srgbClr val="FF0000"/>
                </a:solidFill>
              </a:rPr>
              <a:t>Builder</a:t>
            </a:r>
            <a:r>
              <a:rPr lang="pt-BR" sz="3000" dirty="0">
                <a:solidFill>
                  <a:srgbClr val="FF0000"/>
                </a:solidFill>
              </a:rPr>
              <a:t> (Software nacional)</a:t>
            </a:r>
          </a:p>
          <a:p>
            <a:pPr marL="1109663" lvl="1" indent="-514350">
              <a:lnSpc>
                <a:spcPct val="80000"/>
              </a:lnSpc>
              <a:spcAft>
                <a:spcPct val="30000"/>
              </a:spcAft>
              <a:buClr>
                <a:srgbClr val="800000"/>
              </a:buClr>
              <a:buFont typeface="Wingdings" pitchFamily="2" charset="2"/>
              <a:buChar char="v"/>
              <a:defRPr/>
            </a:pPr>
            <a:r>
              <a:rPr lang="pt-BR" sz="2400" dirty="0">
                <a:latin typeface="Calibri" pitchFamily="34" charset="0"/>
                <a:cs typeface="Calibri" pitchFamily="34" charset="0"/>
              </a:rPr>
              <a:t>www.projectbuilder.com.br</a:t>
            </a:r>
          </a:p>
          <a:p>
            <a:pPr>
              <a:lnSpc>
                <a:spcPct val="80000"/>
              </a:lnSpc>
              <a:spcAft>
                <a:spcPct val="35000"/>
              </a:spcAft>
              <a:buClr>
                <a:schemeClr val="hlink"/>
              </a:buClr>
              <a:buSzPct val="75000"/>
              <a:buFont typeface="Monotype Sorts" pitchFamily="2" charset="2"/>
              <a:buNone/>
              <a:defRPr/>
            </a:pPr>
            <a:endParaRPr lang="en-US" sz="3000" dirty="0">
              <a:solidFill>
                <a:schemeClr val="bg2"/>
              </a:solidFill>
            </a:endParaRPr>
          </a:p>
        </p:txBody>
      </p:sp>
      <p:pic>
        <p:nvPicPr>
          <p:cNvPr id="12493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74224" y="8841580"/>
            <a:ext cx="2586038"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563768676"/>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 calcmode="lin" valueType="num">
                                      <p:cBhvr additive="base">
                                        <p:cTn id="11"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 calcmode="lin" valueType="num">
                                      <p:cBhvr additive="base">
                                        <p:cTn id="15"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 calcmode="lin" valueType="num">
                                      <p:cBhvr additive="base">
                                        <p:cTn id="23"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 calcmode="lin" valueType="num">
                                      <p:cBhvr additive="base">
                                        <p:cTn id="2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4">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 calcmode="lin" valueType="num">
                                      <p:cBhvr additive="base">
                                        <p:cTn id="31"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additive="base">
                                        <p:cTn id="37" dur="500" fill="hold"/>
                                        <p:tgtEl>
                                          <p:spTgt spid="5"/>
                                        </p:tgtEl>
                                        <p:attrNameLst>
                                          <p:attrName>ppt_x</p:attrName>
                                        </p:attrNameLst>
                                      </p:cBhvr>
                                      <p:tavLst>
                                        <p:tav tm="0">
                                          <p:val>
                                            <p:strVal val="#ppt_x"/>
                                          </p:val>
                                        </p:tav>
                                        <p:tav tm="100000">
                                          <p:val>
                                            <p:strVal val="#ppt_x"/>
                                          </p:val>
                                        </p:tav>
                                      </p:tavLst>
                                    </p:anim>
                                    <p:anim calcmode="lin" valueType="num">
                                      <p:cBhvr additive="base">
                                        <p:cTn id="3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7">
                                            <p:txEl>
                                              <p:pRg st="0" end="0"/>
                                            </p:txEl>
                                          </p:spTgt>
                                        </p:tgtEl>
                                        <p:attrNameLst>
                                          <p:attrName>style.visibility</p:attrName>
                                        </p:attrNameLst>
                                      </p:cBhvr>
                                      <p:to>
                                        <p:strVal val="visible"/>
                                      </p:to>
                                    </p:set>
                                    <p:anim calcmode="lin" valueType="num">
                                      <p:cBhvr additive="base">
                                        <p:cTn id="43"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7">
                                            <p:txEl>
                                              <p:pRg st="0" end="0"/>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7">
                                            <p:txEl>
                                              <p:pRg st="1" end="1"/>
                                            </p:txEl>
                                          </p:spTgt>
                                        </p:tgtEl>
                                        <p:attrNameLst>
                                          <p:attrName>style.visibility</p:attrName>
                                        </p:attrNameLst>
                                      </p:cBhvr>
                                      <p:to>
                                        <p:strVal val="visible"/>
                                      </p:to>
                                    </p:set>
                                    <p:anim calcmode="lin" valueType="num">
                                      <p:cBhvr additive="base">
                                        <p:cTn id="47"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7">
                                            <p:txEl>
                                              <p:pRg st="1" end="1"/>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7">
                                            <p:txEl>
                                              <p:pRg st="2" end="2"/>
                                            </p:txEl>
                                          </p:spTgt>
                                        </p:tgtEl>
                                        <p:attrNameLst>
                                          <p:attrName>style.visibility</p:attrName>
                                        </p:attrNameLst>
                                      </p:cBhvr>
                                      <p:to>
                                        <p:strVal val="visible"/>
                                      </p:to>
                                    </p:set>
                                    <p:anim calcmode="lin" valueType="num">
                                      <p:cBhvr additive="base">
                                        <p:cTn id="51"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7">
                                            <p:txEl>
                                              <p:pRg st="2" end="2"/>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xEl>
                                              <p:pRg st="3" end="3"/>
                                            </p:txEl>
                                          </p:spTgt>
                                        </p:tgtEl>
                                        <p:attrNameLst>
                                          <p:attrName>style.visibility</p:attrName>
                                        </p:attrNameLst>
                                      </p:cBhvr>
                                      <p:to>
                                        <p:strVal val="visible"/>
                                      </p:to>
                                    </p:set>
                                    <p:anim calcmode="lin" valueType="num">
                                      <p:cBhvr additive="base">
                                        <p:cTn id="55"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7">
                                            <p:txEl>
                                              <p:pRg st="3" end="3"/>
                                            </p:txEl>
                                          </p:spTgt>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7">
                                            <p:txEl>
                                              <p:pRg st="4" end="4"/>
                                            </p:txEl>
                                          </p:spTgt>
                                        </p:tgtEl>
                                        <p:attrNameLst>
                                          <p:attrName>style.visibility</p:attrName>
                                        </p:attrNameLst>
                                      </p:cBhvr>
                                      <p:to>
                                        <p:strVal val="visible"/>
                                      </p:to>
                                    </p:set>
                                    <p:anim calcmode="lin" valueType="num">
                                      <p:cBhvr additive="base">
                                        <p:cTn id="59"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7">
                                            <p:txEl>
                                              <p:pRg st="4" end="4"/>
                                            </p:txEl>
                                          </p:spTgt>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7">
                                            <p:txEl>
                                              <p:pRg st="5" end="5"/>
                                            </p:txEl>
                                          </p:spTgt>
                                        </p:tgtEl>
                                        <p:attrNameLst>
                                          <p:attrName>style.visibility</p:attrName>
                                        </p:attrNameLst>
                                      </p:cBhvr>
                                      <p:to>
                                        <p:strVal val="visible"/>
                                      </p:to>
                                    </p:set>
                                    <p:anim calcmode="lin" valueType="num">
                                      <p:cBhvr additive="base">
                                        <p:cTn id="63"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7">
                                            <p:txEl>
                                              <p:pRg st="5" end="5"/>
                                            </p:txEl>
                                          </p:spTgt>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7">
                                            <p:txEl>
                                              <p:pRg st="7" end="7"/>
                                            </p:txEl>
                                          </p:spTgt>
                                        </p:tgtEl>
                                        <p:attrNameLst>
                                          <p:attrName>style.visibility</p:attrName>
                                        </p:attrNameLst>
                                      </p:cBhvr>
                                      <p:to>
                                        <p:strVal val="visible"/>
                                      </p:to>
                                    </p:set>
                                    <p:anim calcmode="lin" valueType="num">
                                      <p:cBhvr additive="base">
                                        <p:cTn id="67"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7">
                                            <p:txEl>
                                              <p:pRg st="7" end="7"/>
                                            </p:txEl>
                                          </p:spTgt>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7">
                                            <p:txEl>
                                              <p:pRg st="8" end="8"/>
                                            </p:txEl>
                                          </p:spTgt>
                                        </p:tgtEl>
                                        <p:attrNameLst>
                                          <p:attrName>style.visibility</p:attrName>
                                        </p:attrNameLst>
                                      </p:cBhvr>
                                      <p:to>
                                        <p:strVal val="visible"/>
                                      </p:to>
                                    </p:set>
                                    <p:anim calcmode="lin" valueType="num">
                                      <p:cBhvr additive="base">
                                        <p:cTn id="71" dur="500" fill="hold"/>
                                        <p:tgtEl>
                                          <p:spTgt spid="7">
                                            <p:txEl>
                                              <p:pRg st="8" end="8"/>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7">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73" fill="hold" nodeType="clickPar">
                      <p:stCondLst>
                        <p:cond delay="indefinite"/>
                      </p:stCondLst>
                      <p:childTnLst>
                        <p:par>
                          <p:cTn id="74" fill="hold" nodeType="withGroup">
                            <p:stCondLst>
                              <p:cond delay="0"/>
                            </p:stCondLst>
                            <p:childTnLst>
                              <p:par>
                                <p:cTn id="75" presetID="2" presetClass="entr" presetSubtype="4" fill="hold" nodeType="clickEffect">
                                  <p:stCondLst>
                                    <p:cond delay="0"/>
                                  </p:stCondLst>
                                  <p:childTnLst>
                                    <p:set>
                                      <p:cBhvr>
                                        <p:cTn id="76" dur="1" fill="hold">
                                          <p:stCondLst>
                                            <p:cond delay="0"/>
                                          </p:stCondLst>
                                        </p:cTn>
                                        <p:tgtEl>
                                          <p:spTgt spid="6"/>
                                        </p:tgtEl>
                                        <p:attrNameLst>
                                          <p:attrName>style.visibility</p:attrName>
                                        </p:attrNameLst>
                                      </p:cBhvr>
                                      <p:to>
                                        <p:strVal val="visible"/>
                                      </p:to>
                                    </p:set>
                                    <p:anim calcmode="lin" valueType="num">
                                      <p:cBhvr additive="base">
                                        <p:cTn id="77" dur="500" fill="hold"/>
                                        <p:tgtEl>
                                          <p:spTgt spid="6"/>
                                        </p:tgtEl>
                                        <p:attrNameLst>
                                          <p:attrName>ppt_x</p:attrName>
                                        </p:attrNameLst>
                                      </p:cBhvr>
                                      <p:tavLst>
                                        <p:tav tm="0">
                                          <p:val>
                                            <p:strVal val="#ppt_x"/>
                                          </p:val>
                                        </p:tav>
                                        <p:tav tm="100000">
                                          <p:val>
                                            <p:strVal val="#ppt_x"/>
                                          </p:val>
                                        </p:tav>
                                      </p:tavLst>
                                    </p:anim>
                                    <p:anim calcmode="lin" valueType="num">
                                      <p:cBhvr additive="base">
                                        <p:cTn id="7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ChangeArrowheads="1"/>
          </p:cNvSpPr>
          <p:nvPr>
            <p:ph type="title"/>
          </p:nvPr>
        </p:nvSpPr>
        <p:spPr bwMode="auto">
          <a:xfrm>
            <a:off x="195212" y="247700"/>
            <a:ext cx="12344400" cy="519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a:t>Encerramento</a:t>
            </a:r>
          </a:p>
        </p:txBody>
      </p:sp>
      <p:sp>
        <p:nvSpPr>
          <p:cNvPr id="125955" name="Rectangle 3"/>
          <p:cNvSpPr>
            <a:spLocks noGrp="1" noChangeArrowheads="1"/>
          </p:cNvSpPr>
          <p:nvPr>
            <p:ph type="body" idx="4294967295"/>
          </p:nvPr>
        </p:nvSpPr>
        <p:spPr>
          <a:xfrm>
            <a:off x="195212" y="2364631"/>
            <a:ext cx="12344400" cy="6788945"/>
          </a:xfrm>
          <a:prstGeom prst="rect">
            <a:avLst/>
          </a:prstGeom>
        </p:spPr>
        <p:txBody>
          <a:bodyPr/>
          <a:lstStyle/>
          <a:p>
            <a:pPr>
              <a:buFont typeface="Monotype Sorts" pitchFamily="2" charset="2"/>
              <a:buNone/>
            </a:pPr>
            <a:r>
              <a:rPr lang="pt-BR" altLang="pt-BR"/>
              <a:t>Obrigado!!!!!!</a:t>
            </a:r>
          </a:p>
          <a:p>
            <a:pPr>
              <a:buFont typeface="Monotype Sorts" pitchFamily="2" charset="2"/>
              <a:buNone/>
            </a:pPr>
            <a:r>
              <a:rPr lang="pt-BR" altLang="pt-BR"/>
              <a:t>rpallesi@fgvmail.br </a:t>
            </a:r>
            <a:r>
              <a:rPr lang="pt-BR" altLang="pt-BR">
                <a:solidFill>
                  <a:srgbClr val="FF0000"/>
                </a:solidFill>
              </a:rPr>
              <a:t> </a:t>
            </a:r>
            <a:r>
              <a:rPr lang="pt-BR" altLang="pt-BR"/>
              <a:t>ou rpallesi@gmail.com </a:t>
            </a:r>
          </a:p>
          <a:p>
            <a:pPr>
              <a:buFont typeface="Monotype Sorts" pitchFamily="2" charset="2"/>
              <a:buNone/>
            </a:pPr>
            <a:r>
              <a:rPr lang="pt-BR" altLang="pt-BR"/>
              <a:t>(11)99657-5236</a:t>
            </a:r>
          </a:p>
        </p:txBody>
      </p:sp>
      <p:sp>
        <p:nvSpPr>
          <p:cNvPr id="125956" name="Rectangle 4"/>
          <p:cNvSpPr>
            <a:spLocks noChangeArrowheads="1"/>
          </p:cNvSpPr>
          <p:nvPr/>
        </p:nvSpPr>
        <p:spPr bwMode="auto">
          <a:xfrm>
            <a:off x="17512" y="3991372"/>
            <a:ext cx="13485018"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90" tIns="68538" rIns="137090" bIns="6853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6000" dirty="0">
                <a:solidFill>
                  <a:schemeClr val="tx1"/>
                </a:solidFill>
                <a:latin typeface="Britannic Bold" panose="020B0903060703020204" pitchFamily="34" charset="0"/>
              </a:rPr>
              <a:t>Diga-me, e eu esquecerei.</a:t>
            </a:r>
            <a:br>
              <a:rPr lang="pt-BR" altLang="pt-BR" sz="6000" dirty="0">
                <a:solidFill>
                  <a:schemeClr val="tx1"/>
                </a:solidFill>
                <a:latin typeface="Britannic Bold" panose="020B0903060703020204" pitchFamily="34" charset="0"/>
              </a:rPr>
            </a:br>
            <a:r>
              <a:rPr lang="pt-BR" altLang="pt-BR" sz="6000" dirty="0">
                <a:solidFill>
                  <a:schemeClr val="tx1"/>
                </a:solidFill>
                <a:latin typeface="Britannic Bold" panose="020B0903060703020204" pitchFamily="34" charset="0"/>
              </a:rPr>
              <a:t>Mostre-me, e eu lembrarei.</a:t>
            </a:r>
            <a:br>
              <a:rPr lang="pt-BR" altLang="pt-BR" sz="6000" dirty="0">
                <a:solidFill>
                  <a:schemeClr val="tx1"/>
                </a:solidFill>
                <a:latin typeface="Britannic Bold" panose="020B0903060703020204" pitchFamily="34" charset="0"/>
              </a:rPr>
            </a:br>
            <a:r>
              <a:rPr lang="pt-BR" altLang="pt-BR" sz="6000" dirty="0">
                <a:solidFill>
                  <a:schemeClr val="tx1"/>
                </a:solidFill>
                <a:latin typeface="Britannic Bold" panose="020B0903060703020204" pitchFamily="34" charset="0"/>
              </a:rPr>
              <a:t>Envolva-me, e eu entenderei!</a:t>
            </a:r>
          </a:p>
        </p:txBody>
      </p:sp>
      <p:sp>
        <p:nvSpPr>
          <p:cNvPr id="125957" name="Rectangle 5"/>
          <p:cNvSpPr>
            <a:spLocks noChangeArrowheads="1"/>
          </p:cNvSpPr>
          <p:nvPr/>
        </p:nvSpPr>
        <p:spPr bwMode="auto">
          <a:xfrm>
            <a:off x="4260007" y="8239175"/>
            <a:ext cx="7532049" cy="877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90" tIns="68538" rIns="137090" bIns="6853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4800">
                <a:solidFill>
                  <a:srgbClr val="FF0000"/>
                </a:solidFill>
                <a:latin typeface="Britannic Bold" panose="020B0903060703020204" pitchFamily="34" charset="0"/>
              </a:rPr>
              <a:t>Confúcio (551 - 479 A . C)</a:t>
            </a:r>
          </a:p>
        </p:txBody>
      </p:sp>
      <p:pic>
        <p:nvPicPr>
          <p:cNvPr id="125958" name="Picture 8" descr="http://t0.gstatic.com/images?q=tbn:ANd9GcRmRf2s_MhFMu80kpyF1IoPafgcqsVxiVkrY3QWq0QDNSWfl2p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8400" y="1543100"/>
            <a:ext cx="2674145"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510028444"/>
      </p:ext>
    </p:extLst>
  </p:cSld>
  <p:clrMapOvr>
    <a:masterClrMapping/>
  </p:clrMapOvr>
  <p:transition spd="slow">
    <p:strips dir="rd"/>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ChangeArrowheads="1"/>
          </p:cNvSpPr>
          <p:nvPr>
            <p:ph type="title"/>
          </p:nvPr>
        </p:nvSpPr>
        <p:spPr bwMode="auto">
          <a:xfrm>
            <a:off x="1092" y="967036"/>
            <a:ext cx="11287125" cy="11531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lgn="ctr">
              <a:spcBef>
                <a:spcPct val="50000"/>
              </a:spcBef>
            </a:pPr>
            <a:r>
              <a:rPr lang="pt-BR" altLang="pt-BR" sz="3600" dirty="0">
                <a:solidFill>
                  <a:schemeClr val="tx1"/>
                </a:solidFill>
              </a:rPr>
              <a:t>Escritório de Projetos por Unidade de Negócios</a:t>
            </a:r>
            <a:br>
              <a:rPr lang="pt-BR" altLang="pt-BR" dirty="0">
                <a:solidFill>
                  <a:schemeClr val="tx1"/>
                </a:solidFill>
              </a:rPr>
            </a:br>
            <a:endParaRPr lang="pt-BR" altLang="pt-BR" dirty="0">
              <a:solidFill>
                <a:schemeClr val="tx1"/>
              </a:solidFill>
            </a:endParaRPr>
          </a:p>
        </p:txBody>
      </p:sp>
      <p:grpSp>
        <p:nvGrpSpPr>
          <p:cNvPr id="6" name="Agrupar 5">
            <a:extLst>
              <a:ext uri="{FF2B5EF4-FFF2-40B4-BE49-F238E27FC236}">
                <a16:creationId xmlns:a16="http://schemas.microsoft.com/office/drawing/2014/main" id="{74EF6E77-1F58-4391-82FB-35050432BC66}"/>
              </a:ext>
            </a:extLst>
          </p:cNvPr>
          <p:cNvGrpSpPr/>
          <p:nvPr/>
        </p:nvGrpSpPr>
        <p:grpSpPr>
          <a:xfrm>
            <a:off x="161256" y="523266"/>
            <a:ext cx="12817424" cy="9411261"/>
            <a:chOff x="161256" y="523266"/>
            <a:chExt cx="12817424" cy="9411261"/>
          </a:xfrm>
        </p:grpSpPr>
        <p:grpSp>
          <p:nvGrpSpPr>
            <p:cNvPr id="4" name="Agrupar 3">
              <a:extLst>
                <a:ext uri="{FF2B5EF4-FFF2-40B4-BE49-F238E27FC236}">
                  <a16:creationId xmlns:a16="http://schemas.microsoft.com/office/drawing/2014/main" id="{60FFE9AD-DF3D-4232-84A7-223AB24844C7}"/>
                </a:ext>
              </a:extLst>
            </p:cNvPr>
            <p:cNvGrpSpPr/>
            <p:nvPr/>
          </p:nvGrpSpPr>
          <p:grpSpPr>
            <a:xfrm>
              <a:off x="161256" y="2263180"/>
              <a:ext cx="12817424" cy="7671347"/>
              <a:chOff x="161256" y="2263180"/>
              <a:chExt cx="12817424" cy="7671347"/>
            </a:xfrm>
          </p:grpSpPr>
          <p:sp>
            <p:nvSpPr>
              <p:cNvPr id="2" name="Retângulo 1">
                <a:extLst>
                  <a:ext uri="{FF2B5EF4-FFF2-40B4-BE49-F238E27FC236}">
                    <a16:creationId xmlns:a16="http://schemas.microsoft.com/office/drawing/2014/main" id="{E4DC1BB4-37A1-417A-9F98-57D9C8858F1C}"/>
                  </a:ext>
                </a:extLst>
              </p:cNvPr>
              <p:cNvSpPr/>
              <p:nvPr/>
            </p:nvSpPr>
            <p:spPr>
              <a:xfrm>
                <a:off x="12815368" y="2263180"/>
                <a:ext cx="163311" cy="2448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3" name="Agrupar 2">
                <a:extLst>
                  <a:ext uri="{FF2B5EF4-FFF2-40B4-BE49-F238E27FC236}">
                    <a16:creationId xmlns:a16="http://schemas.microsoft.com/office/drawing/2014/main" id="{E0D40883-9B81-4A01-AE90-EC8ECD6FC4B6}"/>
                  </a:ext>
                </a:extLst>
              </p:cNvPr>
              <p:cNvGrpSpPr/>
              <p:nvPr/>
            </p:nvGrpSpPr>
            <p:grpSpPr>
              <a:xfrm>
                <a:off x="161256" y="2479204"/>
                <a:ext cx="12817424" cy="7455323"/>
                <a:chOff x="161256" y="2479204"/>
                <a:chExt cx="12817424" cy="7455323"/>
              </a:xfrm>
            </p:grpSpPr>
            <p:pic>
              <p:nvPicPr>
                <p:cNvPr id="20482" name="Imagem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256" y="2479204"/>
                  <a:ext cx="12654113" cy="745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ângulo 4">
                  <a:extLst>
                    <a:ext uri="{FF2B5EF4-FFF2-40B4-BE49-F238E27FC236}">
                      <a16:creationId xmlns:a16="http://schemas.microsoft.com/office/drawing/2014/main" id="{B55F8B94-326C-4561-A7C2-B2CD89D09BD1}"/>
                    </a:ext>
                  </a:extLst>
                </p:cNvPr>
                <p:cNvSpPr/>
                <p:nvPr/>
              </p:nvSpPr>
              <p:spPr>
                <a:xfrm>
                  <a:off x="12717005" y="6022653"/>
                  <a:ext cx="261675" cy="3911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sp>
          <p:nvSpPr>
            <p:cNvPr id="8" name="Retângulo 7">
              <a:extLst>
                <a:ext uri="{FF2B5EF4-FFF2-40B4-BE49-F238E27FC236}">
                  <a16:creationId xmlns:a16="http://schemas.microsoft.com/office/drawing/2014/main" id="{D7FDB57F-8D04-4812-B735-B724E459223D}"/>
                </a:ext>
              </a:extLst>
            </p:cNvPr>
            <p:cNvSpPr/>
            <p:nvPr/>
          </p:nvSpPr>
          <p:spPr>
            <a:xfrm>
              <a:off x="12684529" y="523266"/>
              <a:ext cx="261675" cy="41881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custDataLst>
      <p:tags r:id="rId1"/>
    </p:custDataLst>
    <p:extLst>
      <p:ext uri="{BB962C8B-B14F-4D97-AF65-F5344CB8AC3E}">
        <p14:creationId xmlns:p14="http://schemas.microsoft.com/office/powerpoint/2010/main" val="749502990"/>
      </p:ext>
    </p:extLst>
  </p:cSld>
  <p:clrMapOvr>
    <a:masterClrMapping/>
  </p:clrMapOvr>
  <p:transition>
    <p:strips dir="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226220" y="390525"/>
            <a:ext cx="11420475" cy="691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spcBef>
                <a:spcPct val="50000"/>
              </a:spcBef>
            </a:pPr>
            <a:r>
              <a:rPr lang="pt-BR" altLang="pt-BR" sz="3600">
                <a:solidFill>
                  <a:schemeClr val="tx1"/>
                </a:solidFill>
                <a:latin typeface="Calibri" panose="020F0502020204030204" pitchFamily="34" charset="0"/>
              </a:rPr>
              <a:t> Escritório de Projetos Corporativo</a:t>
            </a:r>
          </a:p>
        </p:txBody>
      </p:sp>
      <p:sp>
        <p:nvSpPr>
          <p:cNvPr id="531" name="Rectangle 3"/>
          <p:cNvSpPr txBox="1">
            <a:spLocks noChangeArrowheads="1"/>
          </p:cNvSpPr>
          <p:nvPr/>
        </p:nvSpPr>
        <p:spPr>
          <a:xfrm>
            <a:off x="28575" y="1564482"/>
            <a:ext cx="13716000" cy="7467600"/>
          </a:xfrm>
          <a:prstGeom prst="rect">
            <a:avLst/>
          </a:prstGeom>
        </p:spPr>
        <p:txBody>
          <a:bodyPr lIns="136145" tIns="68058" rIns="136145" bIns="68058"/>
          <a:lstStyle>
            <a:lvl1pPr marL="342900" indent="-342900" algn="l" rtl="0" eaLnBrk="0" fontAlgn="base" hangingPunct="0">
              <a:spcBef>
                <a:spcPct val="20000"/>
              </a:spcBef>
              <a:spcAft>
                <a:spcPct val="0"/>
              </a:spcAft>
              <a:buChar char="•"/>
              <a:defRPr sz="3200">
                <a:solidFill>
                  <a:srgbClr val="404040"/>
                </a:solidFill>
                <a:latin typeface="+mn-lt"/>
                <a:ea typeface="+mn-ea"/>
                <a:cs typeface="+mn-cs"/>
              </a:defRPr>
            </a:lvl1pPr>
            <a:lvl2pPr marL="742950" indent="-285750" algn="l" rtl="0" eaLnBrk="0" fontAlgn="base" hangingPunct="0">
              <a:spcBef>
                <a:spcPct val="20000"/>
              </a:spcBef>
              <a:spcAft>
                <a:spcPct val="0"/>
              </a:spcAft>
              <a:buChar char="–"/>
              <a:defRPr sz="2800">
                <a:solidFill>
                  <a:srgbClr val="404040"/>
                </a:solidFill>
                <a:latin typeface="+mn-lt"/>
              </a:defRPr>
            </a:lvl2pPr>
            <a:lvl3pPr marL="1143000" indent="-228600" algn="l" rtl="0" eaLnBrk="0" fontAlgn="base" hangingPunct="0">
              <a:spcBef>
                <a:spcPct val="20000"/>
              </a:spcBef>
              <a:spcAft>
                <a:spcPct val="0"/>
              </a:spcAft>
              <a:buChar char="•"/>
              <a:defRPr sz="2400">
                <a:solidFill>
                  <a:srgbClr val="404040"/>
                </a:solidFill>
                <a:latin typeface="+mn-lt"/>
              </a:defRPr>
            </a:lvl3pPr>
            <a:lvl4pPr marL="1600200" indent="-228600" algn="l" rtl="0" eaLnBrk="0" fontAlgn="base" hangingPunct="0">
              <a:spcBef>
                <a:spcPct val="20000"/>
              </a:spcBef>
              <a:spcAft>
                <a:spcPct val="0"/>
              </a:spcAft>
              <a:buChar char="–"/>
              <a:defRPr sz="2000">
                <a:solidFill>
                  <a:srgbClr val="404040"/>
                </a:solidFill>
                <a:latin typeface="+mn-lt"/>
              </a:defRPr>
            </a:lvl4pPr>
            <a:lvl5pPr marL="2057400" indent="-228600" algn="l" rtl="0" eaLnBrk="0" fontAlgn="base" hangingPunct="0">
              <a:spcBef>
                <a:spcPct val="20000"/>
              </a:spcBef>
              <a:spcAft>
                <a:spcPct val="0"/>
              </a:spcAft>
              <a:buChar char="»"/>
              <a:defRPr sz="2000">
                <a:solidFill>
                  <a:srgbClr val="404040"/>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lang="pt-BR" altLang="pt-BR" sz="2700" kern="0" dirty="0">
                <a:solidFill>
                  <a:srgbClr val="333399"/>
                </a:solidFill>
                <a:latin typeface="Calibri" panose="020F0502020204030204" pitchFamily="34" charset="0"/>
              </a:rPr>
              <a:t>Desenhado e implementado para atender a todos os setores da organização;</a:t>
            </a:r>
          </a:p>
          <a:p>
            <a:pPr>
              <a:defRPr/>
            </a:pPr>
            <a:r>
              <a:rPr lang="pt-BR" altLang="pt-BR" sz="2700" kern="0" dirty="0">
                <a:solidFill>
                  <a:srgbClr val="333399"/>
                </a:solidFill>
                <a:latin typeface="Calibri" panose="020F0502020204030204" pitchFamily="34" charset="0"/>
              </a:rPr>
              <a:t>Participa ativamente do Planejamento estratégico da empresa;</a:t>
            </a:r>
          </a:p>
          <a:p>
            <a:pPr>
              <a:defRPr/>
            </a:pPr>
            <a:r>
              <a:rPr lang="pt-BR" altLang="pt-BR" sz="2700" kern="0" dirty="0">
                <a:solidFill>
                  <a:srgbClr val="333399"/>
                </a:solidFill>
                <a:latin typeface="Calibri" panose="020F0502020204030204" pitchFamily="34" charset="0"/>
              </a:rPr>
              <a:t>Permite, então, a empresa escolher o projeto adequado alinhado a estratégia da mesma;</a:t>
            </a:r>
          </a:p>
          <a:p>
            <a:pPr>
              <a:defRPr/>
            </a:pPr>
            <a:r>
              <a:rPr lang="pt-BR" altLang="pt-BR" sz="2700" kern="0" dirty="0">
                <a:solidFill>
                  <a:srgbClr val="333399"/>
                </a:solidFill>
                <a:latin typeface="Calibri" panose="020F0502020204030204" pitchFamily="34" charset="0"/>
              </a:rPr>
              <a:t>Gerencia o ciclo de vida inteiro do projeto, desde de a concepção ao encerramento;</a:t>
            </a:r>
          </a:p>
          <a:p>
            <a:pPr lvl="1">
              <a:defRPr/>
            </a:pPr>
            <a:r>
              <a:rPr lang="pt-BR" altLang="pt-BR" sz="2700" kern="0" dirty="0">
                <a:latin typeface="Calibri" panose="020F0502020204030204" pitchFamily="34" charset="0"/>
              </a:rPr>
              <a:t>Estudo dos projetos com foco em seu alinhamento estratégico e viabilidade econômica, capacidade técnica, impacto social e/ou ambiental;</a:t>
            </a:r>
          </a:p>
          <a:p>
            <a:pPr lvl="1">
              <a:defRPr/>
            </a:pPr>
            <a:r>
              <a:rPr lang="pt-BR" altLang="pt-BR" sz="2700" kern="0">
                <a:latin typeface="Calibri" panose="020F0502020204030204" pitchFamily="34" charset="0"/>
              </a:rPr>
              <a:t>Avaliação, Seleção</a:t>
            </a:r>
            <a:r>
              <a:rPr lang="pt-BR" altLang="pt-BR" sz="2700" kern="0" dirty="0">
                <a:latin typeface="Calibri" panose="020F0502020204030204" pitchFamily="34" charset="0"/>
              </a:rPr>
              <a:t>, Priorização, Aprovação e Acompanhamento dos projetos;</a:t>
            </a:r>
          </a:p>
          <a:p>
            <a:pPr lvl="1">
              <a:defRPr/>
            </a:pPr>
            <a:r>
              <a:rPr lang="pt-BR" altLang="pt-BR" sz="2700" kern="0" dirty="0">
                <a:latin typeface="Calibri" panose="020F0502020204030204" pitchFamily="34" charset="0"/>
              </a:rPr>
              <a:t>Gerenciamento do ciclo de vida de todos os projetos interdepartamentais;</a:t>
            </a:r>
          </a:p>
          <a:p>
            <a:pPr lvl="1">
              <a:defRPr/>
            </a:pPr>
            <a:r>
              <a:rPr lang="pt-BR" altLang="pt-BR" sz="2700" kern="0" dirty="0">
                <a:latin typeface="Calibri" panose="020F0502020204030204" pitchFamily="34" charset="0"/>
              </a:rPr>
              <a:t>Integração interdepartamental. Gestão do conhecimento empresarial.</a:t>
            </a:r>
          </a:p>
          <a:p>
            <a:pPr>
              <a:buFont typeface="Monotype Sorts" pitchFamily="2" charset="2"/>
              <a:buNone/>
              <a:defRPr/>
            </a:pPr>
            <a:endParaRPr lang="pt-BR" altLang="pt-BR" sz="2700" kern="0" dirty="0">
              <a:solidFill>
                <a:srgbClr val="333399"/>
              </a:solidFill>
            </a:endParaRPr>
          </a:p>
          <a:p>
            <a:pPr>
              <a:defRPr/>
            </a:pPr>
            <a:endParaRPr lang="pt-BR" altLang="pt-BR" sz="2400" kern="0" dirty="0">
              <a:solidFill>
                <a:srgbClr val="333399"/>
              </a:solidFill>
            </a:endParaRPr>
          </a:p>
          <a:p>
            <a:pPr>
              <a:defRPr/>
            </a:pPr>
            <a:endParaRPr lang="en-US" altLang="pt-BR" sz="2400" kern="0" dirty="0">
              <a:solidFill>
                <a:schemeClr val="hlink"/>
              </a:solidFill>
            </a:endParaRPr>
          </a:p>
        </p:txBody>
      </p:sp>
      <p:sp>
        <p:nvSpPr>
          <p:cNvPr id="21508" name="AutoShape 10"/>
          <p:cNvSpPr>
            <a:spLocks noChangeArrowheads="1"/>
          </p:cNvSpPr>
          <p:nvPr/>
        </p:nvSpPr>
        <p:spPr bwMode="auto">
          <a:xfrm>
            <a:off x="2314576" y="7643813"/>
            <a:ext cx="1052513" cy="183357"/>
          </a:xfrm>
          <a:prstGeom prst="rightArrow">
            <a:avLst>
              <a:gd name="adj1" fmla="val 50000"/>
              <a:gd name="adj2" fmla="val 143506"/>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nvGrpSpPr>
          <p:cNvPr id="21509" name="Group 11"/>
          <p:cNvGrpSpPr>
            <a:grpSpLocks/>
          </p:cNvGrpSpPr>
          <p:nvPr/>
        </p:nvGrpSpPr>
        <p:grpSpPr bwMode="auto">
          <a:xfrm>
            <a:off x="1547813" y="6791326"/>
            <a:ext cx="1493045" cy="1042988"/>
            <a:chOff x="476" y="1930"/>
            <a:chExt cx="765" cy="873"/>
          </a:xfrm>
        </p:grpSpPr>
        <p:grpSp>
          <p:nvGrpSpPr>
            <p:cNvPr id="21897" name="Group 12"/>
            <p:cNvGrpSpPr>
              <a:grpSpLocks/>
            </p:cNvGrpSpPr>
            <p:nvPr/>
          </p:nvGrpSpPr>
          <p:grpSpPr bwMode="auto">
            <a:xfrm>
              <a:off x="734" y="2428"/>
              <a:ext cx="266" cy="227"/>
              <a:chOff x="560" y="1368"/>
              <a:chExt cx="264" cy="296"/>
            </a:xfrm>
          </p:grpSpPr>
          <p:sp>
            <p:nvSpPr>
              <p:cNvPr id="22028" name="Oval 1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9" name="Oval 1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30" name="Oval 1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31" name="Oval 1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898" name="Group 17"/>
            <p:cNvGrpSpPr>
              <a:grpSpLocks/>
            </p:cNvGrpSpPr>
            <p:nvPr/>
          </p:nvGrpSpPr>
          <p:grpSpPr bwMode="auto">
            <a:xfrm>
              <a:off x="653" y="2520"/>
              <a:ext cx="266" cy="228"/>
              <a:chOff x="560" y="1368"/>
              <a:chExt cx="264" cy="296"/>
            </a:xfrm>
          </p:grpSpPr>
          <p:sp>
            <p:nvSpPr>
              <p:cNvPr id="22024" name="Oval 1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5" name="Oval 1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6" name="Oval 2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7" name="Oval 2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899" name="Group 22"/>
            <p:cNvGrpSpPr>
              <a:grpSpLocks/>
            </p:cNvGrpSpPr>
            <p:nvPr/>
          </p:nvGrpSpPr>
          <p:grpSpPr bwMode="auto">
            <a:xfrm>
              <a:off x="943" y="2465"/>
              <a:ext cx="266" cy="227"/>
              <a:chOff x="560" y="1368"/>
              <a:chExt cx="264" cy="296"/>
            </a:xfrm>
          </p:grpSpPr>
          <p:sp>
            <p:nvSpPr>
              <p:cNvPr id="22020" name="Oval 2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1" name="Oval 2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2" name="Oval 2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23" name="Oval 2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0" name="Group 27"/>
            <p:cNvGrpSpPr>
              <a:grpSpLocks/>
            </p:cNvGrpSpPr>
            <p:nvPr/>
          </p:nvGrpSpPr>
          <p:grpSpPr bwMode="auto">
            <a:xfrm>
              <a:off x="926" y="2403"/>
              <a:ext cx="265" cy="228"/>
              <a:chOff x="560" y="1368"/>
              <a:chExt cx="264" cy="296"/>
            </a:xfrm>
          </p:grpSpPr>
          <p:sp>
            <p:nvSpPr>
              <p:cNvPr id="22016" name="Oval 2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7" name="Oval 2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8" name="Oval 3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9" name="Oval 3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1" name="Group 32"/>
            <p:cNvGrpSpPr>
              <a:grpSpLocks/>
            </p:cNvGrpSpPr>
            <p:nvPr/>
          </p:nvGrpSpPr>
          <p:grpSpPr bwMode="auto">
            <a:xfrm>
              <a:off x="876" y="2422"/>
              <a:ext cx="265" cy="227"/>
              <a:chOff x="560" y="1368"/>
              <a:chExt cx="264" cy="296"/>
            </a:xfrm>
          </p:grpSpPr>
          <p:sp>
            <p:nvSpPr>
              <p:cNvPr id="22012" name="Oval 3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3" name="Oval 3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4" name="Oval 3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5" name="Oval 3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2" name="Group 37"/>
            <p:cNvGrpSpPr>
              <a:grpSpLocks/>
            </p:cNvGrpSpPr>
            <p:nvPr/>
          </p:nvGrpSpPr>
          <p:grpSpPr bwMode="auto">
            <a:xfrm>
              <a:off x="769" y="2170"/>
              <a:ext cx="266" cy="227"/>
              <a:chOff x="560" y="1368"/>
              <a:chExt cx="264" cy="296"/>
            </a:xfrm>
          </p:grpSpPr>
          <p:sp>
            <p:nvSpPr>
              <p:cNvPr id="22008" name="Oval 3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9" name="Oval 3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0" name="Oval 4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11" name="Oval 4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3" name="Group 42"/>
            <p:cNvGrpSpPr>
              <a:grpSpLocks/>
            </p:cNvGrpSpPr>
            <p:nvPr/>
          </p:nvGrpSpPr>
          <p:grpSpPr bwMode="auto">
            <a:xfrm>
              <a:off x="509" y="2280"/>
              <a:ext cx="266" cy="228"/>
              <a:chOff x="560" y="1368"/>
              <a:chExt cx="264" cy="296"/>
            </a:xfrm>
          </p:grpSpPr>
          <p:sp>
            <p:nvSpPr>
              <p:cNvPr id="22004" name="Oval 4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5" name="Oval 4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6" name="Oval 4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7" name="Oval 4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4" name="Group 47"/>
            <p:cNvGrpSpPr>
              <a:grpSpLocks/>
            </p:cNvGrpSpPr>
            <p:nvPr/>
          </p:nvGrpSpPr>
          <p:grpSpPr bwMode="auto">
            <a:xfrm>
              <a:off x="603" y="2446"/>
              <a:ext cx="265" cy="228"/>
              <a:chOff x="560" y="1368"/>
              <a:chExt cx="264" cy="296"/>
            </a:xfrm>
          </p:grpSpPr>
          <p:sp>
            <p:nvSpPr>
              <p:cNvPr id="22000" name="Oval 4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1" name="Oval 4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2" name="Oval 5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2003" name="Oval 5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5" name="Group 52"/>
            <p:cNvGrpSpPr>
              <a:grpSpLocks/>
            </p:cNvGrpSpPr>
            <p:nvPr/>
          </p:nvGrpSpPr>
          <p:grpSpPr bwMode="auto">
            <a:xfrm>
              <a:off x="636" y="2336"/>
              <a:ext cx="265" cy="227"/>
              <a:chOff x="560" y="1368"/>
              <a:chExt cx="264" cy="296"/>
            </a:xfrm>
          </p:grpSpPr>
          <p:sp>
            <p:nvSpPr>
              <p:cNvPr id="21996" name="Oval 5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7" name="Oval 5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8" name="Oval 5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9" name="Oval 5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6" name="Group 57"/>
            <p:cNvGrpSpPr>
              <a:grpSpLocks/>
            </p:cNvGrpSpPr>
            <p:nvPr/>
          </p:nvGrpSpPr>
          <p:grpSpPr bwMode="auto">
            <a:xfrm>
              <a:off x="849" y="2576"/>
              <a:ext cx="265" cy="227"/>
              <a:chOff x="560" y="1368"/>
              <a:chExt cx="264" cy="296"/>
            </a:xfrm>
          </p:grpSpPr>
          <p:sp>
            <p:nvSpPr>
              <p:cNvPr id="21992" name="Oval 5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3" name="Oval 5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4" name="Oval 6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5" name="Oval 6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7" name="Group 62"/>
            <p:cNvGrpSpPr>
              <a:grpSpLocks/>
            </p:cNvGrpSpPr>
            <p:nvPr/>
          </p:nvGrpSpPr>
          <p:grpSpPr bwMode="auto">
            <a:xfrm flipH="1">
              <a:off x="483" y="2514"/>
              <a:ext cx="265" cy="228"/>
              <a:chOff x="560" y="1368"/>
              <a:chExt cx="264" cy="296"/>
            </a:xfrm>
          </p:grpSpPr>
          <p:sp>
            <p:nvSpPr>
              <p:cNvPr id="21988" name="Oval 6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9" name="Oval 6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0" name="Oval 6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91" name="Oval 6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8" name="Group 67"/>
            <p:cNvGrpSpPr>
              <a:grpSpLocks/>
            </p:cNvGrpSpPr>
            <p:nvPr/>
          </p:nvGrpSpPr>
          <p:grpSpPr bwMode="auto">
            <a:xfrm>
              <a:off x="523" y="2496"/>
              <a:ext cx="265" cy="227"/>
              <a:chOff x="560" y="1368"/>
              <a:chExt cx="264" cy="296"/>
            </a:xfrm>
          </p:grpSpPr>
          <p:sp>
            <p:nvSpPr>
              <p:cNvPr id="21984" name="Oval 6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5" name="Oval 6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6" name="Oval 7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7" name="Oval 7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09" name="Group 72"/>
            <p:cNvGrpSpPr>
              <a:grpSpLocks/>
            </p:cNvGrpSpPr>
            <p:nvPr/>
          </p:nvGrpSpPr>
          <p:grpSpPr bwMode="auto">
            <a:xfrm>
              <a:off x="742" y="2274"/>
              <a:ext cx="266" cy="228"/>
              <a:chOff x="560" y="1368"/>
              <a:chExt cx="264" cy="296"/>
            </a:xfrm>
          </p:grpSpPr>
          <p:sp>
            <p:nvSpPr>
              <p:cNvPr id="21980" name="Oval 7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1" name="Oval 7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2" name="Oval 7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83" name="Oval 7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0" name="Group 77"/>
            <p:cNvGrpSpPr>
              <a:grpSpLocks/>
            </p:cNvGrpSpPr>
            <p:nvPr/>
          </p:nvGrpSpPr>
          <p:grpSpPr bwMode="auto">
            <a:xfrm flipH="1">
              <a:off x="889" y="2250"/>
              <a:ext cx="265" cy="227"/>
              <a:chOff x="560" y="1368"/>
              <a:chExt cx="264" cy="296"/>
            </a:xfrm>
          </p:grpSpPr>
          <p:sp>
            <p:nvSpPr>
              <p:cNvPr id="21976" name="Oval 7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7" name="Oval 7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8" name="Oval 8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9" name="Oval 8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1" name="Group 82"/>
            <p:cNvGrpSpPr>
              <a:grpSpLocks/>
            </p:cNvGrpSpPr>
            <p:nvPr/>
          </p:nvGrpSpPr>
          <p:grpSpPr bwMode="auto">
            <a:xfrm flipH="1">
              <a:off x="623" y="2071"/>
              <a:ext cx="265" cy="228"/>
              <a:chOff x="560" y="1368"/>
              <a:chExt cx="264" cy="296"/>
            </a:xfrm>
          </p:grpSpPr>
          <p:sp>
            <p:nvSpPr>
              <p:cNvPr id="21972" name="Oval 8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3" name="Oval 8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4" name="Oval 8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5" name="Oval 8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2" name="Group 87"/>
            <p:cNvGrpSpPr>
              <a:grpSpLocks/>
            </p:cNvGrpSpPr>
            <p:nvPr/>
          </p:nvGrpSpPr>
          <p:grpSpPr bwMode="auto">
            <a:xfrm flipH="1">
              <a:off x="762" y="2157"/>
              <a:ext cx="266" cy="228"/>
              <a:chOff x="560" y="1368"/>
              <a:chExt cx="264" cy="296"/>
            </a:xfrm>
          </p:grpSpPr>
          <p:sp>
            <p:nvSpPr>
              <p:cNvPr id="21968" name="Oval 8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9" name="Oval 8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0" name="Oval 9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71" name="Oval 9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3" name="Group 92"/>
            <p:cNvGrpSpPr>
              <a:grpSpLocks/>
            </p:cNvGrpSpPr>
            <p:nvPr/>
          </p:nvGrpSpPr>
          <p:grpSpPr bwMode="auto">
            <a:xfrm flipH="1">
              <a:off x="563" y="2151"/>
              <a:ext cx="265" cy="228"/>
              <a:chOff x="560" y="1368"/>
              <a:chExt cx="264" cy="296"/>
            </a:xfrm>
          </p:grpSpPr>
          <p:sp>
            <p:nvSpPr>
              <p:cNvPr id="21964" name="Oval 9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5" name="Oval 9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6" name="Oval 9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7" name="Oval 9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4" name="Group 97"/>
            <p:cNvGrpSpPr>
              <a:grpSpLocks/>
            </p:cNvGrpSpPr>
            <p:nvPr/>
          </p:nvGrpSpPr>
          <p:grpSpPr bwMode="auto">
            <a:xfrm flipH="1">
              <a:off x="496" y="1930"/>
              <a:ext cx="266" cy="227"/>
              <a:chOff x="560" y="1368"/>
              <a:chExt cx="264" cy="296"/>
            </a:xfrm>
          </p:grpSpPr>
          <p:sp>
            <p:nvSpPr>
              <p:cNvPr id="21960" name="Oval 9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1" name="Oval 9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2" name="Oval 10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63" name="Oval 10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5" name="Group 102"/>
            <p:cNvGrpSpPr>
              <a:grpSpLocks/>
            </p:cNvGrpSpPr>
            <p:nvPr/>
          </p:nvGrpSpPr>
          <p:grpSpPr bwMode="auto">
            <a:xfrm flipH="1">
              <a:off x="476" y="2059"/>
              <a:ext cx="266" cy="228"/>
              <a:chOff x="560" y="1368"/>
              <a:chExt cx="264" cy="296"/>
            </a:xfrm>
          </p:grpSpPr>
          <p:sp>
            <p:nvSpPr>
              <p:cNvPr id="21956" name="Oval 10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7" name="Oval 10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8" name="Oval 10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9" name="Oval 10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6" name="Group 107"/>
            <p:cNvGrpSpPr>
              <a:grpSpLocks/>
            </p:cNvGrpSpPr>
            <p:nvPr/>
          </p:nvGrpSpPr>
          <p:grpSpPr bwMode="auto">
            <a:xfrm flipH="1">
              <a:off x="556" y="2022"/>
              <a:ext cx="265" cy="228"/>
              <a:chOff x="560" y="1368"/>
              <a:chExt cx="264" cy="296"/>
            </a:xfrm>
          </p:grpSpPr>
          <p:sp>
            <p:nvSpPr>
              <p:cNvPr id="21952" name="Oval 10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3" name="Oval 10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4" name="Oval 11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5" name="Oval 11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7" name="Group 112"/>
            <p:cNvGrpSpPr>
              <a:grpSpLocks/>
            </p:cNvGrpSpPr>
            <p:nvPr/>
          </p:nvGrpSpPr>
          <p:grpSpPr bwMode="auto">
            <a:xfrm rot="16200000" flipH="1">
              <a:off x="793" y="2110"/>
              <a:ext cx="246" cy="247"/>
              <a:chOff x="560" y="1368"/>
              <a:chExt cx="264" cy="296"/>
            </a:xfrm>
          </p:grpSpPr>
          <p:sp>
            <p:nvSpPr>
              <p:cNvPr id="21948" name="Oval 11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9" name="Oval 11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0" name="Oval 11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51" name="Oval 11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8" name="Group 117"/>
            <p:cNvGrpSpPr>
              <a:grpSpLocks/>
            </p:cNvGrpSpPr>
            <p:nvPr/>
          </p:nvGrpSpPr>
          <p:grpSpPr bwMode="auto">
            <a:xfrm rot="16200000" flipH="1">
              <a:off x="733" y="2147"/>
              <a:ext cx="245" cy="247"/>
              <a:chOff x="560" y="1368"/>
              <a:chExt cx="264" cy="296"/>
            </a:xfrm>
          </p:grpSpPr>
          <p:sp>
            <p:nvSpPr>
              <p:cNvPr id="21944" name="Oval 11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5" name="Oval 11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6" name="Oval 12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7" name="Oval 12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19" name="Group 122"/>
            <p:cNvGrpSpPr>
              <a:grpSpLocks/>
            </p:cNvGrpSpPr>
            <p:nvPr/>
          </p:nvGrpSpPr>
          <p:grpSpPr bwMode="auto">
            <a:xfrm rot="16200000" flipH="1">
              <a:off x="660" y="2264"/>
              <a:ext cx="245" cy="247"/>
              <a:chOff x="560" y="1368"/>
              <a:chExt cx="264" cy="296"/>
            </a:xfrm>
          </p:grpSpPr>
          <p:sp>
            <p:nvSpPr>
              <p:cNvPr id="21940" name="Oval 12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1" name="Oval 12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2" name="Oval 12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43" name="Oval 12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20" name="Group 127"/>
            <p:cNvGrpSpPr>
              <a:grpSpLocks/>
            </p:cNvGrpSpPr>
            <p:nvPr/>
          </p:nvGrpSpPr>
          <p:grpSpPr bwMode="auto">
            <a:xfrm flipH="1">
              <a:off x="975" y="2416"/>
              <a:ext cx="266" cy="227"/>
              <a:chOff x="560" y="1368"/>
              <a:chExt cx="264" cy="296"/>
            </a:xfrm>
          </p:grpSpPr>
          <p:sp>
            <p:nvSpPr>
              <p:cNvPr id="21936" name="Oval 12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7" name="Oval 12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8" name="Oval 13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9" name="Oval 13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21" name="Group 132"/>
            <p:cNvGrpSpPr>
              <a:grpSpLocks/>
            </p:cNvGrpSpPr>
            <p:nvPr/>
          </p:nvGrpSpPr>
          <p:grpSpPr bwMode="auto">
            <a:xfrm flipH="1">
              <a:off x="483" y="2225"/>
              <a:ext cx="265" cy="228"/>
              <a:chOff x="560" y="1368"/>
              <a:chExt cx="264" cy="296"/>
            </a:xfrm>
          </p:grpSpPr>
          <p:sp>
            <p:nvSpPr>
              <p:cNvPr id="21932" name="Oval 13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3" name="Oval 13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4" name="Oval 13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5" name="Oval 13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22" name="Group 137"/>
            <p:cNvGrpSpPr>
              <a:grpSpLocks/>
            </p:cNvGrpSpPr>
            <p:nvPr/>
          </p:nvGrpSpPr>
          <p:grpSpPr bwMode="auto">
            <a:xfrm rot="16200000" flipH="1">
              <a:off x="493" y="2413"/>
              <a:ext cx="245" cy="246"/>
              <a:chOff x="560" y="1368"/>
              <a:chExt cx="264" cy="296"/>
            </a:xfrm>
          </p:grpSpPr>
          <p:sp>
            <p:nvSpPr>
              <p:cNvPr id="21928" name="Oval 13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29" name="Oval 13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0" name="Oval 14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31" name="Oval 14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923" name="Group 142"/>
            <p:cNvGrpSpPr>
              <a:grpSpLocks/>
            </p:cNvGrpSpPr>
            <p:nvPr/>
          </p:nvGrpSpPr>
          <p:grpSpPr bwMode="auto">
            <a:xfrm rot="16200000" flipH="1">
              <a:off x="506" y="2130"/>
              <a:ext cx="245" cy="246"/>
              <a:chOff x="560" y="1368"/>
              <a:chExt cx="264" cy="296"/>
            </a:xfrm>
          </p:grpSpPr>
          <p:sp>
            <p:nvSpPr>
              <p:cNvPr id="21924" name="Oval 14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25" name="Oval 14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26" name="Oval 14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927" name="Oval 14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grpSp>
        <p:nvGrpSpPr>
          <p:cNvPr id="21510" name="Group 147"/>
          <p:cNvGrpSpPr>
            <a:grpSpLocks/>
          </p:cNvGrpSpPr>
          <p:nvPr/>
        </p:nvGrpSpPr>
        <p:grpSpPr bwMode="auto">
          <a:xfrm>
            <a:off x="1571625" y="7634288"/>
            <a:ext cx="1495425" cy="1045370"/>
            <a:chOff x="489" y="2637"/>
            <a:chExt cx="765" cy="873"/>
          </a:xfrm>
        </p:grpSpPr>
        <p:grpSp>
          <p:nvGrpSpPr>
            <p:cNvPr id="21762" name="Group 148"/>
            <p:cNvGrpSpPr>
              <a:grpSpLocks/>
            </p:cNvGrpSpPr>
            <p:nvPr/>
          </p:nvGrpSpPr>
          <p:grpSpPr bwMode="auto">
            <a:xfrm flipV="1">
              <a:off x="747" y="2785"/>
              <a:ext cx="266" cy="227"/>
              <a:chOff x="560" y="1368"/>
              <a:chExt cx="264" cy="296"/>
            </a:xfrm>
          </p:grpSpPr>
          <p:sp>
            <p:nvSpPr>
              <p:cNvPr id="21893" name="Oval 1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4" name="Oval 1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5" name="Oval 1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6" name="Oval 1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3" name="Group 153"/>
            <p:cNvGrpSpPr>
              <a:grpSpLocks/>
            </p:cNvGrpSpPr>
            <p:nvPr/>
          </p:nvGrpSpPr>
          <p:grpSpPr bwMode="auto">
            <a:xfrm flipV="1">
              <a:off x="666" y="2692"/>
              <a:ext cx="266" cy="228"/>
              <a:chOff x="560" y="1368"/>
              <a:chExt cx="264" cy="296"/>
            </a:xfrm>
          </p:grpSpPr>
          <p:sp>
            <p:nvSpPr>
              <p:cNvPr id="21889" name="Oval 1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0" name="Oval 1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1" name="Oval 1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92" name="Oval 1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4" name="Group 158"/>
            <p:cNvGrpSpPr>
              <a:grpSpLocks/>
            </p:cNvGrpSpPr>
            <p:nvPr/>
          </p:nvGrpSpPr>
          <p:grpSpPr bwMode="auto">
            <a:xfrm flipV="1">
              <a:off x="956" y="2748"/>
              <a:ext cx="266" cy="227"/>
              <a:chOff x="560" y="1368"/>
              <a:chExt cx="264" cy="296"/>
            </a:xfrm>
          </p:grpSpPr>
          <p:sp>
            <p:nvSpPr>
              <p:cNvPr id="21885" name="Oval 1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6" name="Oval 1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7" name="Oval 1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8" name="Oval 1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5" name="Group 163"/>
            <p:cNvGrpSpPr>
              <a:grpSpLocks/>
            </p:cNvGrpSpPr>
            <p:nvPr/>
          </p:nvGrpSpPr>
          <p:grpSpPr bwMode="auto">
            <a:xfrm flipV="1">
              <a:off x="939" y="2809"/>
              <a:ext cx="265" cy="228"/>
              <a:chOff x="560" y="1368"/>
              <a:chExt cx="264" cy="296"/>
            </a:xfrm>
          </p:grpSpPr>
          <p:sp>
            <p:nvSpPr>
              <p:cNvPr id="21881" name="Oval 1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2" name="Oval 1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3" name="Oval 1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4" name="Oval 1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6" name="Group 168"/>
            <p:cNvGrpSpPr>
              <a:grpSpLocks/>
            </p:cNvGrpSpPr>
            <p:nvPr/>
          </p:nvGrpSpPr>
          <p:grpSpPr bwMode="auto">
            <a:xfrm flipV="1">
              <a:off x="889" y="2791"/>
              <a:ext cx="265" cy="227"/>
              <a:chOff x="560" y="1368"/>
              <a:chExt cx="264" cy="296"/>
            </a:xfrm>
          </p:grpSpPr>
          <p:sp>
            <p:nvSpPr>
              <p:cNvPr id="21877" name="Oval 1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8" name="Oval 1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9" name="Oval 1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80" name="Oval 1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7" name="Group 173"/>
            <p:cNvGrpSpPr>
              <a:grpSpLocks/>
            </p:cNvGrpSpPr>
            <p:nvPr/>
          </p:nvGrpSpPr>
          <p:grpSpPr bwMode="auto">
            <a:xfrm flipV="1">
              <a:off x="782" y="3043"/>
              <a:ext cx="266" cy="227"/>
              <a:chOff x="560" y="1368"/>
              <a:chExt cx="264" cy="296"/>
            </a:xfrm>
          </p:grpSpPr>
          <p:sp>
            <p:nvSpPr>
              <p:cNvPr id="21873" name="Oval 1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4" name="Oval 1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5" name="Oval 1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6" name="Oval 1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8" name="Group 178"/>
            <p:cNvGrpSpPr>
              <a:grpSpLocks/>
            </p:cNvGrpSpPr>
            <p:nvPr/>
          </p:nvGrpSpPr>
          <p:grpSpPr bwMode="auto">
            <a:xfrm flipV="1">
              <a:off x="522" y="2932"/>
              <a:ext cx="266" cy="228"/>
              <a:chOff x="560" y="1368"/>
              <a:chExt cx="264" cy="296"/>
            </a:xfrm>
          </p:grpSpPr>
          <p:sp>
            <p:nvSpPr>
              <p:cNvPr id="21869" name="Oval 1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0" name="Oval 1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1" name="Oval 1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72" name="Oval 1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69" name="Group 183"/>
            <p:cNvGrpSpPr>
              <a:grpSpLocks/>
            </p:cNvGrpSpPr>
            <p:nvPr/>
          </p:nvGrpSpPr>
          <p:grpSpPr bwMode="auto">
            <a:xfrm flipV="1">
              <a:off x="616" y="2766"/>
              <a:ext cx="265" cy="228"/>
              <a:chOff x="560" y="1368"/>
              <a:chExt cx="264" cy="296"/>
            </a:xfrm>
          </p:grpSpPr>
          <p:sp>
            <p:nvSpPr>
              <p:cNvPr id="21865" name="Oval 18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6" name="Oval 18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7" name="Oval 18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8" name="Oval 18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0" name="Group 188"/>
            <p:cNvGrpSpPr>
              <a:grpSpLocks/>
            </p:cNvGrpSpPr>
            <p:nvPr/>
          </p:nvGrpSpPr>
          <p:grpSpPr bwMode="auto">
            <a:xfrm flipV="1">
              <a:off x="649" y="2877"/>
              <a:ext cx="265" cy="227"/>
              <a:chOff x="560" y="1368"/>
              <a:chExt cx="264" cy="296"/>
            </a:xfrm>
          </p:grpSpPr>
          <p:sp>
            <p:nvSpPr>
              <p:cNvPr id="21861" name="Oval 18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2" name="Oval 19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3" name="Oval 19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4" name="Oval 19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1" name="Group 193"/>
            <p:cNvGrpSpPr>
              <a:grpSpLocks/>
            </p:cNvGrpSpPr>
            <p:nvPr/>
          </p:nvGrpSpPr>
          <p:grpSpPr bwMode="auto">
            <a:xfrm flipV="1">
              <a:off x="862" y="2637"/>
              <a:ext cx="265" cy="227"/>
              <a:chOff x="560" y="1368"/>
              <a:chExt cx="264" cy="296"/>
            </a:xfrm>
          </p:grpSpPr>
          <p:sp>
            <p:nvSpPr>
              <p:cNvPr id="21857" name="Oval 19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8" name="Oval 19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9" name="Oval 19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60" name="Oval 19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2" name="Group 198"/>
            <p:cNvGrpSpPr>
              <a:grpSpLocks/>
            </p:cNvGrpSpPr>
            <p:nvPr/>
          </p:nvGrpSpPr>
          <p:grpSpPr bwMode="auto">
            <a:xfrm flipH="1" flipV="1">
              <a:off x="496" y="2698"/>
              <a:ext cx="265" cy="228"/>
              <a:chOff x="560" y="1368"/>
              <a:chExt cx="264" cy="296"/>
            </a:xfrm>
          </p:grpSpPr>
          <p:sp>
            <p:nvSpPr>
              <p:cNvPr id="21853" name="Oval 19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4" name="Oval 20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5" name="Oval 20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6" name="Oval 20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3" name="Group 203"/>
            <p:cNvGrpSpPr>
              <a:grpSpLocks/>
            </p:cNvGrpSpPr>
            <p:nvPr/>
          </p:nvGrpSpPr>
          <p:grpSpPr bwMode="auto">
            <a:xfrm flipV="1">
              <a:off x="536" y="2717"/>
              <a:ext cx="265" cy="227"/>
              <a:chOff x="560" y="1368"/>
              <a:chExt cx="264" cy="296"/>
            </a:xfrm>
          </p:grpSpPr>
          <p:sp>
            <p:nvSpPr>
              <p:cNvPr id="21849" name="Oval 20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0" name="Oval 20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1" name="Oval 20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52" name="Oval 20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4" name="Group 208"/>
            <p:cNvGrpSpPr>
              <a:grpSpLocks/>
            </p:cNvGrpSpPr>
            <p:nvPr/>
          </p:nvGrpSpPr>
          <p:grpSpPr bwMode="auto">
            <a:xfrm flipV="1">
              <a:off x="755" y="2938"/>
              <a:ext cx="266" cy="228"/>
              <a:chOff x="560" y="1368"/>
              <a:chExt cx="264" cy="296"/>
            </a:xfrm>
          </p:grpSpPr>
          <p:sp>
            <p:nvSpPr>
              <p:cNvPr id="21845" name="Oval 20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6" name="Oval 21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7" name="Oval 21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8" name="Oval 21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5" name="Group 213"/>
            <p:cNvGrpSpPr>
              <a:grpSpLocks/>
            </p:cNvGrpSpPr>
            <p:nvPr/>
          </p:nvGrpSpPr>
          <p:grpSpPr bwMode="auto">
            <a:xfrm flipH="1" flipV="1">
              <a:off x="902" y="2963"/>
              <a:ext cx="265" cy="227"/>
              <a:chOff x="560" y="1368"/>
              <a:chExt cx="264" cy="296"/>
            </a:xfrm>
          </p:grpSpPr>
          <p:sp>
            <p:nvSpPr>
              <p:cNvPr id="21841" name="Oval 21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2" name="Oval 21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3" name="Oval 21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4" name="Oval 21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6" name="Group 218"/>
            <p:cNvGrpSpPr>
              <a:grpSpLocks/>
            </p:cNvGrpSpPr>
            <p:nvPr/>
          </p:nvGrpSpPr>
          <p:grpSpPr bwMode="auto">
            <a:xfrm flipH="1" flipV="1">
              <a:off x="636" y="3141"/>
              <a:ext cx="265" cy="228"/>
              <a:chOff x="560" y="1368"/>
              <a:chExt cx="264" cy="296"/>
            </a:xfrm>
          </p:grpSpPr>
          <p:sp>
            <p:nvSpPr>
              <p:cNvPr id="21837" name="Oval 21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8" name="Oval 22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9" name="Oval 22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40" name="Oval 22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7" name="Group 223"/>
            <p:cNvGrpSpPr>
              <a:grpSpLocks/>
            </p:cNvGrpSpPr>
            <p:nvPr/>
          </p:nvGrpSpPr>
          <p:grpSpPr bwMode="auto">
            <a:xfrm flipH="1" flipV="1">
              <a:off x="775" y="3055"/>
              <a:ext cx="266" cy="228"/>
              <a:chOff x="560" y="1368"/>
              <a:chExt cx="264" cy="296"/>
            </a:xfrm>
          </p:grpSpPr>
          <p:sp>
            <p:nvSpPr>
              <p:cNvPr id="21833" name="Oval 22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4" name="Oval 22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5" name="Oval 22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6" name="Oval 22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8" name="Group 228"/>
            <p:cNvGrpSpPr>
              <a:grpSpLocks/>
            </p:cNvGrpSpPr>
            <p:nvPr/>
          </p:nvGrpSpPr>
          <p:grpSpPr bwMode="auto">
            <a:xfrm flipH="1" flipV="1">
              <a:off x="576" y="3061"/>
              <a:ext cx="265" cy="228"/>
              <a:chOff x="560" y="1368"/>
              <a:chExt cx="264" cy="296"/>
            </a:xfrm>
          </p:grpSpPr>
          <p:sp>
            <p:nvSpPr>
              <p:cNvPr id="21829" name="Oval 2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0" name="Oval 2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1" name="Oval 2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32" name="Oval 2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79" name="Group 233"/>
            <p:cNvGrpSpPr>
              <a:grpSpLocks/>
            </p:cNvGrpSpPr>
            <p:nvPr/>
          </p:nvGrpSpPr>
          <p:grpSpPr bwMode="auto">
            <a:xfrm flipH="1" flipV="1">
              <a:off x="509" y="3283"/>
              <a:ext cx="266" cy="227"/>
              <a:chOff x="560" y="1368"/>
              <a:chExt cx="264" cy="296"/>
            </a:xfrm>
          </p:grpSpPr>
          <p:sp>
            <p:nvSpPr>
              <p:cNvPr id="21825" name="Oval 2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6" name="Oval 2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7" name="Oval 2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8" name="Oval 2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0" name="Group 238"/>
            <p:cNvGrpSpPr>
              <a:grpSpLocks/>
            </p:cNvGrpSpPr>
            <p:nvPr/>
          </p:nvGrpSpPr>
          <p:grpSpPr bwMode="auto">
            <a:xfrm flipH="1" flipV="1">
              <a:off x="489" y="3153"/>
              <a:ext cx="266" cy="228"/>
              <a:chOff x="560" y="1368"/>
              <a:chExt cx="264" cy="296"/>
            </a:xfrm>
          </p:grpSpPr>
          <p:sp>
            <p:nvSpPr>
              <p:cNvPr id="21821" name="Oval 2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2" name="Oval 2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3" name="Oval 2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4" name="Oval 2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1" name="Group 243"/>
            <p:cNvGrpSpPr>
              <a:grpSpLocks/>
            </p:cNvGrpSpPr>
            <p:nvPr/>
          </p:nvGrpSpPr>
          <p:grpSpPr bwMode="auto">
            <a:xfrm flipH="1" flipV="1">
              <a:off x="569" y="3190"/>
              <a:ext cx="265" cy="228"/>
              <a:chOff x="560" y="1368"/>
              <a:chExt cx="264" cy="296"/>
            </a:xfrm>
          </p:grpSpPr>
          <p:sp>
            <p:nvSpPr>
              <p:cNvPr id="21817" name="Oval 2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8" name="Oval 2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9" name="Oval 2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20" name="Oval 2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2" name="Group 248"/>
            <p:cNvGrpSpPr>
              <a:grpSpLocks/>
            </p:cNvGrpSpPr>
            <p:nvPr/>
          </p:nvGrpSpPr>
          <p:grpSpPr bwMode="auto">
            <a:xfrm rot="5400000" flipH="1" flipV="1">
              <a:off x="806" y="3082"/>
              <a:ext cx="246" cy="247"/>
              <a:chOff x="560" y="1368"/>
              <a:chExt cx="264" cy="296"/>
            </a:xfrm>
          </p:grpSpPr>
          <p:sp>
            <p:nvSpPr>
              <p:cNvPr id="21813" name="Oval 2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4" name="Oval 2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5" name="Oval 2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6" name="Oval 2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3" name="Group 253"/>
            <p:cNvGrpSpPr>
              <a:grpSpLocks/>
            </p:cNvGrpSpPr>
            <p:nvPr/>
          </p:nvGrpSpPr>
          <p:grpSpPr bwMode="auto">
            <a:xfrm rot="5400000" flipH="1" flipV="1">
              <a:off x="746" y="3046"/>
              <a:ext cx="245" cy="247"/>
              <a:chOff x="560" y="1368"/>
              <a:chExt cx="264" cy="296"/>
            </a:xfrm>
          </p:grpSpPr>
          <p:sp>
            <p:nvSpPr>
              <p:cNvPr id="21809" name="Oval 2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0" name="Oval 2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1" name="Oval 2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12" name="Oval 2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4" name="Group 258"/>
            <p:cNvGrpSpPr>
              <a:grpSpLocks/>
            </p:cNvGrpSpPr>
            <p:nvPr/>
          </p:nvGrpSpPr>
          <p:grpSpPr bwMode="auto">
            <a:xfrm rot="5400000" flipH="1" flipV="1">
              <a:off x="673" y="2929"/>
              <a:ext cx="245" cy="247"/>
              <a:chOff x="560" y="1368"/>
              <a:chExt cx="264" cy="296"/>
            </a:xfrm>
          </p:grpSpPr>
          <p:sp>
            <p:nvSpPr>
              <p:cNvPr id="21805" name="Oval 2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6" name="Oval 2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7" name="Oval 2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8" name="Oval 2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5" name="Group 263"/>
            <p:cNvGrpSpPr>
              <a:grpSpLocks/>
            </p:cNvGrpSpPr>
            <p:nvPr/>
          </p:nvGrpSpPr>
          <p:grpSpPr bwMode="auto">
            <a:xfrm flipH="1" flipV="1">
              <a:off x="988" y="2797"/>
              <a:ext cx="266" cy="227"/>
              <a:chOff x="560" y="1368"/>
              <a:chExt cx="264" cy="296"/>
            </a:xfrm>
          </p:grpSpPr>
          <p:sp>
            <p:nvSpPr>
              <p:cNvPr id="21801" name="Oval 2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2" name="Oval 2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3" name="Oval 2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4" name="Oval 2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6" name="Group 268"/>
            <p:cNvGrpSpPr>
              <a:grpSpLocks/>
            </p:cNvGrpSpPr>
            <p:nvPr/>
          </p:nvGrpSpPr>
          <p:grpSpPr bwMode="auto">
            <a:xfrm flipH="1" flipV="1">
              <a:off x="496" y="2987"/>
              <a:ext cx="265" cy="228"/>
              <a:chOff x="560" y="1368"/>
              <a:chExt cx="264" cy="296"/>
            </a:xfrm>
          </p:grpSpPr>
          <p:sp>
            <p:nvSpPr>
              <p:cNvPr id="21797" name="Oval 2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8" name="Oval 2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9" name="Oval 2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800" name="Oval 2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7" name="Group 273"/>
            <p:cNvGrpSpPr>
              <a:grpSpLocks/>
            </p:cNvGrpSpPr>
            <p:nvPr/>
          </p:nvGrpSpPr>
          <p:grpSpPr bwMode="auto">
            <a:xfrm rot="5400000" flipH="1" flipV="1">
              <a:off x="506" y="2782"/>
              <a:ext cx="245" cy="246"/>
              <a:chOff x="560" y="1368"/>
              <a:chExt cx="264" cy="296"/>
            </a:xfrm>
          </p:grpSpPr>
          <p:sp>
            <p:nvSpPr>
              <p:cNvPr id="21793" name="Oval 2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4" name="Oval 2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5" name="Oval 2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6" name="Oval 2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788" name="Group 278"/>
            <p:cNvGrpSpPr>
              <a:grpSpLocks/>
            </p:cNvGrpSpPr>
            <p:nvPr/>
          </p:nvGrpSpPr>
          <p:grpSpPr bwMode="auto">
            <a:xfrm rot="5400000" flipH="1" flipV="1">
              <a:off x="519" y="3065"/>
              <a:ext cx="245" cy="246"/>
              <a:chOff x="560" y="1368"/>
              <a:chExt cx="264" cy="296"/>
            </a:xfrm>
          </p:grpSpPr>
          <p:sp>
            <p:nvSpPr>
              <p:cNvPr id="21789" name="Oval 2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0" name="Oval 2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1" name="Oval 2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92" name="Oval 2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sp>
        <p:nvSpPr>
          <p:cNvPr id="21511" name="Line 283"/>
          <p:cNvSpPr>
            <a:spLocks noChangeShapeType="1"/>
          </p:cNvSpPr>
          <p:nvPr/>
        </p:nvSpPr>
        <p:spPr bwMode="auto">
          <a:xfrm>
            <a:off x="9732170" y="7129463"/>
            <a:ext cx="9525" cy="2014538"/>
          </a:xfrm>
          <a:prstGeom prst="line">
            <a:avLst/>
          </a:prstGeom>
          <a:noFill/>
          <a:ln w="38100">
            <a:solidFill>
              <a:schemeClr val="tx1"/>
            </a:solidFill>
            <a:prstDash val="sysDot"/>
            <a:round/>
            <a:headEnd type="none" w="sm" len="sm"/>
            <a:tailEnd type="stealth" w="sm" len="sm"/>
          </a:ln>
          <a:extLst>
            <a:ext uri="{909E8E84-426E-40DD-AFC4-6F175D3DCCD1}">
              <a14:hiddenFill xmlns:a14="http://schemas.microsoft.com/office/drawing/2010/main">
                <a:noFill/>
              </a14:hiddenFill>
            </a:ext>
          </a:extLst>
        </p:spPr>
        <p:txBody>
          <a:bodyPr wrap="none" lIns="134742" tIns="66194" rIns="134742" bIns="66194" anchor="ctr"/>
          <a:lstStyle/>
          <a:p>
            <a:endParaRPr lang="pt-BR"/>
          </a:p>
        </p:txBody>
      </p:sp>
      <p:sp>
        <p:nvSpPr>
          <p:cNvPr id="21512" name="AutoShape 284"/>
          <p:cNvSpPr>
            <a:spLocks noChangeArrowheads="1"/>
          </p:cNvSpPr>
          <p:nvPr/>
        </p:nvSpPr>
        <p:spPr bwMode="auto">
          <a:xfrm>
            <a:off x="7086600" y="7620001"/>
            <a:ext cx="1057275" cy="188120"/>
          </a:xfrm>
          <a:prstGeom prst="rightArrow">
            <a:avLst>
              <a:gd name="adj1" fmla="val 50000"/>
              <a:gd name="adj2" fmla="val 140506"/>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807" name="AutoShape 285" descr="50%"/>
          <p:cNvSpPr>
            <a:spLocks noChangeArrowheads="1"/>
          </p:cNvSpPr>
          <p:nvPr/>
        </p:nvSpPr>
        <p:spPr bwMode="auto">
          <a:xfrm>
            <a:off x="3381376" y="8267700"/>
            <a:ext cx="623888" cy="685800"/>
          </a:xfrm>
          <a:prstGeom prst="downArrow">
            <a:avLst>
              <a:gd name="adj1" fmla="val 50000"/>
              <a:gd name="adj2" fmla="val 25000"/>
            </a:avLst>
          </a:prstGeom>
          <a:solidFill>
            <a:schemeClr val="bg1">
              <a:lumMod val="75000"/>
            </a:schemeClr>
          </a:solidFill>
          <a:ln w="9525">
            <a:solidFill>
              <a:schemeClr val="tx1"/>
            </a:solidFill>
            <a:miter lim="800000"/>
            <a:headEnd type="none" w="sm" len="sm"/>
            <a:tailEnd type="none" w="sm" len="sm"/>
          </a:ln>
          <a:effectLst/>
        </p:spPr>
        <p:txBody>
          <a:bodyPr wrap="none" lIns="134742" tIns="66194" rIns="134742" bIns="66194" anchor="ctr"/>
          <a:lstStyle/>
          <a:p>
            <a:pPr>
              <a:defRPr/>
            </a:pPr>
            <a:endParaRPr lang="pt-BR"/>
          </a:p>
        </p:txBody>
      </p:sp>
      <p:grpSp>
        <p:nvGrpSpPr>
          <p:cNvPr id="21514" name="Group 286"/>
          <p:cNvGrpSpPr>
            <a:grpSpLocks/>
          </p:cNvGrpSpPr>
          <p:nvPr/>
        </p:nvGrpSpPr>
        <p:grpSpPr bwMode="auto">
          <a:xfrm>
            <a:off x="3317083" y="6724651"/>
            <a:ext cx="766763" cy="1845470"/>
            <a:chOff x="1240" y="1104"/>
            <a:chExt cx="472" cy="2008"/>
          </a:xfrm>
        </p:grpSpPr>
        <p:sp>
          <p:nvSpPr>
            <p:cNvPr id="21760" name="Rectangle 287"/>
            <p:cNvSpPr>
              <a:spLocks noChangeArrowheads="1"/>
            </p:cNvSpPr>
            <p:nvPr/>
          </p:nvSpPr>
          <p:spPr bwMode="auto">
            <a:xfrm>
              <a:off x="1240" y="1472"/>
              <a:ext cx="91" cy="1640"/>
            </a:xfrm>
            <a:prstGeom prst="rect">
              <a:avLst/>
            </a:prstGeom>
            <a:solidFill>
              <a:srgbClr val="3366FF"/>
            </a:solidFill>
            <a:ln w="9525">
              <a:miter lim="800000"/>
              <a:headEnd/>
              <a:tailEnd/>
            </a:ln>
            <a:scene3d>
              <a:camera prst="legacyObliqueTopRight"/>
              <a:lightRig rig="legacyFlat3" dir="b"/>
            </a:scene3d>
            <a:sp3d extrusionH="1801800" prstMaterial="legacyMatte">
              <a:bevelT w="13500" h="13500" prst="angle"/>
              <a:bevelB w="13500" h="13500" prst="angle"/>
              <a:extrusionClr>
                <a:srgbClr val="3366FF"/>
              </a:extrusionClr>
              <a:contourClr>
                <a:srgbClr val="3366FF"/>
              </a:contourClr>
            </a:sp3d>
          </p:spPr>
          <p:txBody>
            <a:bodyPr wrap="none" lIns="135732" tIns="66675" rIns="135732" bIns="66675" anchor="ctr">
              <a:flatTx/>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61" name="Freeform 288" descr="Small grid"/>
            <p:cNvSpPr>
              <a:spLocks/>
            </p:cNvSpPr>
            <p:nvPr/>
          </p:nvSpPr>
          <p:spPr bwMode="auto">
            <a:xfrm>
              <a:off x="1320" y="1104"/>
              <a:ext cx="392" cy="1992"/>
            </a:xfrm>
            <a:custGeom>
              <a:avLst/>
              <a:gdLst>
                <a:gd name="T0" fmla="*/ 12 w 408"/>
                <a:gd name="T1" fmla="*/ 31 h 2040"/>
                <a:gd name="T2" fmla="*/ 12 w 408"/>
                <a:gd name="T3" fmla="*/ 0 h 2040"/>
                <a:gd name="T4" fmla="*/ 12 w 408"/>
                <a:gd name="T5" fmla="*/ 124 h 2040"/>
                <a:gd name="T6" fmla="*/ 0 w 408"/>
                <a:gd name="T7" fmla="*/ 156 h 2040"/>
                <a:gd name="T8" fmla="*/ 12 w 408"/>
                <a:gd name="T9" fmla="*/ 31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blipFill dpi="0" rotWithShape="0">
              <a:blip r:embed="rId3"/>
              <a:srcRect/>
              <a:tile tx="0" ty="0" sx="100000" sy="100000" flip="none" algn="tl"/>
            </a:blipFill>
            <a:ln>
              <a:noFill/>
            </a:ln>
            <a:extLst>
              <a:ext uri="{91240B29-F687-4F45-9708-019B960494DF}">
                <a14:hiddenLine xmlns:a14="http://schemas.microsoft.com/office/drawing/2010/main" w="9525" cap="flat" cmpd="sng">
                  <a:solidFill>
                    <a:srgbClr val="000000"/>
                  </a:solidFill>
                  <a:prstDash val="solid"/>
                  <a:round/>
                  <a:headEnd type="none" w="sm" len="sm"/>
                  <a:tailEnd type="none" w="sm" len="sm"/>
                </a14:hiddenLine>
              </a:ext>
            </a:extLst>
          </p:spPr>
          <p:txBody>
            <a:bodyPr wrap="none" lIns="135732" tIns="66675" rIns="135732" bIns="66675" anchor="ctr"/>
            <a:lstStyle/>
            <a:p>
              <a:endParaRPr lang="pt-BR"/>
            </a:p>
          </p:txBody>
        </p:sp>
      </p:grpSp>
      <p:sp>
        <p:nvSpPr>
          <p:cNvPr id="21515" name="AutoShape 289"/>
          <p:cNvSpPr>
            <a:spLocks noChangeArrowheads="1"/>
          </p:cNvSpPr>
          <p:nvPr/>
        </p:nvSpPr>
        <p:spPr bwMode="auto">
          <a:xfrm>
            <a:off x="3798095" y="7634288"/>
            <a:ext cx="792956" cy="185738"/>
          </a:xfrm>
          <a:prstGeom prst="rightArrow">
            <a:avLst>
              <a:gd name="adj1" fmla="val 50000"/>
              <a:gd name="adj2" fmla="val 106731"/>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16" name="AutoShape 290"/>
          <p:cNvSpPr>
            <a:spLocks noChangeArrowheads="1"/>
          </p:cNvSpPr>
          <p:nvPr/>
        </p:nvSpPr>
        <p:spPr bwMode="auto">
          <a:xfrm>
            <a:off x="4672013" y="7629525"/>
            <a:ext cx="1050132" cy="183357"/>
          </a:xfrm>
          <a:prstGeom prst="rightArrow">
            <a:avLst>
              <a:gd name="adj1" fmla="val 50000"/>
              <a:gd name="adj2" fmla="val 143181"/>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813" name="AutoShape 291" descr="50%"/>
          <p:cNvSpPr>
            <a:spLocks noChangeArrowheads="1"/>
          </p:cNvSpPr>
          <p:nvPr/>
        </p:nvSpPr>
        <p:spPr bwMode="auto">
          <a:xfrm>
            <a:off x="5669757" y="8327232"/>
            <a:ext cx="626268" cy="654843"/>
          </a:xfrm>
          <a:prstGeom prst="downArrow">
            <a:avLst>
              <a:gd name="adj1" fmla="val 50000"/>
              <a:gd name="adj2" fmla="val 25000"/>
            </a:avLst>
          </a:prstGeom>
          <a:solidFill>
            <a:schemeClr val="bg1">
              <a:lumMod val="75000"/>
            </a:schemeClr>
          </a:solidFill>
          <a:ln w="9525">
            <a:solidFill>
              <a:schemeClr val="tx1"/>
            </a:solidFill>
            <a:miter lim="800000"/>
            <a:headEnd type="none" w="sm" len="sm"/>
            <a:tailEnd type="none" w="sm" len="sm"/>
          </a:ln>
          <a:effectLst/>
        </p:spPr>
        <p:txBody>
          <a:bodyPr wrap="none" lIns="134742" tIns="66194" rIns="134742" bIns="66194" anchor="ctr"/>
          <a:lstStyle/>
          <a:p>
            <a:pPr>
              <a:defRPr/>
            </a:pPr>
            <a:endParaRPr lang="pt-BR"/>
          </a:p>
        </p:txBody>
      </p:sp>
      <p:sp>
        <p:nvSpPr>
          <p:cNvPr id="21518" name="Text Box 292"/>
          <p:cNvSpPr txBox="1">
            <a:spLocks noChangeArrowheads="1"/>
          </p:cNvSpPr>
          <p:nvPr/>
        </p:nvSpPr>
        <p:spPr bwMode="auto">
          <a:xfrm>
            <a:off x="2533650" y="6669882"/>
            <a:ext cx="917196" cy="425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lIns="149363" tIns="73373" rIns="149363" bIns="73373">
            <a:spAutoFit/>
          </a:bodyPr>
          <a:lstStyle>
            <a:lvl1pPr defTabSz="1014413">
              <a:spcBef>
                <a:spcPct val="20000"/>
              </a:spcBef>
              <a:buChar char="•"/>
              <a:defRPr sz="3200">
                <a:solidFill>
                  <a:srgbClr val="404040"/>
                </a:solidFill>
                <a:latin typeface="Times New Roman" panose="02020603050405020304" pitchFamily="18" charset="0"/>
              </a:defRPr>
            </a:lvl1pPr>
            <a:lvl2pPr marL="742950" indent="-285750" defTabSz="1014413">
              <a:spcBef>
                <a:spcPct val="20000"/>
              </a:spcBef>
              <a:buChar char="–"/>
              <a:defRPr sz="2800">
                <a:solidFill>
                  <a:srgbClr val="404040"/>
                </a:solidFill>
                <a:latin typeface="Times New Roman" panose="02020603050405020304" pitchFamily="18" charset="0"/>
              </a:defRPr>
            </a:lvl2pPr>
            <a:lvl3pPr marL="1143000" indent="-228600" defTabSz="1014413">
              <a:spcBef>
                <a:spcPct val="20000"/>
              </a:spcBef>
              <a:buChar char="•"/>
              <a:defRPr sz="2400">
                <a:solidFill>
                  <a:srgbClr val="404040"/>
                </a:solidFill>
                <a:latin typeface="Times New Roman" panose="02020603050405020304" pitchFamily="18" charset="0"/>
              </a:defRPr>
            </a:lvl3pPr>
            <a:lvl4pPr marL="1600200" indent="-228600" defTabSz="1014413">
              <a:spcBef>
                <a:spcPct val="20000"/>
              </a:spcBef>
              <a:buChar char="–"/>
              <a:defRPr sz="2000">
                <a:solidFill>
                  <a:srgbClr val="404040"/>
                </a:solidFill>
                <a:latin typeface="Times New Roman" panose="02020603050405020304" pitchFamily="18" charset="0"/>
              </a:defRPr>
            </a:lvl4pPr>
            <a:lvl5pPr marL="2057400" indent="-228600" defTabSz="1014413">
              <a:spcBef>
                <a:spcPct val="20000"/>
              </a:spcBef>
              <a:buChar char="»"/>
              <a:defRPr sz="2000">
                <a:solidFill>
                  <a:srgbClr val="404040"/>
                </a:solidFill>
                <a:latin typeface="Times New Roman" panose="02020603050405020304" pitchFamily="18" charset="0"/>
              </a:defRPr>
            </a:lvl5pPr>
            <a:lvl6pPr marL="25146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rgbClr val="000099"/>
                </a:solidFill>
                <a:latin typeface="Arial" panose="020B0604020202020204" pitchFamily="34" charset="0"/>
              </a:rPr>
              <a:t>Idéias</a:t>
            </a:r>
          </a:p>
        </p:txBody>
      </p:sp>
      <p:sp>
        <p:nvSpPr>
          <p:cNvPr id="21519" name="Oval 293"/>
          <p:cNvSpPr>
            <a:spLocks noChangeArrowheads="1"/>
          </p:cNvSpPr>
          <p:nvPr/>
        </p:nvSpPr>
        <p:spPr bwMode="auto">
          <a:xfrm>
            <a:off x="9632157" y="7536658"/>
            <a:ext cx="219075" cy="126206"/>
          </a:xfrm>
          <a:prstGeom prst="ellipse">
            <a:avLst/>
          </a:prstGeom>
          <a:solidFill>
            <a:srgbClr val="66CCFF"/>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0" name="Oval 294"/>
          <p:cNvSpPr>
            <a:spLocks noChangeArrowheads="1"/>
          </p:cNvSpPr>
          <p:nvPr/>
        </p:nvSpPr>
        <p:spPr bwMode="auto">
          <a:xfrm>
            <a:off x="9570245" y="7115175"/>
            <a:ext cx="330993" cy="161925"/>
          </a:xfrm>
          <a:prstGeom prst="ellipse">
            <a:avLst/>
          </a:prstGeom>
          <a:solidFill>
            <a:schemeClr val="accent1"/>
          </a:solidFill>
          <a:ln w="9525">
            <a:solidFill>
              <a:schemeClr val="tx1"/>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1" name="Oval 295"/>
          <p:cNvSpPr>
            <a:spLocks noChangeArrowheads="1"/>
          </p:cNvSpPr>
          <p:nvPr/>
        </p:nvSpPr>
        <p:spPr bwMode="auto">
          <a:xfrm>
            <a:off x="9598820" y="7381875"/>
            <a:ext cx="283368" cy="152400"/>
          </a:xfrm>
          <a:prstGeom prst="ellipse">
            <a:avLst/>
          </a:prstGeom>
          <a:solidFill>
            <a:srgbClr val="B2B2B2"/>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2" name="Oval 296"/>
          <p:cNvSpPr>
            <a:spLocks noChangeArrowheads="1"/>
          </p:cNvSpPr>
          <p:nvPr/>
        </p:nvSpPr>
        <p:spPr bwMode="auto">
          <a:xfrm>
            <a:off x="9653588" y="7279483"/>
            <a:ext cx="171450" cy="97631"/>
          </a:xfrm>
          <a:prstGeom prst="ellipse">
            <a:avLst/>
          </a:prstGeom>
          <a:solidFill>
            <a:srgbClr val="0000CC"/>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3" name="Oval 297"/>
          <p:cNvSpPr>
            <a:spLocks noChangeArrowheads="1"/>
          </p:cNvSpPr>
          <p:nvPr/>
        </p:nvSpPr>
        <p:spPr bwMode="auto">
          <a:xfrm>
            <a:off x="9582151" y="8255795"/>
            <a:ext cx="330995" cy="159543"/>
          </a:xfrm>
          <a:prstGeom prst="ellipse">
            <a:avLst/>
          </a:prstGeom>
          <a:solidFill>
            <a:schemeClr val="accent1"/>
          </a:solidFill>
          <a:ln w="9525">
            <a:solidFill>
              <a:schemeClr val="tx1"/>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4" name="Oval 298"/>
          <p:cNvSpPr>
            <a:spLocks noChangeArrowheads="1"/>
          </p:cNvSpPr>
          <p:nvPr/>
        </p:nvSpPr>
        <p:spPr bwMode="auto">
          <a:xfrm>
            <a:off x="9655970" y="8151020"/>
            <a:ext cx="173831" cy="95250"/>
          </a:xfrm>
          <a:prstGeom prst="ellipse">
            <a:avLst/>
          </a:prstGeom>
          <a:solidFill>
            <a:srgbClr val="0000CC"/>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5" name="Oval 299"/>
          <p:cNvSpPr>
            <a:spLocks noChangeArrowheads="1"/>
          </p:cNvSpPr>
          <p:nvPr/>
        </p:nvSpPr>
        <p:spPr bwMode="auto">
          <a:xfrm>
            <a:off x="9582151" y="7665245"/>
            <a:ext cx="330995" cy="159543"/>
          </a:xfrm>
          <a:prstGeom prst="ellipse">
            <a:avLst/>
          </a:prstGeom>
          <a:solidFill>
            <a:schemeClr val="accent1"/>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6" name="Oval 300"/>
          <p:cNvSpPr>
            <a:spLocks noChangeArrowheads="1"/>
          </p:cNvSpPr>
          <p:nvPr/>
        </p:nvSpPr>
        <p:spPr bwMode="auto">
          <a:xfrm>
            <a:off x="9598820" y="7996238"/>
            <a:ext cx="283368" cy="154782"/>
          </a:xfrm>
          <a:prstGeom prst="ellipse">
            <a:avLst/>
          </a:prstGeom>
          <a:solidFill>
            <a:srgbClr val="B2B2B2"/>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27" name="Oval 301"/>
          <p:cNvSpPr>
            <a:spLocks noChangeArrowheads="1"/>
          </p:cNvSpPr>
          <p:nvPr/>
        </p:nvSpPr>
        <p:spPr bwMode="auto">
          <a:xfrm>
            <a:off x="9596438" y="7831932"/>
            <a:ext cx="304800" cy="161925"/>
          </a:xfrm>
          <a:prstGeom prst="ellipse">
            <a:avLst/>
          </a:prstGeom>
          <a:solidFill>
            <a:schemeClr val="accent1"/>
          </a:solidFill>
          <a:ln w="9525">
            <a:solidFill>
              <a:schemeClr val="bg2"/>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nvGrpSpPr>
          <p:cNvPr id="21528" name="Group 302"/>
          <p:cNvGrpSpPr>
            <a:grpSpLocks/>
          </p:cNvGrpSpPr>
          <p:nvPr/>
        </p:nvGrpSpPr>
        <p:grpSpPr bwMode="auto">
          <a:xfrm>
            <a:off x="4162425" y="7305676"/>
            <a:ext cx="516732" cy="271463"/>
            <a:chOff x="560" y="1368"/>
            <a:chExt cx="264" cy="296"/>
          </a:xfrm>
        </p:grpSpPr>
        <p:sp>
          <p:nvSpPr>
            <p:cNvPr id="21756" name="Oval 303"/>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7" name="Oval 304"/>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8" name="Oval 305"/>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9" name="Oval 306"/>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29" name="Group 307"/>
          <p:cNvGrpSpPr>
            <a:grpSpLocks/>
          </p:cNvGrpSpPr>
          <p:nvPr/>
        </p:nvGrpSpPr>
        <p:grpSpPr bwMode="auto">
          <a:xfrm>
            <a:off x="4188620" y="7562851"/>
            <a:ext cx="519113" cy="271463"/>
            <a:chOff x="560" y="1368"/>
            <a:chExt cx="264" cy="296"/>
          </a:xfrm>
        </p:grpSpPr>
        <p:sp>
          <p:nvSpPr>
            <p:cNvPr id="21752" name="Oval 308"/>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3" name="Oval 309"/>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4" name="Oval 310"/>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5" name="Oval 311"/>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0" name="Group 312"/>
          <p:cNvGrpSpPr>
            <a:grpSpLocks/>
          </p:cNvGrpSpPr>
          <p:nvPr/>
        </p:nvGrpSpPr>
        <p:grpSpPr bwMode="auto">
          <a:xfrm flipV="1">
            <a:off x="4174333" y="7855745"/>
            <a:ext cx="519113" cy="273843"/>
            <a:chOff x="560" y="1368"/>
            <a:chExt cx="264" cy="296"/>
          </a:xfrm>
        </p:grpSpPr>
        <p:sp>
          <p:nvSpPr>
            <p:cNvPr id="21748" name="Oval 313"/>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9" name="Oval 314"/>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0" name="Oval 315"/>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51" name="Oval 316"/>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1" name="Group 317"/>
          <p:cNvGrpSpPr>
            <a:grpSpLocks/>
          </p:cNvGrpSpPr>
          <p:nvPr/>
        </p:nvGrpSpPr>
        <p:grpSpPr bwMode="auto">
          <a:xfrm flipV="1">
            <a:off x="4202908" y="7598570"/>
            <a:ext cx="516731" cy="271463"/>
            <a:chOff x="560" y="1368"/>
            <a:chExt cx="264" cy="296"/>
          </a:xfrm>
        </p:grpSpPr>
        <p:sp>
          <p:nvSpPr>
            <p:cNvPr id="21744" name="Oval 318"/>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5" name="Oval 319"/>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6" name="Oval 320"/>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7" name="Oval 321"/>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2" name="Group 322"/>
          <p:cNvGrpSpPr>
            <a:grpSpLocks/>
          </p:cNvGrpSpPr>
          <p:nvPr/>
        </p:nvGrpSpPr>
        <p:grpSpPr bwMode="auto">
          <a:xfrm>
            <a:off x="3476626" y="9093995"/>
            <a:ext cx="483395" cy="292893"/>
            <a:chOff x="963" y="3236"/>
            <a:chExt cx="296" cy="319"/>
          </a:xfrm>
        </p:grpSpPr>
        <p:sp>
          <p:nvSpPr>
            <p:cNvPr id="21740" name="Oval 32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1" name="Oval 32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2" name="Oval 32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43" name="Oval 32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3" name="Group 327"/>
          <p:cNvGrpSpPr>
            <a:grpSpLocks/>
          </p:cNvGrpSpPr>
          <p:nvPr/>
        </p:nvGrpSpPr>
        <p:grpSpPr bwMode="auto">
          <a:xfrm flipH="1" flipV="1">
            <a:off x="3893345" y="9048751"/>
            <a:ext cx="481013" cy="292895"/>
            <a:chOff x="963" y="3236"/>
            <a:chExt cx="296" cy="319"/>
          </a:xfrm>
        </p:grpSpPr>
        <p:sp>
          <p:nvSpPr>
            <p:cNvPr id="21736" name="Oval 32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7" name="Oval 32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8" name="Oval 33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9" name="Oval 33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4" name="Group 332"/>
          <p:cNvGrpSpPr>
            <a:grpSpLocks/>
          </p:cNvGrpSpPr>
          <p:nvPr/>
        </p:nvGrpSpPr>
        <p:grpSpPr bwMode="auto">
          <a:xfrm>
            <a:off x="4264820" y="7150895"/>
            <a:ext cx="1143000" cy="1131093"/>
            <a:chOff x="1824" y="1568"/>
            <a:chExt cx="703" cy="1232"/>
          </a:xfrm>
        </p:grpSpPr>
        <p:grpSp>
          <p:nvGrpSpPr>
            <p:cNvPr id="21654" name="Group 333"/>
            <p:cNvGrpSpPr>
              <a:grpSpLocks/>
            </p:cNvGrpSpPr>
            <p:nvPr/>
          </p:nvGrpSpPr>
          <p:grpSpPr bwMode="auto">
            <a:xfrm flipH="1">
              <a:off x="2160" y="2008"/>
              <a:ext cx="319" cy="296"/>
              <a:chOff x="560" y="1368"/>
              <a:chExt cx="264" cy="296"/>
            </a:xfrm>
          </p:grpSpPr>
          <p:sp>
            <p:nvSpPr>
              <p:cNvPr id="21732" name="Oval 3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3" name="Oval 3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4" name="Oval 3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5" name="Oval 3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sp>
          <p:nvSpPr>
            <p:cNvPr id="21655" name="Oval 338"/>
            <p:cNvSpPr>
              <a:spLocks noChangeArrowheads="1"/>
            </p:cNvSpPr>
            <p:nvPr/>
          </p:nvSpPr>
          <p:spPr bwMode="auto">
            <a:xfrm>
              <a:off x="1966" y="1616"/>
              <a:ext cx="17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56" name="Oval 339"/>
            <p:cNvSpPr>
              <a:spLocks noChangeArrowheads="1"/>
            </p:cNvSpPr>
            <p:nvPr/>
          </p:nvSpPr>
          <p:spPr bwMode="auto">
            <a:xfrm>
              <a:off x="2001" y="1568"/>
              <a:ext cx="106"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nvGrpSpPr>
            <p:cNvPr id="21657" name="Group 340"/>
            <p:cNvGrpSpPr>
              <a:grpSpLocks/>
            </p:cNvGrpSpPr>
            <p:nvPr/>
          </p:nvGrpSpPr>
          <p:grpSpPr bwMode="auto">
            <a:xfrm>
              <a:off x="2030" y="1928"/>
              <a:ext cx="319" cy="296"/>
              <a:chOff x="560" y="1368"/>
              <a:chExt cx="264" cy="296"/>
            </a:xfrm>
          </p:grpSpPr>
          <p:sp>
            <p:nvSpPr>
              <p:cNvPr id="21728" name="Oval 34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9" name="Oval 34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0" name="Oval 34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31" name="Oval 34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58" name="Group 345"/>
            <p:cNvGrpSpPr>
              <a:grpSpLocks/>
            </p:cNvGrpSpPr>
            <p:nvPr/>
          </p:nvGrpSpPr>
          <p:grpSpPr bwMode="auto">
            <a:xfrm>
              <a:off x="1933" y="2048"/>
              <a:ext cx="319" cy="296"/>
              <a:chOff x="560" y="1368"/>
              <a:chExt cx="264" cy="296"/>
            </a:xfrm>
          </p:grpSpPr>
          <p:sp>
            <p:nvSpPr>
              <p:cNvPr id="21724" name="Oval 34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5" name="Oval 34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6" name="Oval 34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7" name="Oval 34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59" name="Group 350"/>
            <p:cNvGrpSpPr>
              <a:grpSpLocks/>
            </p:cNvGrpSpPr>
            <p:nvPr/>
          </p:nvGrpSpPr>
          <p:grpSpPr bwMode="auto">
            <a:xfrm>
              <a:off x="2204" y="1864"/>
              <a:ext cx="319" cy="296"/>
              <a:chOff x="560" y="1368"/>
              <a:chExt cx="264" cy="296"/>
            </a:xfrm>
          </p:grpSpPr>
          <p:sp>
            <p:nvSpPr>
              <p:cNvPr id="21720" name="Oval 35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1" name="Oval 35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2" name="Oval 35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23" name="Oval 35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0" name="Group 355"/>
            <p:cNvGrpSpPr>
              <a:grpSpLocks/>
            </p:cNvGrpSpPr>
            <p:nvPr/>
          </p:nvGrpSpPr>
          <p:grpSpPr bwMode="auto">
            <a:xfrm>
              <a:off x="1872" y="1952"/>
              <a:ext cx="319" cy="296"/>
              <a:chOff x="560" y="1368"/>
              <a:chExt cx="264" cy="296"/>
            </a:xfrm>
          </p:grpSpPr>
          <p:sp>
            <p:nvSpPr>
              <p:cNvPr id="21716" name="Oval 35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7" name="Oval 35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8" name="Oval 35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9" name="Oval 35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1" name="Group 360"/>
            <p:cNvGrpSpPr>
              <a:grpSpLocks/>
            </p:cNvGrpSpPr>
            <p:nvPr/>
          </p:nvGrpSpPr>
          <p:grpSpPr bwMode="auto">
            <a:xfrm>
              <a:off x="1912" y="1808"/>
              <a:ext cx="319" cy="296"/>
              <a:chOff x="560" y="1368"/>
              <a:chExt cx="264" cy="296"/>
            </a:xfrm>
          </p:grpSpPr>
          <p:sp>
            <p:nvSpPr>
              <p:cNvPr id="21712" name="Oval 36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3" name="Oval 36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4" name="Oval 36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5" name="Oval 36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2" name="Group 365"/>
            <p:cNvGrpSpPr>
              <a:grpSpLocks/>
            </p:cNvGrpSpPr>
            <p:nvPr/>
          </p:nvGrpSpPr>
          <p:grpSpPr bwMode="auto">
            <a:xfrm>
              <a:off x="2168" y="2120"/>
              <a:ext cx="319" cy="296"/>
              <a:chOff x="560" y="1368"/>
              <a:chExt cx="264" cy="296"/>
            </a:xfrm>
          </p:grpSpPr>
          <p:sp>
            <p:nvSpPr>
              <p:cNvPr id="21708" name="Oval 36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9" name="Oval 36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0" name="Oval 36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11" name="Oval 36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3" name="Group 370"/>
            <p:cNvGrpSpPr>
              <a:grpSpLocks/>
            </p:cNvGrpSpPr>
            <p:nvPr/>
          </p:nvGrpSpPr>
          <p:grpSpPr bwMode="auto">
            <a:xfrm>
              <a:off x="2040" y="1728"/>
              <a:ext cx="319" cy="296"/>
              <a:chOff x="560" y="1368"/>
              <a:chExt cx="264" cy="296"/>
            </a:xfrm>
          </p:grpSpPr>
          <p:sp>
            <p:nvSpPr>
              <p:cNvPr id="21704" name="Oval 37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5" name="Oval 37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6" name="Oval 37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7" name="Oval 37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4" name="Group 375"/>
            <p:cNvGrpSpPr>
              <a:grpSpLocks/>
            </p:cNvGrpSpPr>
            <p:nvPr/>
          </p:nvGrpSpPr>
          <p:grpSpPr bwMode="auto">
            <a:xfrm flipH="1">
              <a:off x="1824" y="1568"/>
              <a:ext cx="319" cy="296"/>
              <a:chOff x="560" y="1368"/>
              <a:chExt cx="264" cy="296"/>
            </a:xfrm>
          </p:grpSpPr>
          <p:sp>
            <p:nvSpPr>
              <p:cNvPr id="21700" name="Oval 37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1" name="Oval 37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2" name="Oval 37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703" name="Oval 37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5" name="Group 380"/>
            <p:cNvGrpSpPr>
              <a:grpSpLocks/>
            </p:cNvGrpSpPr>
            <p:nvPr/>
          </p:nvGrpSpPr>
          <p:grpSpPr bwMode="auto">
            <a:xfrm flipV="1">
              <a:off x="2038" y="2144"/>
              <a:ext cx="319" cy="296"/>
              <a:chOff x="560" y="1368"/>
              <a:chExt cx="264" cy="296"/>
            </a:xfrm>
          </p:grpSpPr>
          <p:sp>
            <p:nvSpPr>
              <p:cNvPr id="21696" name="Oval 38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7" name="Oval 38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8" name="Oval 38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9" name="Oval 38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6" name="Group 385"/>
            <p:cNvGrpSpPr>
              <a:grpSpLocks/>
            </p:cNvGrpSpPr>
            <p:nvPr/>
          </p:nvGrpSpPr>
          <p:grpSpPr bwMode="auto">
            <a:xfrm flipV="1">
              <a:off x="1941" y="2024"/>
              <a:ext cx="319" cy="296"/>
              <a:chOff x="560" y="1368"/>
              <a:chExt cx="264" cy="296"/>
            </a:xfrm>
          </p:grpSpPr>
          <p:sp>
            <p:nvSpPr>
              <p:cNvPr id="21692" name="Oval 38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3" name="Oval 38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4" name="Oval 38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5" name="Oval 38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7" name="Group 390"/>
            <p:cNvGrpSpPr>
              <a:grpSpLocks/>
            </p:cNvGrpSpPr>
            <p:nvPr/>
          </p:nvGrpSpPr>
          <p:grpSpPr bwMode="auto">
            <a:xfrm flipV="1">
              <a:off x="2208" y="2152"/>
              <a:ext cx="319" cy="296"/>
              <a:chOff x="560" y="1368"/>
              <a:chExt cx="264" cy="296"/>
            </a:xfrm>
          </p:grpSpPr>
          <p:sp>
            <p:nvSpPr>
              <p:cNvPr id="21688" name="Oval 39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9" name="Oval 39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0" name="Oval 39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91" name="Oval 39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8" name="Group 395"/>
            <p:cNvGrpSpPr>
              <a:grpSpLocks/>
            </p:cNvGrpSpPr>
            <p:nvPr/>
          </p:nvGrpSpPr>
          <p:grpSpPr bwMode="auto">
            <a:xfrm flipV="1">
              <a:off x="1880" y="2120"/>
              <a:ext cx="319" cy="296"/>
              <a:chOff x="560" y="1368"/>
              <a:chExt cx="264" cy="296"/>
            </a:xfrm>
          </p:grpSpPr>
          <p:sp>
            <p:nvSpPr>
              <p:cNvPr id="21684" name="Oval 39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5" name="Oval 39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6" name="Oval 39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7" name="Oval 39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69" name="Group 400"/>
            <p:cNvGrpSpPr>
              <a:grpSpLocks/>
            </p:cNvGrpSpPr>
            <p:nvPr/>
          </p:nvGrpSpPr>
          <p:grpSpPr bwMode="auto">
            <a:xfrm flipV="1">
              <a:off x="1920" y="2264"/>
              <a:ext cx="319" cy="296"/>
              <a:chOff x="560" y="1368"/>
              <a:chExt cx="264" cy="296"/>
            </a:xfrm>
          </p:grpSpPr>
          <p:sp>
            <p:nvSpPr>
              <p:cNvPr id="21680" name="Oval 40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1" name="Oval 40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2" name="Oval 40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83" name="Oval 40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70" name="Group 405"/>
            <p:cNvGrpSpPr>
              <a:grpSpLocks/>
            </p:cNvGrpSpPr>
            <p:nvPr/>
          </p:nvGrpSpPr>
          <p:grpSpPr bwMode="auto">
            <a:xfrm flipV="1">
              <a:off x="2048" y="2344"/>
              <a:ext cx="319" cy="296"/>
              <a:chOff x="560" y="1368"/>
              <a:chExt cx="264" cy="296"/>
            </a:xfrm>
          </p:grpSpPr>
          <p:sp>
            <p:nvSpPr>
              <p:cNvPr id="21676" name="Oval 40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7" name="Oval 40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8" name="Oval 40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9" name="Oval 40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671" name="Group 410"/>
            <p:cNvGrpSpPr>
              <a:grpSpLocks/>
            </p:cNvGrpSpPr>
            <p:nvPr/>
          </p:nvGrpSpPr>
          <p:grpSpPr bwMode="auto">
            <a:xfrm flipH="1" flipV="1">
              <a:off x="1832" y="2504"/>
              <a:ext cx="319" cy="296"/>
              <a:chOff x="560" y="1368"/>
              <a:chExt cx="264" cy="296"/>
            </a:xfrm>
          </p:grpSpPr>
          <p:sp>
            <p:nvSpPr>
              <p:cNvPr id="21672" name="Oval 41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3" name="Oval 41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4" name="Oval 41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75" name="Oval 41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grpSp>
        <p:nvGrpSpPr>
          <p:cNvPr id="21535" name="Group 415"/>
          <p:cNvGrpSpPr>
            <a:grpSpLocks/>
          </p:cNvGrpSpPr>
          <p:nvPr/>
        </p:nvGrpSpPr>
        <p:grpSpPr bwMode="auto">
          <a:xfrm>
            <a:off x="3881438" y="8996363"/>
            <a:ext cx="481013" cy="292895"/>
            <a:chOff x="963" y="3236"/>
            <a:chExt cx="296" cy="319"/>
          </a:xfrm>
        </p:grpSpPr>
        <p:sp>
          <p:nvSpPr>
            <p:cNvPr id="21650" name="Oval 41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51" name="Oval 41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52" name="Oval 41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53" name="Oval 41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6" name="Group 420"/>
          <p:cNvGrpSpPr>
            <a:grpSpLocks/>
          </p:cNvGrpSpPr>
          <p:nvPr/>
        </p:nvGrpSpPr>
        <p:grpSpPr bwMode="auto">
          <a:xfrm flipV="1">
            <a:off x="2905126" y="8953501"/>
            <a:ext cx="483395" cy="292895"/>
            <a:chOff x="963" y="3236"/>
            <a:chExt cx="296" cy="319"/>
          </a:xfrm>
        </p:grpSpPr>
        <p:sp>
          <p:nvSpPr>
            <p:cNvPr id="21646" name="Oval 42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7" name="Oval 42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8" name="Oval 42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9" name="Oval 42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7" name="Group 425"/>
          <p:cNvGrpSpPr>
            <a:grpSpLocks/>
          </p:cNvGrpSpPr>
          <p:nvPr/>
        </p:nvGrpSpPr>
        <p:grpSpPr bwMode="auto">
          <a:xfrm flipH="1">
            <a:off x="3217070" y="9077325"/>
            <a:ext cx="481013" cy="295275"/>
            <a:chOff x="963" y="3236"/>
            <a:chExt cx="296" cy="319"/>
          </a:xfrm>
        </p:grpSpPr>
        <p:sp>
          <p:nvSpPr>
            <p:cNvPr id="21642" name="Oval 42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3" name="Oval 42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4" name="Oval 42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5" name="Oval 42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8" name="Group 430"/>
          <p:cNvGrpSpPr>
            <a:grpSpLocks/>
          </p:cNvGrpSpPr>
          <p:nvPr/>
        </p:nvGrpSpPr>
        <p:grpSpPr bwMode="auto">
          <a:xfrm flipV="1">
            <a:off x="3202783" y="8982076"/>
            <a:ext cx="481013" cy="292895"/>
            <a:chOff x="963" y="3236"/>
            <a:chExt cx="296" cy="319"/>
          </a:xfrm>
        </p:grpSpPr>
        <p:sp>
          <p:nvSpPr>
            <p:cNvPr id="21638" name="Oval 43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9" name="Oval 43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0" name="Oval 43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41" name="Oval 43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39" name="Group 435"/>
          <p:cNvGrpSpPr>
            <a:grpSpLocks/>
          </p:cNvGrpSpPr>
          <p:nvPr/>
        </p:nvGrpSpPr>
        <p:grpSpPr bwMode="auto">
          <a:xfrm flipV="1">
            <a:off x="2826545" y="9070182"/>
            <a:ext cx="481013" cy="292893"/>
            <a:chOff x="963" y="3236"/>
            <a:chExt cx="296" cy="319"/>
          </a:xfrm>
        </p:grpSpPr>
        <p:sp>
          <p:nvSpPr>
            <p:cNvPr id="21634" name="Oval 43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5" name="Oval 43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6" name="Oval 43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7" name="Oval 43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0" name="Group 440"/>
          <p:cNvGrpSpPr>
            <a:grpSpLocks/>
          </p:cNvGrpSpPr>
          <p:nvPr/>
        </p:nvGrpSpPr>
        <p:grpSpPr bwMode="auto">
          <a:xfrm flipV="1">
            <a:off x="3531395" y="8974932"/>
            <a:ext cx="478631" cy="292893"/>
            <a:chOff x="963" y="3236"/>
            <a:chExt cx="296" cy="319"/>
          </a:xfrm>
        </p:grpSpPr>
        <p:sp>
          <p:nvSpPr>
            <p:cNvPr id="21630" name="Oval 44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1" name="Oval 44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2" name="Oval 44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33" name="Oval 44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1" name="Group 445"/>
          <p:cNvGrpSpPr>
            <a:grpSpLocks/>
          </p:cNvGrpSpPr>
          <p:nvPr/>
        </p:nvGrpSpPr>
        <p:grpSpPr bwMode="auto">
          <a:xfrm>
            <a:off x="5684045" y="6760370"/>
            <a:ext cx="766763" cy="1847850"/>
            <a:chOff x="5008" y="2040"/>
            <a:chExt cx="472" cy="2008"/>
          </a:xfrm>
        </p:grpSpPr>
        <p:sp>
          <p:nvSpPr>
            <p:cNvPr id="21628" name="Rectangle 446"/>
            <p:cNvSpPr>
              <a:spLocks noChangeArrowheads="1"/>
            </p:cNvSpPr>
            <p:nvPr/>
          </p:nvSpPr>
          <p:spPr bwMode="auto">
            <a:xfrm>
              <a:off x="5008" y="2408"/>
              <a:ext cx="91" cy="1640"/>
            </a:xfrm>
            <a:prstGeom prst="rect">
              <a:avLst/>
            </a:prstGeom>
            <a:solidFill>
              <a:schemeClr val="hlink"/>
            </a:solidFill>
            <a:ln w="9525">
              <a:miter lim="800000"/>
              <a:headEnd/>
              <a:tailEnd/>
            </a:ln>
            <a:scene3d>
              <a:camera prst="legacyObliqueTopRight"/>
              <a:lightRig rig="legacyFlat3" dir="b"/>
            </a:scene3d>
            <a:sp3d extrusionH="1801800" prstMaterial="legacyMatte">
              <a:bevelT w="13500" h="13500" prst="angle"/>
              <a:bevelB w="13500" h="13500" prst="angle"/>
              <a:extrusionClr>
                <a:schemeClr val="hlink"/>
              </a:extrusionClr>
              <a:contourClr>
                <a:schemeClr val="hlink"/>
              </a:contourClr>
            </a:sp3d>
          </p:spPr>
          <p:txBody>
            <a:bodyPr wrap="none" lIns="135732" tIns="66675" rIns="135732" bIns="66675" anchor="ctr">
              <a:flatTx/>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9" name="Freeform 447" descr="Small grid"/>
            <p:cNvSpPr>
              <a:spLocks/>
            </p:cNvSpPr>
            <p:nvPr/>
          </p:nvSpPr>
          <p:spPr bwMode="auto">
            <a:xfrm>
              <a:off x="5088" y="2040"/>
              <a:ext cx="392" cy="1992"/>
            </a:xfrm>
            <a:custGeom>
              <a:avLst/>
              <a:gdLst>
                <a:gd name="T0" fmla="*/ 12 w 408"/>
                <a:gd name="T1" fmla="*/ 31 h 2040"/>
                <a:gd name="T2" fmla="*/ 12 w 408"/>
                <a:gd name="T3" fmla="*/ 0 h 2040"/>
                <a:gd name="T4" fmla="*/ 12 w 408"/>
                <a:gd name="T5" fmla="*/ 124 h 2040"/>
                <a:gd name="T6" fmla="*/ 0 w 408"/>
                <a:gd name="T7" fmla="*/ 156 h 2040"/>
                <a:gd name="T8" fmla="*/ 12 w 408"/>
                <a:gd name="T9" fmla="*/ 31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blipFill dpi="0" rotWithShape="0">
              <a:blip r:embed="rId4"/>
              <a:srcRect/>
              <a:tile tx="0" ty="0" sx="100000" sy="100000" flip="none" algn="tl"/>
            </a:blipFill>
            <a:ln>
              <a:noFill/>
            </a:ln>
            <a:extLst>
              <a:ext uri="{91240B29-F687-4F45-9708-019B960494DF}">
                <a14:hiddenLine xmlns:a14="http://schemas.microsoft.com/office/drawing/2010/main" w="9525" cap="flat" cmpd="sng">
                  <a:solidFill>
                    <a:srgbClr val="000000"/>
                  </a:solidFill>
                  <a:prstDash val="solid"/>
                  <a:round/>
                  <a:headEnd type="none" w="sm" len="sm"/>
                  <a:tailEnd type="none" w="sm" len="sm"/>
                </a14:hiddenLine>
              </a:ext>
            </a:extLst>
          </p:spPr>
          <p:txBody>
            <a:bodyPr wrap="none" lIns="135732" tIns="66675" rIns="135732" bIns="66675" anchor="ctr"/>
            <a:lstStyle/>
            <a:p>
              <a:endParaRPr lang="pt-BR"/>
            </a:p>
          </p:txBody>
        </p:sp>
      </p:grpSp>
      <p:grpSp>
        <p:nvGrpSpPr>
          <p:cNvPr id="21542" name="Group 448"/>
          <p:cNvGrpSpPr>
            <a:grpSpLocks/>
          </p:cNvGrpSpPr>
          <p:nvPr/>
        </p:nvGrpSpPr>
        <p:grpSpPr bwMode="auto">
          <a:xfrm>
            <a:off x="5995988" y="6746082"/>
            <a:ext cx="766763" cy="1845468"/>
            <a:chOff x="2968" y="928"/>
            <a:chExt cx="472" cy="2008"/>
          </a:xfrm>
        </p:grpSpPr>
        <p:sp>
          <p:nvSpPr>
            <p:cNvPr id="21626" name="Rectangle 449"/>
            <p:cNvSpPr>
              <a:spLocks noChangeArrowheads="1"/>
            </p:cNvSpPr>
            <p:nvPr/>
          </p:nvSpPr>
          <p:spPr bwMode="auto">
            <a:xfrm>
              <a:off x="2968" y="1296"/>
              <a:ext cx="91" cy="1640"/>
            </a:xfrm>
            <a:prstGeom prst="rect">
              <a:avLst/>
            </a:prstGeom>
            <a:solidFill>
              <a:schemeClr val="accent2"/>
            </a:solidFill>
            <a:ln w="9525">
              <a:miter lim="800000"/>
              <a:headEnd/>
              <a:tailEnd/>
            </a:ln>
            <a:scene3d>
              <a:camera prst="legacyObliqueTopRight"/>
              <a:lightRig rig="legacyFlat3" dir="b"/>
            </a:scene3d>
            <a:sp3d extrusionH="1801800" prstMaterial="legacyMatte">
              <a:bevelT w="13500" h="13500" prst="angle"/>
              <a:bevelB w="13500" h="13500" prst="angle"/>
              <a:extrusionClr>
                <a:schemeClr val="accent2"/>
              </a:extrusionClr>
              <a:contourClr>
                <a:schemeClr val="accent2"/>
              </a:contourClr>
            </a:sp3d>
          </p:spPr>
          <p:txBody>
            <a:bodyPr wrap="none" lIns="135732" tIns="66675" rIns="135732" bIns="66675" anchor="ctr">
              <a:flatTx/>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7" name="Freeform 450" descr="Small grid"/>
            <p:cNvSpPr>
              <a:spLocks/>
            </p:cNvSpPr>
            <p:nvPr/>
          </p:nvSpPr>
          <p:spPr bwMode="auto">
            <a:xfrm>
              <a:off x="3048" y="928"/>
              <a:ext cx="392" cy="1992"/>
            </a:xfrm>
            <a:custGeom>
              <a:avLst/>
              <a:gdLst>
                <a:gd name="T0" fmla="*/ 12 w 408"/>
                <a:gd name="T1" fmla="*/ 31 h 2040"/>
                <a:gd name="T2" fmla="*/ 12 w 408"/>
                <a:gd name="T3" fmla="*/ 0 h 2040"/>
                <a:gd name="T4" fmla="*/ 12 w 408"/>
                <a:gd name="T5" fmla="*/ 124 h 2040"/>
                <a:gd name="T6" fmla="*/ 0 w 408"/>
                <a:gd name="T7" fmla="*/ 156 h 2040"/>
                <a:gd name="T8" fmla="*/ 12 w 408"/>
                <a:gd name="T9" fmla="*/ 31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blipFill dpi="0" rotWithShape="0">
              <a:blip r:embed="rId5"/>
              <a:srcRect/>
              <a:tile tx="0" ty="0" sx="100000" sy="100000" flip="none" algn="tl"/>
            </a:blipFill>
            <a:ln>
              <a:noFill/>
            </a:ln>
            <a:extLst>
              <a:ext uri="{91240B29-F687-4F45-9708-019B960494DF}">
                <a14:hiddenLine xmlns:a14="http://schemas.microsoft.com/office/drawing/2010/main" w="9525" cap="flat" cmpd="sng">
                  <a:solidFill>
                    <a:srgbClr val="000000"/>
                  </a:solidFill>
                  <a:prstDash val="solid"/>
                  <a:round/>
                  <a:headEnd type="none" w="sm" len="sm"/>
                  <a:tailEnd type="none" w="sm" len="sm"/>
                </a14:hiddenLine>
              </a:ext>
            </a:extLst>
          </p:spPr>
          <p:txBody>
            <a:bodyPr wrap="none" lIns="135732" tIns="66675" rIns="135732" bIns="66675" anchor="ctr"/>
            <a:lstStyle/>
            <a:p>
              <a:endParaRPr lang="pt-BR"/>
            </a:p>
          </p:txBody>
        </p:sp>
      </p:grpSp>
      <p:grpSp>
        <p:nvGrpSpPr>
          <p:cNvPr id="21543" name="Group 451"/>
          <p:cNvGrpSpPr>
            <a:grpSpLocks/>
          </p:cNvGrpSpPr>
          <p:nvPr/>
        </p:nvGrpSpPr>
        <p:grpSpPr bwMode="auto">
          <a:xfrm flipV="1">
            <a:off x="3998120" y="9070182"/>
            <a:ext cx="481013" cy="292893"/>
            <a:chOff x="963" y="3236"/>
            <a:chExt cx="296" cy="319"/>
          </a:xfrm>
        </p:grpSpPr>
        <p:sp>
          <p:nvSpPr>
            <p:cNvPr id="21622" name="Oval 452"/>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3" name="Oval 453"/>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4" name="Oval 454"/>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5" name="Oval 455"/>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4" name="Group 456"/>
          <p:cNvGrpSpPr>
            <a:grpSpLocks/>
          </p:cNvGrpSpPr>
          <p:nvPr/>
        </p:nvGrpSpPr>
        <p:grpSpPr bwMode="auto">
          <a:xfrm flipH="1">
            <a:off x="2645570" y="9084470"/>
            <a:ext cx="478631" cy="295275"/>
            <a:chOff x="963" y="3236"/>
            <a:chExt cx="296" cy="319"/>
          </a:xfrm>
        </p:grpSpPr>
        <p:sp>
          <p:nvSpPr>
            <p:cNvPr id="21618" name="Oval 457"/>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9" name="Oval 458"/>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0" name="Oval 459"/>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21" name="Oval 460"/>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sp>
        <p:nvSpPr>
          <p:cNvPr id="21545" name="Text Box 461"/>
          <p:cNvSpPr txBox="1">
            <a:spLocks noChangeArrowheads="1"/>
          </p:cNvSpPr>
          <p:nvPr/>
        </p:nvSpPr>
        <p:spPr bwMode="auto">
          <a:xfrm>
            <a:off x="4314826" y="6372226"/>
            <a:ext cx="1468629" cy="702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lIns="149363" tIns="73373" rIns="149363" bIns="73373">
            <a:spAutoFit/>
          </a:bodyPr>
          <a:lstStyle>
            <a:lvl1pPr defTabSz="1014413">
              <a:spcBef>
                <a:spcPct val="20000"/>
              </a:spcBef>
              <a:buChar char="•"/>
              <a:defRPr sz="3200">
                <a:solidFill>
                  <a:srgbClr val="404040"/>
                </a:solidFill>
                <a:latin typeface="Times New Roman" panose="02020603050405020304" pitchFamily="18" charset="0"/>
              </a:defRPr>
            </a:lvl1pPr>
            <a:lvl2pPr marL="742950" indent="-285750" defTabSz="1014413">
              <a:spcBef>
                <a:spcPct val="20000"/>
              </a:spcBef>
              <a:buChar char="–"/>
              <a:defRPr sz="2800">
                <a:solidFill>
                  <a:srgbClr val="404040"/>
                </a:solidFill>
                <a:latin typeface="Times New Roman" panose="02020603050405020304" pitchFamily="18" charset="0"/>
              </a:defRPr>
            </a:lvl2pPr>
            <a:lvl3pPr marL="1143000" indent="-228600" defTabSz="1014413">
              <a:spcBef>
                <a:spcPct val="20000"/>
              </a:spcBef>
              <a:buChar char="•"/>
              <a:defRPr sz="2400">
                <a:solidFill>
                  <a:srgbClr val="404040"/>
                </a:solidFill>
                <a:latin typeface="Times New Roman" panose="02020603050405020304" pitchFamily="18" charset="0"/>
              </a:defRPr>
            </a:lvl3pPr>
            <a:lvl4pPr marL="1600200" indent="-228600" defTabSz="1014413">
              <a:spcBef>
                <a:spcPct val="20000"/>
              </a:spcBef>
              <a:buChar char="–"/>
              <a:defRPr sz="2000">
                <a:solidFill>
                  <a:srgbClr val="404040"/>
                </a:solidFill>
                <a:latin typeface="Times New Roman" panose="02020603050405020304" pitchFamily="18" charset="0"/>
              </a:defRPr>
            </a:lvl4pPr>
            <a:lvl5pPr marL="2057400" indent="-228600" defTabSz="1014413">
              <a:spcBef>
                <a:spcPct val="20000"/>
              </a:spcBef>
              <a:buChar char="»"/>
              <a:defRPr sz="2000">
                <a:solidFill>
                  <a:srgbClr val="404040"/>
                </a:solidFill>
                <a:latin typeface="Times New Roman" panose="02020603050405020304" pitchFamily="18" charset="0"/>
              </a:defRPr>
            </a:lvl5pPr>
            <a:lvl6pPr marL="25146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rgbClr val="000099"/>
                </a:solidFill>
                <a:latin typeface="Arial" panose="020B0604020202020204" pitchFamily="34" charset="0"/>
              </a:rPr>
              <a:t>Projetos </a:t>
            </a:r>
          </a:p>
          <a:p>
            <a:pPr>
              <a:spcBef>
                <a:spcPct val="0"/>
              </a:spcBef>
              <a:buFontTx/>
              <a:buNone/>
            </a:pPr>
            <a:r>
              <a:rPr lang="pt-BR" altLang="pt-BR" sz="1800">
                <a:solidFill>
                  <a:srgbClr val="000099"/>
                </a:solidFill>
                <a:latin typeface="Arial" panose="020B0604020202020204" pitchFamily="34" charset="0"/>
              </a:rPr>
              <a:t>Candidatos</a:t>
            </a:r>
          </a:p>
        </p:txBody>
      </p:sp>
      <p:grpSp>
        <p:nvGrpSpPr>
          <p:cNvPr id="21546" name="Group 462"/>
          <p:cNvGrpSpPr>
            <a:grpSpLocks/>
          </p:cNvGrpSpPr>
          <p:nvPr/>
        </p:nvGrpSpPr>
        <p:grpSpPr bwMode="auto">
          <a:xfrm>
            <a:off x="6117432" y="8991601"/>
            <a:ext cx="483393" cy="292895"/>
            <a:chOff x="963" y="3236"/>
            <a:chExt cx="296" cy="319"/>
          </a:xfrm>
        </p:grpSpPr>
        <p:sp>
          <p:nvSpPr>
            <p:cNvPr id="21614" name="Oval 46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5" name="Oval 46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6" name="Oval 46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7" name="Oval 46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7" name="Group 467"/>
          <p:cNvGrpSpPr>
            <a:grpSpLocks/>
          </p:cNvGrpSpPr>
          <p:nvPr/>
        </p:nvGrpSpPr>
        <p:grpSpPr bwMode="auto">
          <a:xfrm flipV="1">
            <a:off x="5729288" y="9005888"/>
            <a:ext cx="481013" cy="290513"/>
            <a:chOff x="963" y="3236"/>
            <a:chExt cx="296" cy="319"/>
          </a:xfrm>
        </p:grpSpPr>
        <p:sp>
          <p:nvSpPr>
            <p:cNvPr id="21610" name="Oval 46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1" name="Oval 46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2" name="Oval 47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13" name="Oval 47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8" name="Group 472"/>
          <p:cNvGrpSpPr>
            <a:grpSpLocks/>
          </p:cNvGrpSpPr>
          <p:nvPr/>
        </p:nvGrpSpPr>
        <p:grpSpPr bwMode="auto">
          <a:xfrm flipH="1">
            <a:off x="5441158" y="9036845"/>
            <a:ext cx="481013" cy="290513"/>
            <a:chOff x="963" y="3236"/>
            <a:chExt cx="296" cy="319"/>
          </a:xfrm>
        </p:grpSpPr>
        <p:sp>
          <p:nvSpPr>
            <p:cNvPr id="21606" name="Oval 47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7" name="Oval 47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8" name="Oval 47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9" name="Oval 47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49" name="Group 477"/>
          <p:cNvGrpSpPr>
            <a:grpSpLocks/>
          </p:cNvGrpSpPr>
          <p:nvPr/>
        </p:nvGrpSpPr>
        <p:grpSpPr bwMode="auto">
          <a:xfrm flipH="1">
            <a:off x="6146008" y="9101138"/>
            <a:ext cx="478631" cy="292895"/>
            <a:chOff x="963" y="3236"/>
            <a:chExt cx="296" cy="319"/>
          </a:xfrm>
        </p:grpSpPr>
        <p:sp>
          <p:nvSpPr>
            <p:cNvPr id="21602" name="Oval 47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3" name="Oval 47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4" name="Oval 48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5" name="Oval 48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50" name="Group 482"/>
          <p:cNvGrpSpPr>
            <a:grpSpLocks/>
          </p:cNvGrpSpPr>
          <p:nvPr/>
        </p:nvGrpSpPr>
        <p:grpSpPr bwMode="auto">
          <a:xfrm flipH="1">
            <a:off x="5765007" y="9120188"/>
            <a:ext cx="483393" cy="295275"/>
            <a:chOff x="963" y="3236"/>
            <a:chExt cx="296" cy="319"/>
          </a:xfrm>
        </p:grpSpPr>
        <p:sp>
          <p:nvSpPr>
            <p:cNvPr id="21598" name="Oval 48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9" name="Oval 48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0" name="Oval 48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601" name="Oval 48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51" name="Group 487"/>
          <p:cNvGrpSpPr>
            <a:grpSpLocks/>
          </p:cNvGrpSpPr>
          <p:nvPr/>
        </p:nvGrpSpPr>
        <p:grpSpPr bwMode="auto">
          <a:xfrm rot="16200000" flipH="1">
            <a:off x="5401867" y="9026129"/>
            <a:ext cx="271463" cy="516731"/>
            <a:chOff x="963" y="3236"/>
            <a:chExt cx="296" cy="319"/>
          </a:xfrm>
        </p:grpSpPr>
        <p:sp>
          <p:nvSpPr>
            <p:cNvPr id="21594" name="Oval 48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5" name="Oval 48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6" name="Oval 49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7" name="Oval 49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52" name="Group 492"/>
          <p:cNvGrpSpPr>
            <a:grpSpLocks/>
          </p:cNvGrpSpPr>
          <p:nvPr/>
        </p:nvGrpSpPr>
        <p:grpSpPr bwMode="auto">
          <a:xfrm>
            <a:off x="8115301" y="6738938"/>
            <a:ext cx="766763" cy="1845470"/>
            <a:chOff x="4304" y="1120"/>
            <a:chExt cx="472" cy="2008"/>
          </a:xfrm>
        </p:grpSpPr>
        <p:sp>
          <p:nvSpPr>
            <p:cNvPr id="21592" name="Rectangle 493"/>
            <p:cNvSpPr>
              <a:spLocks noChangeArrowheads="1"/>
            </p:cNvSpPr>
            <p:nvPr/>
          </p:nvSpPr>
          <p:spPr bwMode="auto">
            <a:xfrm>
              <a:off x="4304" y="1488"/>
              <a:ext cx="91" cy="1640"/>
            </a:xfrm>
            <a:prstGeom prst="rect">
              <a:avLst/>
            </a:prstGeom>
            <a:solidFill>
              <a:srgbClr val="FFCC00"/>
            </a:solidFill>
            <a:ln w="9525">
              <a:miter lim="800000"/>
              <a:headEnd/>
              <a:tailEnd/>
            </a:ln>
            <a:scene3d>
              <a:camera prst="legacyObliqueTopRight"/>
              <a:lightRig rig="legacyFlat3" dir="b"/>
            </a:scene3d>
            <a:sp3d extrusionH="1801800" prstMaterial="legacyMatte">
              <a:bevelT w="13500" h="13500" prst="angle"/>
              <a:bevelB w="13500" h="13500" prst="angle"/>
              <a:extrusionClr>
                <a:srgbClr val="FFCC00"/>
              </a:extrusionClr>
              <a:contourClr>
                <a:srgbClr val="FFCC00"/>
              </a:contourClr>
            </a:sp3d>
          </p:spPr>
          <p:txBody>
            <a:bodyPr wrap="none" lIns="135732" tIns="66675" rIns="135732" bIns="66675" anchor="ctr">
              <a:flatTx/>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3" name="Freeform 494" descr="Small grid"/>
            <p:cNvSpPr>
              <a:spLocks/>
            </p:cNvSpPr>
            <p:nvPr/>
          </p:nvSpPr>
          <p:spPr bwMode="auto">
            <a:xfrm>
              <a:off x="4384" y="1120"/>
              <a:ext cx="392" cy="1992"/>
            </a:xfrm>
            <a:custGeom>
              <a:avLst/>
              <a:gdLst>
                <a:gd name="T0" fmla="*/ 12 w 408"/>
                <a:gd name="T1" fmla="*/ 31 h 2040"/>
                <a:gd name="T2" fmla="*/ 12 w 408"/>
                <a:gd name="T3" fmla="*/ 0 h 2040"/>
                <a:gd name="T4" fmla="*/ 12 w 408"/>
                <a:gd name="T5" fmla="*/ 124 h 2040"/>
                <a:gd name="T6" fmla="*/ 0 w 408"/>
                <a:gd name="T7" fmla="*/ 156 h 2040"/>
                <a:gd name="T8" fmla="*/ 12 w 408"/>
                <a:gd name="T9" fmla="*/ 31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blipFill dpi="0" rotWithShape="0">
              <a:blip r:embed="rId6"/>
              <a:srcRect/>
              <a:tile tx="0" ty="0" sx="100000" sy="100000" flip="none" algn="tl"/>
            </a:blipFill>
            <a:ln>
              <a:noFill/>
            </a:ln>
            <a:extLst>
              <a:ext uri="{91240B29-F687-4F45-9708-019B960494DF}">
                <a14:hiddenLine xmlns:a14="http://schemas.microsoft.com/office/drawing/2010/main" w="9525" cap="flat" cmpd="sng">
                  <a:solidFill>
                    <a:srgbClr val="000000"/>
                  </a:solidFill>
                  <a:prstDash val="solid"/>
                  <a:round/>
                  <a:headEnd type="none" w="sm" len="sm"/>
                  <a:tailEnd type="none" w="sm" len="sm"/>
                </a14:hiddenLine>
              </a:ext>
            </a:extLst>
          </p:spPr>
          <p:txBody>
            <a:bodyPr wrap="none" lIns="135732" tIns="66675" rIns="135732" bIns="66675" anchor="ctr"/>
            <a:lstStyle/>
            <a:p>
              <a:endParaRPr lang="pt-BR"/>
            </a:p>
          </p:txBody>
        </p:sp>
      </p:grpSp>
      <p:sp>
        <p:nvSpPr>
          <p:cNvPr id="21553" name="Text Box 495"/>
          <p:cNvSpPr txBox="1">
            <a:spLocks noChangeArrowheads="1"/>
          </p:cNvSpPr>
          <p:nvPr/>
        </p:nvSpPr>
        <p:spPr bwMode="auto">
          <a:xfrm>
            <a:off x="7062788" y="6819900"/>
            <a:ext cx="1148029" cy="425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lIns="149363" tIns="73373" rIns="149363" bIns="73373">
            <a:spAutoFit/>
          </a:bodyPr>
          <a:lstStyle>
            <a:lvl1pPr defTabSz="1014413">
              <a:spcBef>
                <a:spcPct val="20000"/>
              </a:spcBef>
              <a:buChar char="•"/>
              <a:defRPr sz="3200">
                <a:solidFill>
                  <a:srgbClr val="404040"/>
                </a:solidFill>
                <a:latin typeface="Times New Roman" panose="02020603050405020304" pitchFamily="18" charset="0"/>
              </a:defRPr>
            </a:lvl1pPr>
            <a:lvl2pPr marL="742950" indent="-285750" defTabSz="1014413">
              <a:spcBef>
                <a:spcPct val="20000"/>
              </a:spcBef>
              <a:buChar char="–"/>
              <a:defRPr sz="2800">
                <a:solidFill>
                  <a:srgbClr val="404040"/>
                </a:solidFill>
                <a:latin typeface="Times New Roman" panose="02020603050405020304" pitchFamily="18" charset="0"/>
              </a:defRPr>
            </a:lvl2pPr>
            <a:lvl3pPr marL="1143000" indent="-228600" defTabSz="1014413">
              <a:spcBef>
                <a:spcPct val="20000"/>
              </a:spcBef>
              <a:buChar char="•"/>
              <a:defRPr sz="2400">
                <a:solidFill>
                  <a:srgbClr val="404040"/>
                </a:solidFill>
                <a:latin typeface="Times New Roman" panose="02020603050405020304" pitchFamily="18" charset="0"/>
              </a:defRPr>
            </a:lvl3pPr>
            <a:lvl4pPr marL="1600200" indent="-228600" defTabSz="1014413">
              <a:spcBef>
                <a:spcPct val="20000"/>
              </a:spcBef>
              <a:buChar char="–"/>
              <a:defRPr sz="2000">
                <a:solidFill>
                  <a:srgbClr val="404040"/>
                </a:solidFill>
                <a:latin typeface="Times New Roman" panose="02020603050405020304" pitchFamily="18" charset="0"/>
              </a:defRPr>
            </a:lvl4pPr>
            <a:lvl5pPr marL="2057400" indent="-228600" defTabSz="1014413">
              <a:spcBef>
                <a:spcPct val="20000"/>
              </a:spcBef>
              <a:buChar char="»"/>
              <a:defRPr sz="2000">
                <a:solidFill>
                  <a:srgbClr val="404040"/>
                </a:solidFill>
                <a:latin typeface="Times New Roman" panose="02020603050405020304" pitchFamily="18" charset="0"/>
              </a:defRPr>
            </a:lvl5pPr>
            <a:lvl6pPr marL="25146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rgbClr val="000099"/>
                </a:solidFill>
                <a:latin typeface="Arial" panose="020B0604020202020204" pitchFamily="34" charset="0"/>
              </a:rPr>
              <a:t>Projetos</a:t>
            </a:r>
          </a:p>
        </p:txBody>
      </p:sp>
      <p:sp>
        <p:nvSpPr>
          <p:cNvPr id="21554" name="Text Box 496"/>
          <p:cNvSpPr txBox="1">
            <a:spLocks noChangeArrowheads="1"/>
          </p:cNvSpPr>
          <p:nvPr/>
        </p:nvSpPr>
        <p:spPr bwMode="auto">
          <a:xfrm>
            <a:off x="9120188" y="6426995"/>
            <a:ext cx="1455805" cy="702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lIns="149363" tIns="73373" rIns="149363" bIns="73373">
            <a:spAutoFit/>
          </a:bodyPr>
          <a:lstStyle>
            <a:lvl1pPr defTabSz="1014413">
              <a:spcBef>
                <a:spcPct val="20000"/>
              </a:spcBef>
              <a:buChar char="•"/>
              <a:defRPr sz="3200">
                <a:solidFill>
                  <a:srgbClr val="404040"/>
                </a:solidFill>
                <a:latin typeface="Times New Roman" panose="02020603050405020304" pitchFamily="18" charset="0"/>
              </a:defRPr>
            </a:lvl1pPr>
            <a:lvl2pPr marL="742950" indent="-285750" defTabSz="1014413">
              <a:spcBef>
                <a:spcPct val="20000"/>
              </a:spcBef>
              <a:buChar char="–"/>
              <a:defRPr sz="2800">
                <a:solidFill>
                  <a:srgbClr val="404040"/>
                </a:solidFill>
                <a:latin typeface="Times New Roman" panose="02020603050405020304" pitchFamily="18" charset="0"/>
              </a:defRPr>
            </a:lvl2pPr>
            <a:lvl3pPr marL="1143000" indent="-228600" defTabSz="1014413">
              <a:spcBef>
                <a:spcPct val="20000"/>
              </a:spcBef>
              <a:buChar char="•"/>
              <a:defRPr sz="2400">
                <a:solidFill>
                  <a:srgbClr val="404040"/>
                </a:solidFill>
                <a:latin typeface="Times New Roman" panose="02020603050405020304" pitchFamily="18" charset="0"/>
              </a:defRPr>
            </a:lvl3pPr>
            <a:lvl4pPr marL="1600200" indent="-228600" defTabSz="1014413">
              <a:spcBef>
                <a:spcPct val="20000"/>
              </a:spcBef>
              <a:buChar char="–"/>
              <a:defRPr sz="2000">
                <a:solidFill>
                  <a:srgbClr val="404040"/>
                </a:solidFill>
                <a:latin typeface="Times New Roman" panose="02020603050405020304" pitchFamily="18" charset="0"/>
              </a:defRPr>
            </a:lvl4pPr>
            <a:lvl5pPr marL="2057400" indent="-228600" defTabSz="1014413">
              <a:spcBef>
                <a:spcPct val="20000"/>
              </a:spcBef>
              <a:buChar char="»"/>
              <a:defRPr sz="2000">
                <a:solidFill>
                  <a:srgbClr val="404040"/>
                </a:solidFill>
                <a:latin typeface="Times New Roman" panose="02020603050405020304" pitchFamily="18" charset="0"/>
              </a:defRPr>
            </a:lvl5pPr>
            <a:lvl6pPr marL="25146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rgbClr val="000099"/>
                </a:solidFill>
                <a:latin typeface="Arial" panose="020B0604020202020204" pitchFamily="34" charset="0"/>
              </a:rPr>
              <a:t>Projetos</a:t>
            </a:r>
          </a:p>
          <a:p>
            <a:pPr>
              <a:spcBef>
                <a:spcPct val="0"/>
              </a:spcBef>
              <a:buFontTx/>
              <a:buNone/>
            </a:pPr>
            <a:r>
              <a:rPr lang="pt-BR" altLang="pt-BR" sz="1800">
                <a:solidFill>
                  <a:srgbClr val="000099"/>
                </a:solidFill>
                <a:latin typeface="Arial" panose="020B0604020202020204" pitchFamily="34" charset="0"/>
              </a:rPr>
              <a:t>Priorizados</a:t>
            </a:r>
          </a:p>
        </p:txBody>
      </p:sp>
      <p:sp>
        <p:nvSpPr>
          <p:cNvPr id="21555" name="AutoShape 497"/>
          <p:cNvSpPr>
            <a:spLocks noChangeArrowheads="1"/>
          </p:cNvSpPr>
          <p:nvPr/>
        </p:nvSpPr>
        <p:spPr bwMode="auto">
          <a:xfrm>
            <a:off x="6555583" y="7608095"/>
            <a:ext cx="792956" cy="180975"/>
          </a:xfrm>
          <a:prstGeom prst="rightArrow">
            <a:avLst>
              <a:gd name="adj1" fmla="val 50000"/>
              <a:gd name="adj2" fmla="val 109539"/>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nvGrpSpPr>
          <p:cNvPr id="21556" name="Group 498"/>
          <p:cNvGrpSpPr>
            <a:grpSpLocks/>
          </p:cNvGrpSpPr>
          <p:nvPr/>
        </p:nvGrpSpPr>
        <p:grpSpPr bwMode="auto">
          <a:xfrm>
            <a:off x="6824663" y="7396163"/>
            <a:ext cx="1002507" cy="666750"/>
            <a:chOff x="3550" y="2708"/>
            <a:chExt cx="617" cy="724"/>
          </a:xfrm>
        </p:grpSpPr>
        <p:grpSp>
          <p:nvGrpSpPr>
            <p:cNvPr id="21562" name="Group 499"/>
            <p:cNvGrpSpPr>
              <a:grpSpLocks/>
            </p:cNvGrpSpPr>
            <p:nvPr/>
          </p:nvGrpSpPr>
          <p:grpSpPr bwMode="auto">
            <a:xfrm>
              <a:off x="3550" y="2912"/>
              <a:ext cx="319" cy="296"/>
              <a:chOff x="560" y="1368"/>
              <a:chExt cx="264" cy="296"/>
            </a:xfrm>
          </p:grpSpPr>
          <p:sp>
            <p:nvSpPr>
              <p:cNvPr id="21588" name="Oval 500"/>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9" name="Oval 501"/>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0" name="Oval 502"/>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91" name="Oval 503"/>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63" name="Group 504"/>
            <p:cNvGrpSpPr>
              <a:grpSpLocks/>
            </p:cNvGrpSpPr>
            <p:nvPr/>
          </p:nvGrpSpPr>
          <p:grpSpPr bwMode="auto">
            <a:xfrm>
              <a:off x="3581" y="3136"/>
              <a:ext cx="319" cy="296"/>
              <a:chOff x="560" y="1368"/>
              <a:chExt cx="264" cy="296"/>
            </a:xfrm>
          </p:grpSpPr>
          <p:sp>
            <p:nvSpPr>
              <p:cNvPr id="21584" name="Oval 505"/>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5" name="Oval 506"/>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6" name="Oval 507"/>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7" name="Oval 508"/>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64" name="Group 509"/>
            <p:cNvGrpSpPr>
              <a:grpSpLocks/>
            </p:cNvGrpSpPr>
            <p:nvPr/>
          </p:nvGrpSpPr>
          <p:grpSpPr bwMode="auto">
            <a:xfrm>
              <a:off x="3756" y="2824"/>
              <a:ext cx="319" cy="296"/>
              <a:chOff x="560" y="1368"/>
              <a:chExt cx="264" cy="296"/>
            </a:xfrm>
          </p:grpSpPr>
          <p:sp>
            <p:nvSpPr>
              <p:cNvPr id="21580" name="Oval 510"/>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1" name="Oval 511"/>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2" name="Oval 512"/>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83" name="Oval 513"/>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65" name="Group 514"/>
            <p:cNvGrpSpPr>
              <a:grpSpLocks/>
            </p:cNvGrpSpPr>
            <p:nvPr/>
          </p:nvGrpSpPr>
          <p:grpSpPr bwMode="auto">
            <a:xfrm>
              <a:off x="3752" y="3024"/>
              <a:ext cx="319" cy="296"/>
              <a:chOff x="560" y="1368"/>
              <a:chExt cx="264" cy="296"/>
            </a:xfrm>
          </p:grpSpPr>
          <p:sp>
            <p:nvSpPr>
              <p:cNvPr id="21576" name="Oval 515"/>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7" name="Oval 516"/>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8" name="Oval 517"/>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9" name="Oval 518"/>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66" name="Group 519"/>
            <p:cNvGrpSpPr>
              <a:grpSpLocks/>
            </p:cNvGrpSpPr>
            <p:nvPr/>
          </p:nvGrpSpPr>
          <p:grpSpPr bwMode="auto">
            <a:xfrm rot="16200000" flipH="1">
              <a:off x="3560" y="2720"/>
              <a:ext cx="319" cy="296"/>
              <a:chOff x="560" y="1368"/>
              <a:chExt cx="264" cy="296"/>
            </a:xfrm>
          </p:grpSpPr>
          <p:sp>
            <p:nvSpPr>
              <p:cNvPr id="21572" name="Oval 520"/>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3" name="Oval 521"/>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4" name="Oval 522"/>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5" name="Oval 523"/>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21567" name="Group 524"/>
            <p:cNvGrpSpPr>
              <a:grpSpLocks/>
            </p:cNvGrpSpPr>
            <p:nvPr/>
          </p:nvGrpSpPr>
          <p:grpSpPr bwMode="auto">
            <a:xfrm flipH="1">
              <a:off x="3848" y="2904"/>
              <a:ext cx="319" cy="296"/>
              <a:chOff x="560" y="1368"/>
              <a:chExt cx="264" cy="296"/>
            </a:xfrm>
          </p:grpSpPr>
          <p:sp>
            <p:nvSpPr>
              <p:cNvPr id="21568" name="Oval 525"/>
              <p:cNvSpPr>
                <a:spLocks noChangeArrowheads="1"/>
              </p:cNvSpPr>
              <p:nvPr/>
            </p:nvSpPr>
            <p:spPr bwMode="auto">
              <a:xfrm>
                <a:off x="576" y="1528"/>
                <a:ext cx="112" cy="136"/>
              </a:xfrm>
              <a:prstGeom prst="ellipse">
                <a:avLst/>
              </a:prstGeom>
              <a:solidFill>
                <a:srgbClr val="66CCFF"/>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69" name="Oval 526"/>
              <p:cNvSpPr>
                <a:spLocks noChangeArrowheads="1"/>
              </p:cNvSpPr>
              <p:nvPr/>
            </p:nvSpPr>
            <p:spPr bwMode="auto">
              <a:xfrm>
                <a:off x="592" y="1368"/>
                <a:ext cx="168" cy="176"/>
              </a:xfrm>
              <a:prstGeom prst="ellipse">
                <a:avLst/>
              </a:prstGeom>
              <a:solidFill>
                <a:schemeClr val="accent1"/>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0" name="Oval 527"/>
              <p:cNvSpPr>
                <a:spLocks noChangeArrowheads="1"/>
              </p:cNvSpPr>
              <p:nvPr/>
            </p:nvSpPr>
            <p:spPr bwMode="auto">
              <a:xfrm>
                <a:off x="680" y="1472"/>
                <a:ext cx="144" cy="168"/>
              </a:xfrm>
              <a:prstGeom prst="ellipse">
                <a:avLst/>
              </a:prstGeom>
              <a:solidFill>
                <a:srgbClr val="B2B2B2"/>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71" name="Oval 528"/>
              <p:cNvSpPr>
                <a:spLocks noChangeArrowheads="1"/>
              </p:cNvSpPr>
              <p:nvPr/>
            </p:nvSpPr>
            <p:spPr bwMode="auto">
              <a:xfrm>
                <a:off x="560" y="1432"/>
                <a:ext cx="88" cy="104"/>
              </a:xfrm>
              <a:prstGeom prst="ellipse">
                <a:avLst/>
              </a:prstGeom>
              <a:solidFill>
                <a:srgbClr val="0000CC"/>
              </a:solidFill>
              <a:ln w="9525">
                <a:solidFill>
                  <a:schemeClr val="bg2"/>
                </a:solidFill>
                <a:round/>
                <a:headEnd type="none" w="sm" len="sm"/>
                <a:tailEnd type="none" w="sm" len="sm"/>
              </a:ln>
            </p:spPr>
            <p:txBody>
              <a:bodyPr wrap="none" lIns="135732" tIns="66675" rIns="135732" bIns="66675"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sp>
        <p:nvSpPr>
          <p:cNvPr id="21557" name="AutoShape 529"/>
          <p:cNvSpPr>
            <a:spLocks noChangeArrowheads="1"/>
          </p:cNvSpPr>
          <p:nvPr/>
        </p:nvSpPr>
        <p:spPr bwMode="auto">
          <a:xfrm>
            <a:off x="8517733" y="7608095"/>
            <a:ext cx="783431" cy="180975"/>
          </a:xfrm>
          <a:prstGeom prst="rightArrow">
            <a:avLst>
              <a:gd name="adj1" fmla="val 50000"/>
              <a:gd name="adj2" fmla="val 108224"/>
            </a:avLst>
          </a:prstGeom>
          <a:solidFill>
            <a:srgbClr val="FF0000"/>
          </a:solidFill>
          <a:ln w="9525">
            <a:solidFill>
              <a:schemeClr val="bg2"/>
            </a:solidFill>
            <a:miter lim="800000"/>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58" name="Oval 530"/>
          <p:cNvSpPr>
            <a:spLocks noChangeArrowheads="1"/>
          </p:cNvSpPr>
          <p:nvPr/>
        </p:nvSpPr>
        <p:spPr bwMode="auto">
          <a:xfrm>
            <a:off x="9632157" y="8417720"/>
            <a:ext cx="219075" cy="126206"/>
          </a:xfrm>
          <a:prstGeom prst="ellipse">
            <a:avLst/>
          </a:prstGeom>
          <a:solidFill>
            <a:srgbClr val="66CCFF"/>
          </a:solidFill>
          <a:ln w="9525">
            <a:solidFill>
              <a:schemeClr val="tx1"/>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59" name="Oval 531"/>
          <p:cNvSpPr>
            <a:spLocks noChangeArrowheads="1"/>
          </p:cNvSpPr>
          <p:nvPr/>
        </p:nvSpPr>
        <p:spPr bwMode="auto">
          <a:xfrm>
            <a:off x="9591675" y="8551070"/>
            <a:ext cx="304800" cy="159543"/>
          </a:xfrm>
          <a:prstGeom prst="ellipse">
            <a:avLst/>
          </a:prstGeom>
          <a:solidFill>
            <a:schemeClr val="accent1"/>
          </a:solidFill>
          <a:ln w="9525">
            <a:solidFill>
              <a:schemeClr val="tx1"/>
            </a:solidFill>
            <a:round/>
            <a:headEnd type="none" w="sm" len="sm"/>
            <a:tailEnd type="none" w="sm" len="sm"/>
          </a:ln>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21560" name="Text Box 532"/>
          <p:cNvSpPr txBox="1">
            <a:spLocks noChangeArrowheads="1"/>
          </p:cNvSpPr>
          <p:nvPr/>
        </p:nvSpPr>
        <p:spPr bwMode="auto">
          <a:xfrm>
            <a:off x="1026320" y="8855870"/>
            <a:ext cx="1874043" cy="702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149363" tIns="73373" rIns="149363" bIns="73373">
            <a:spAutoFit/>
          </a:bodyPr>
          <a:lstStyle>
            <a:lvl1pPr defTabSz="1014413">
              <a:spcBef>
                <a:spcPct val="20000"/>
              </a:spcBef>
              <a:buChar char="•"/>
              <a:defRPr sz="3200">
                <a:solidFill>
                  <a:srgbClr val="404040"/>
                </a:solidFill>
                <a:latin typeface="Times New Roman" panose="02020603050405020304" pitchFamily="18" charset="0"/>
              </a:defRPr>
            </a:lvl1pPr>
            <a:lvl2pPr marL="742950" indent="-285750" defTabSz="1014413">
              <a:spcBef>
                <a:spcPct val="20000"/>
              </a:spcBef>
              <a:buChar char="–"/>
              <a:defRPr sz="2800">
                <a:solidFill>
                  <a:srgbClr val="404040"/>
                </a:solidFill>
                <a:latin typeface="Times New Roman" panose="02020603050405020304" pitchFamily="18" charset="0"/>
              </a:defRPr>
            </a:lvl2pPr>
            <a:lvl3pPr marL="1143000" indent="-228600" defTabSz="1014413">
              <a:spcBef>
                <a:spcPct val="20000"/>
              </a:spcBef>
              <a:buChar char="•"/>
              <a:defRPr sz="2400">
                <a:solidFill>
                  <a:srgbClr val="404040"/>
                </a:solidFill>
                <a:latin typeface="Times New Roman" panose="02020603050405020304" pitchFamily="18" charset="0"/>
              </a:defRPr>
            </a:lvl3pPr>
            <a:lvl4pPr marL="1600200" indent="-228600" defTabSz="1014413">
              <a:spcBef>
                <a:spcPct val="20000"/>
              </a:spcBef>
              <a:buChar char="–"/>
              <a:defRPr sz="2000">
                <a:solidFill>
                  <a:srgbClr val="404040"/>
                </a:solidFill>
                <a:latin typeface="Times New Roman" panose="02020603050405020304" pitchFamily="18" charset="0"/>
              </a:defRPr>
            </a:lvl4pPr>
            <a:lvl5pPr marL="2057400" indent="-228600" defTabSz="1014413">
              <a:spcBef>
                <a:spcPct val="20000"/>
              </a:spcBef>
              <a:buChar char="»"/>
              <a:defRPr sz="2000">
                <a:solidFill>
                  <a:srgbClr val="404040"/>
                </a:solidFill>
                <a:latin typeface="Times New Roman" panose="02020603050405020304" pitchFamily="18" charset="0"/>
              </a:defRPr>
            </a:lvl5pPr>
            <a:lvl6pPr marL="25146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0144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rgbClr val="000099"/>
                </a:solidFill>
                <a:latin typeface="Arial" panose="020B0604020202020204" pitchFamily="34" charset="0"/>
              </a:rPr>
              <a:t>Idéias rejeitadas</a:t>
            </a:r>
          </a:p>
        </p:txBody>
      </p:sp>
      <p:pic>
        <p:nvPicPr>
          <p:cNvPr id="21561" name="Imagem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506903" y="8048577"/>
            <a:ext cx="2377843" cy="1775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178645381"/>
      </p:ext>
    </p:extLst>
  </p:cSld>
  <p:clrMapOvr>
    <a:masterClrMapping/>
  </p:clrMapOvr>
  <p:transition>
    <p:strips dir="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0" name="Grupo 5"/>
          <p:cNvGrpSpPr>
            <a:grpSpLocks/>
          </p:cNvGrpSpPr>
          <p:nvPr/>
        </p:nvGrpSpPr>
        <p:grpSpPr bwMode="auto">
          <a:xfrm>
            <a:off x="269083" y="1688307"/>
            <a:ext cx="12365831" cy="8020050"/>
            <a:chOff x="0" y="692696"/>
            <a:chExt cx="9144000" cy="5995312"/>
          </a:xfrm>
        </p:grpSpPr>
        <p:pic>
          <p:nvPicPr>
            <p:cNvPr id="22532" name="Imagem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692696"/>
              <a:ext cx="9144000" cy="59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ângulo 4"/>
            <p:cNvSpPr/>
            <p:nvPr/>
          </p:nvSpPr>
          <p:spPr bwMode="auto">
            <a:xfrm>
              <a:off x="0" y="6166444"/>
              <a:ext cx="323993" cy="521564"/>
            </a:xfrm>
            <a:prstGeom prst="rect">
              <a:avLst/>
            </a:prstGeom>
            <a:solidFill>
              <a:schemeClr val="bg1"/>
            </a:solidFill>
            <a:ln w="9525" cap="flat" cmpd="sng" algn="ctr">
              <a:noFill/>
              <a:prstDash val="solid"/>
              <a:round/>
              <a:headEnd type="none" w="med" len="med"/>
              <a:tailEnd type="none" w="med" len="med"/>
            </a:ln>
            <a:effectLst/>
          </p:spPr>
          <p:txBody>
            <a:bodyPr/>
            <a:lstStyle/>
            <a:p>
              <a:pPr>
                <a:defRPr/>
              </a:pPr>
              <a:endParaRPr lang="pt-BR">
                <a:latin typeface="Helvetica" charset="0"/>
              </a:endParaRPr>
            </a:p>
          </p:txBody>
        </p:sp>
      </p:grpSp>
      <p:sp>
        <p:nvSpPr>
          <p:cNvPr id="22531" name="Rectangle 2"/>
          <p:cNvSpPr>
            <a:spLocks noGrp="1" noChangeArrowheads="1"/>
          </p:cNvSpPr>
          <p:nvPr>
            <p:ph type="title"/>
          </p:nvPr>
        </p:nvSpPr>
        <p:spPr bwMode="auto">
          <a:xfrm>
            <a:off x="2382" y="173832"/>
            <a:ext cx="11420475" cy="691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spcBef>
                <a:spcPct val="50000"/>
              </a:spcBef>
            </a:pPr>
            <a:r>
              <a:rPr lang="pt-BR" altLang="pt-BR" sz="3600">
                <a:solidFill>
                  <a:schemeClr val="tx1"/>
                </a:solidFill>
              </a:rPr>
              <a:t> Escritório de Projetos Corporativo</a:t>
            </a:r>
          </a:p>
        </p:txBody>
      </p:sp>
    </p:spTree>
    <p:custDataLst>
      <p:tags r:id="rId1"/>
    </p:custDataLst>
    <p:extLst>
      <p:ext uri="{BB962C8B-B14F-4D97-AF65-F5344CB8AC3E}">
        <p14:creationId xmlns:p14="http://schemas.microsoft.com/office/powerpoint/2010/main" val="895695296"/>
      </p:ext>
    </p:extLst>
  </p:cSld>
  <p:clrMapOvr>
    <a:masterClrMapping/>
  </p:clrMapOvr>
  <p:transition>
    <p:strips dir="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4"/>
          <p:cNvSpPr txBox="1">
            <a:spLocks noChangeArrowheads="1"/>
          </p:cNvSpPr>
          <p:nvPr/>
        </p:nvSpPr>
        <p:spPr bwMode="auto">
          <a:xfrm>
            <a:off x="485776" y="1254920"/>
            <a:ext cx="13339763" cy="96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marL="742950" indent="-285750"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chemeClr val="tx1"/>
                </a:solidFill>
                <a:latin typeface="Calibri" panose="020F0502020204030204" pitchFamily="34" charset="0"/>
              </a:rPr>
              <a:t> As variações de atuação (escopo) do PMO dependem do poder delegado (autonomia) conferido ao mesmo em relação aos projetos:</a:t>
            </a:r>
          </a:p>
        </p:txBody>
      </p:sp>
      <p:sp>
        <p:nvSpPr>
          <p:cNvPr id="23555" name="Text Box 5"/>
          <p:cNvSpPr txBox="1">
            <a:spLocks noChangeArrowheads="1"/>
          </p:cNvSpPr>
          <p:nvPr/>
        </p:nvSpPr>
        <p:spPr bwMode="auto">
          <a:xfrm>
            <a:off x="323851" y="2443163"/>
            <a:ext cx="13501688" cy="304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chemeClr val="tx1"/>
                </a:solidFill>
                <a:latin typeface="Calibri" panose="020F0502020204030204" pitchFamily="34" charset="0"/>
              </a:rPr>
              <a:t> Autonomia Baixa (manter padrões):</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coleta, trata e disponibiliza as informações dos projetos. </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fornece treinamento e suporte aos gerentes de projet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pesquisa e dissemina melhores práticas, mantém base de conheciment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Conhecido como </a:t>
            </a:r>
            <a:r>
              <a:rPr lang="pt-BR" altLang="pt-BR" sz="2700" i="1">
                <a:solidFill>
                  <a:srgbClr val="FF0000"/>
                </a:solidFill>
                <a:latin typeface="Calibri" panose="020F0502020204030204" pitchFamily="34" charset="0"/>
              </a:rPr>
              <a:t>Centro de Excelência em projetos (CE) </a:t>
            </a:r>
            <a:r>
              <a:rPr lang="pt-BR" altLang="pt-BR" sz="2700">
                <a:solidFill>
                  <a:schemeClr val="tx1"/>
                </a:solidFill>
                <a:latin typeface="Calibri" panose="020F0502020204030204" pitchFamily="34" charset="0"/>
              </a:rPr>
              <a:t>em algumas empresas.</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responsabilidade pelo resultado do projeto  é de competência do GP. </a:t>
            </a:r>
          </a:p>
          <a:p>
            <a:pPr lvl="1" eaLnBrk="1" hangingPunct="1">
              <a:spcBef>
                <a:spcPct val="0"/>
              </a:spcBef>
              <a:buClr>
                <a:srgbClr val="990000"/>
              </a:buClr>
              <a:buFont typeface="Wingdings" panose="05000000000000000000" pitchFamily="2" charset="2"/>
              <a:buChar char="Ø"/>
            </a:pPr>
            <a:endParaRPr lang="pt-BR" altLang="pt-BR" sz="2700">
              <a:solidFill>
                <a:schemeClr val="tx1"/>
              </a:solidFill>
              <a:latin typeface="Calibri" panose="020F0502020204030204" pitchFamily="34" charset="0"/>
            </a:endParaRPr>
          </a:p>
        </p:txBody>
      </p:sp>
      <p:sp>
        <p:nvSpPr>
          <p:cNvPr id="23556" name="Text Box 6"/>
          <p:cNvSpPr txBox="1">
            <a:spLocks noChangeArrowheads="1"/>
          </p:cNvSpPr>
          <p:nvPr/>
        </p:nvSpPr>
        <p:spPr bwMode="auto">
          <a:xfrm>
            <a:off x="314326" y="5253038"/>
            <a:ext cx="13123070" cy="263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chemeClr val="tx1"/>
                </a:solidFill>
                <a:latin typeface="Calibri" panose="020F0502020204030204" pitchFamily="34" charset="0"/>
              </a:rPr>
              <a:t> Autonomia Média:</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Além dos itens acima, sugere ações preventivas e de contorn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Alerta a alta direção sobre desvios nos resultados dos projetos.</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Oferece orientação/suporte aos GP’s.</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É co-responsável pelo sucesso dos projetos.</a:t>
            </a:r>
          </a:p>
          <a:p>
            <a:pPr lvl="1" eaLnBrk="1" hangingPunct="1">
              <a:spcBef>
                <a:spcPct val="0"/>
              </a:spcBef>
              <a:buClr>
                <a:srgbClr val="990000"/>
              </a:buClr>
              <a:buFont typeface="Wingdings" panose="05000000000000000000" pitchFamily="2" charset="2"/>
              <a:buChar char="Ø"/>
            </a:pPr>
            <a:endParaRPr lang="pt-BR" altLang="pt-BR" sz="2700">
              <a:solidFill>
                <a:schemeClr val="tx1"/>
              </a:solidFill>
              <a:latin typeface="Calibri" panose="020F0502020204030204" pitchFamily="34" charset="0"/>
            </a:endParaRPr>
          </a:p>
        </p:txBody>
      </p:sp>
      <p:sp>
        <p:nvSpPr>
          <p:cNvPr id="23557" name="Text Box 7"/>
          <p:cNvSpPr txBox="1">
            <a:spLocks noChangeArrowheads="1"/>
          </p:cNvSpPr>
          <p:nvPr/>
        </p:nvSpPr>
        <p:spPr bwMode="auto">
          <a:xfrm>
            <a:off x="528638" y="7681913"/>
            <a:ext cx="13501688" cy="221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chemeClr val="tx1"/>
                </a:solidFill>
                <a:latin typeface="Calibri" panose="020F0502020204030204" pitchFamily="34" charset="0"/>
              </a:rPr>
              <a:t> Autonomia Alta:</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Pode vir a interferir em decisões técnicas e gerenciais do projet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Pode vir a intervir em um projet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É responsável pelo sucesso do projeto. Denominado.</a:t>
            </a:r>
          </a:p>
          <a:p>
            <a:pPr lvl="1" eaLnBrk="1" hangingPunct="1">
              <a:spcBef>
                <a:spcPct val="0"/>
              </a:spcBef>
              <a:buClr>
                <a:srgbClr val="990000"/>
              </a:buClr>
              <a:buFont typeface="Wingdings" panose="05000000000000000000" pitchFamily="2" charset="2"/>
              <a:buChar char="Ø"/>
            </a:pPr>
            <a:r>
              <a:rPr lang="pt-BR" altLang="pt-BR" sz="2700">
                <a:solidFill>
                  <a:schemeClr val="tx1"/>
                </a:solidFill>
                <a:latin typeface="Calibri" panose="020F0502020204030204" pitchFamily="34" charset="0"/>
              </a:rPr>
              <a:t> </a:t>
            </a:r>
            <a:r>
              <a:rPr lang="pt-BR" altLang="pt-BR" sz="2700" i="1">
                <a:solidFill>
                  <a:srgbClr val="FF0000"/>
                </a:solidFill>
                <a:latin typeface="Calibri" panose="020F0502020204030204" pitchFamily="34" charset="0"/>
              </a:rPr>
              <a:t>Escritório Responsável pelo Projeto </a:t>
            </a:r>
            <a:r>
              <a:rPr lang="pt-BR" altLang="pt-BR" sz="2700">
                <a:solidFill>
                  <a:srgbClr val="FF0000"/>
                </a:solidFill>
                <a:latin typeface="Calibri" panose="020F0502020204030204" pitchFamily="34" charset="0"/>
              </a:rPr>
              <a:t>(</a:t>
            </a:r>
            <a:r>
              <a:rPr lang="pt-BR" altLang="pt-BR" sz="2700" i="1">
                <a:solidFill>
                  <a:srgbClr val="FF0000"/>
                </a:solidFill>
                <a:latin typeface="Calibri" panose="020F0502020204030204" pitchFamily="34" charset="0"/>
              </a:rPr>
              <a:t>APO – Accontable Project Office</a:t>
            </a:r>
            <a:r>
              <a:rPr lang="pt-BR" altLang="pt-BR" sz="2700">
                <a:solidFill>
                  <a:srgbClr val="FF0000"/>
                </a:solidFill>
                <a:latin typeface="Calibri" panose="020F0502020204030204" pitchFamily="34" charset="0"/>
              </a:rPr>
              <a:t>)</a:t>
            </a:r>
          </a:p>
        </p:txBody>
      </p:sp>
      <p:sp>
        <p:nvSpPr>
          <p:cNvPr id="23558" name="Text Box 8"/>
          <p:cNvSpPr txBox="1">
            <a:spLocks noChangeArrowheads="1"/>
          </p:cNvSpPr>
          <p:nvPr/>
        </p:nvSpPr>
        <p:spPr bwMode="auto">
          <a:xfrm>
            <a:off x="1" y="1"/>
            <a:ext cx="12044363" cy="96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marL="742950" indent="-285750"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5400">
                <a:solidFill>
                  <a:schemeClr val="tx1"/>
                </a:solidFill>
                <a:latin typeface="Calibri" panose="020F0502020204030204" pitchFamily="34" charset="0"/>
              </a:rPr>
              <a:t>Autonomia de um PMO</a:t>
            </a:r>
          </a:p>
        </p:txBody>
      </p:sp>
      <p:graphicFrame>
        <p:nvGraphicFramePr>
          <p:cNvPr id="23559" name="Object 9"/>
          <p:cNvGraphicFramePr>
            <a:graphicFrameLocks noGrp="1" noChangeAspect="1"/>
          </p:cNvGraphicFramePr>
          <p:nvPr>
            <p:ph idx="4294967295"/>
            <p:extLst>
              <p:ext uri="{D42A27DB-BD31-4B8C-83A1-F6EECF244321}">
                <p14:modId xmlns:p14="http://schemas.microsoft.com/office/powerpoint/2010/main" val="3370340355"/>
              </p:ext>
            </p:extLst>
          </p:nvPr>
        </p:nvGraphicFramePr>
        <p:xfrm>
          <a:off x="11206610" y="6007596"/>
          <a:ext cx="1695450" cy="2538413"/>
        </p:xfrm>
        <a:graphic>
          <a:graphicData uri="http://schemas.openxmlformats.org/presentationml/2006/ole">
            <mc:AlternateContent xmlns:mc="http://schemas.openxmlformats.org/markup-compatibility/2006">
              <mc:Choice xmlns:v="urn:schemas-microsoft-com:vml" Requires="v">
                <p:oleObj name="Photo Editor Photo" r:id="rId3" imgW="1419048" imgH="2123810" progId="MSPhotoEd.3">
                  <p:embed/>
                </p:oleObj>
              </mc:Choice>
              <mc:Fallback>
                <p:oleObj name="Photo Editor Photo" r:id="rId3" imgW="1419048" imgH="2123810"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6610" y="6007596"/>
                        <a:ext cx="1695450" cy="2538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ustDataLst>
      <p:tags r:id="rId1"/>
    </p:custDataLst>
    <p:extLst>
      <p:ext uri="{BB962C8B-B14F-4D97-AF65-F5344CB8AC3E}">
        <p14:creationId xmlns:p14="http://schemas.microsoft.com/office/powerpoint/2010/main" val="3976826649"/>
      </p:ext>
    </p:extLst>
  </p:cSld>
  <p:clrMapOvr>
    <a:masterClrMapping/>
  </p:clrMapOvr>
  <p:transition spd="slow">
    <p:strips dir="rd"/>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bwMode="auto">
          <a:xfrm>
            <a:off x="1" y="1"/>
            <a:ext cx="12368213" cy="1081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b" anchorCtr="0" compatLnSpc="1">
            <a:prstTxWarp prst="textNoShape">
              <a:avLst/>
            </a:prstTxWarp>
          </a:bodyPr>
          <a:lstStyle/>
          <a:p>
            <a:pPr>
              <a:spcBef>
                <a:spcPct val="10000"/>
              </a:spcBef>
              <a:spcAft>
                <a:spcPct val="10000"/>
              </a:spcAft>
            </a:pPr>
            <a:r>
              <a:rPr lang="pt-BR" altLang="pt-BR" sz="3600" dirty="0">
                <a:solidFill>
                  <a:schemeClr val="tx1"/>
                </a:solidFill>
              </a:rPr>
              <a:t>Amplitude de autonomia de um PMO</a:t>
            </a:r>
          </a:p>
        </p:txBody>
      </p:sp>
      <p:sp>
        <p:nvSpPr>
          <p:cNvPr id="24579" name="AutoShape 3"/>
          <p:cNvSpPr>
            <a:spLocks noChangeArrowheads="1"/>
          </p:cNvSpPr>
          <p:nvPr/>
        </p:nvSpPr>
        <p:spPr bwMode="auto">
          <a:xfrm>
            <a:off x="1019175" y="4441032"/>
            <a:ext cx="11125200" cy="864393"/>
          </a:xfrm>
          <a:prstGeom prst="leftRightArrow">
            <a:avLst>
              <a:gd name="adj1" fmla="val 43250"/>
              <a:gd name="adj2" fmla="val 134426"/>
            </a:avLst>
          </a:prstGeom>
          <a:solidFill>
            <a:schemeClr val="accent1"/>
          </a:solidFill>
          <a:ln w="9525">
            <a:solidFill>
              <a:schemeClr val="tx1"/>
            </a:solidFill>
            <a:miter lim="800000"/>
            <a:headEnd/>
            <a:tailEnd/>
          </a:ln>
          <a:effectLst>
            <a:outerShdw blurRad="50800" dist="38100" dir="5400000" algn="t" rotWithShape="0">
              <a:prstClr val="black">
                <a:alpha val="40000"/>
              </a:prstClr>
            </a:outerShdw>
          </a:effectLst>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defRPr/>
            </a:pPr>
            <a:endParaRPr lang="pt-BR" altLang="pt-BR" sz="1500">
              <a:solidFill>
                <a:schemeClr val="tx1"/>
              </a:solidFill>
              <a:latin typeface="Helvetica" panose="020B0604020202020204" pitchFamily="34" charset="0"/>
            </a:endParaRPr>
          </a:p>
        </p:txBody>
      </p:sp>
      <p:sp>
        <p:nvSpPr>
          <p:cNvPr id="24580" name="Text Box 4"/>
          <p:cNvSpPr txBox="1">
            <a:spLocks noChangeArrowheads="1"/>
          </p:cNvSpPr>
          <p:nvPr/>
        </p:nvSpPr>
        <p:spPr bwMode="auto">
          <a:xfrm>
            <a:off x="683420" y="5307807"/>
            <a:ext cx="2181305" cy="64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3300">
                <a:solidFill>
                  <a:schemeClr val="tx1"/>
                </a:solidFill>
                <a:latin typeface="Verdana" panose="020B0604030504040204" pitchFamily="34" charset="0"/>
              </a:rPr>
              <a:t>+Passivo</a:t>
            </a:r>
          </a:p>
        </p:txBody>
      </p:sp>
      <p:sp>
        <p:nvSpPr>
          <p:cNvPr id="24581" name="Text Box 6"/>
          <p:cNvSpPr txBox="1">
            <a:spLocks noChangeArrowheads="1"/>
          </p:cNvSpPr>
          <p:nvPr/>
        </p:nvSpPr>
        <p:spPr bwMode="auto">
          <a:xfrm>
            <a:off x="11032428" y="5305425"/>
            <a:ext cx="1690593" cy="64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r" eaLnBrk="1" hangingPunct="1">
              <a:spcBef>
                <a:spcPct val="0"/>
              </a:spcBef>
              <a:buFontTx/>
              <a:buNone/>
            </a:pPr>
            <a:r>
              <a:rPr lang="pt-BR" altLang="pt-BR" sz="3300">
                <a:solidFill>
                  <a:schemeClr val="tx1"/>
                </a:solidFill>
                <a:latin typeface="Verdana" panose="020B0604030504040204" pitchFamily="34" charset="0"/>
              </a:rPr>
              <a:t>+Ativo</a:t>
            </a:r>
          </a:p>
        </p:txBody>
      </p:sp>
      <p:sp>
        <p:nvSpPr>
          <p:cNvPr id="24582" name="Text Box 7"/>
          <p:cNvSpPr txBox="1">
            <a:spLocks noChangeArrowheads="1"/>
          </p:cNvSpPr>
          <p:nvPr/>
        </p:nvSpPr>
        <p:spPr bwMode="auto">
          <a:xfrm rot="-2649531">
            <a:off x="1060406" y="2605764"/>
            <a:ext cx="3541805"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Deixar fazer com metodologia</a:t>
            </a:r>
          </a:p>
        </p:txBody>
      </p:sp>
      <p:sp>
        <p:nvSpPr>
          <p:cNvPr id="24583" name="Text Box 8"/>
          <p:cNvSpPr txBox="1">
            <a:spLocks noChangeArrowheads="1"/>
          </p:cNvSpPr>
          <p:nvPr/>
        </p:nvSpPr>
        <p:spPr bwMode="auto">
          <a:xfrm rot="-2649531">
            <a:off x="2812806" y="2898658"/>
            <a:ext cx="2394440"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Fiscalizar e orientar</a:t>
            </a:r>
          </a:p>
        </p:txBody>
      </p:sp>
      <p:sp>
        <p:nvSpPr>
          <p:cNvPr id="24584" name="Text Box 9"/>
          <p:cNvSpPr txBox="1">
            <a:spLocks noChangeArrowheads="1"/>
          </p:cNvSpPr>
          <p:nvPr/>
        </p:nvSpPr>
        <p:spPr bwMode="auto">
          <a:xfrm rot="-2649531">
            <a:off x="4248491" y="3091539"/>
            <a:ext cx="2368664"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Coletar informação</a:t>
            </a:r>
          </a:p>
        </p:txBody>
      </p:sp>
      <p:sp>
        <p:nvSpPr>
          <p:cNvPr id="24585" name="Text Box 10"/>
          <p:cNvSpPr txBox="1">
            <a:spLocks noChangeArrowheads="1"/>
          </p:cNvSpPr>
          <p:nvPr/>
        </p:nvSpPr>
        <p:spPr bwMode="auto">
          <a:xfrm rot="-2649531">
            <a:off x="6001896" y="2934376"/>
            <a:ext cx="2455161"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Analisar informação</a:t>
            </a:r>
          </a:p>
        </p:txBody>
      </p:sp>
      <p:sp>
        <p:nvSpPr>
          <p:cNvPr id="24586" name="Text Box 11"/>
          <p:cNvSpPr txBox="1">
            <a:spLocks noChangeArrowheads="1"/>
          </p:cNvSpPr>
          <p:nvPr/>
        </p:nvSpPr>
        <p:spPr bwMode="auto">
          <a:xfrm rot="-2649531">
            <a:off x="7638240" y="3201076"/>
            <a:ext cx="1887570"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Exigir correção</a:t>
            </a:r>
          </a:p>
        </p:txBody>
      </p:sp>
      <p:sp>
        <p:nvSpPr>
          <p:cNvPr id="24587" name="Text Box 12"/>
          <p:cNvSpPr txBox="1">
            <a:spLocks noChangeArrowheads="1"/>
          </p:cNvSpPr>
          <p:nvPr/>
        </p:nvSpPr>
        <p:spPr bwMode="auto">
          <a:xfrm rot="-2649531">
            <a:off x="8459518" y="2868892"/>
            <a:ext cx="3778793"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Decidir estratégia e reestruturar</a:t>
            </a:r>
          </a:p>
        </p:txBody>
      </p:sp>
      <p:sp>
        <p:nvSpPr>
          <p:cNvPr id="24588" name="Text Box 13"/>
          <p:cNvSpPr txBox="1">
            <a:spLocks noChangeArrowheads="1"/>
          </p:cNvSpPr>
          <p:nvPr/>
        </p:nvSpPr>
        <p:spPr bwMode="auto">
          <a:xfrm rot="-2649531">
            <a:off x="10600319" y="2982001"/>
            <a:ext cx="2335641"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chemeClr val="tx1"/>
                </a:solidFill>
                <a:latin typeface="Calibri" panose="020F0502020204030204" pitchFamily="34" charset="0"/>
              </a:rPr>
              <a:t>Intervir e controlar</a:t>
            </a:r>
          </a:p>
        </p:txBody>
      </p:sp>
      <p:pic>
        <p:nvPicPr>
          <p:cNvPr id="24589" name="Picture 15" descr="ATT198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2438" y="5641183"/>
            <a:ext cx="4817270" cy="3612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0" name="Rectangle 16"/>
          <p:cNvSpPr>
            <a:spLocks noChangeArrowheads="1"/>
          </p:cNvSpPr>
          <p:nvPr/>
        </p:nvSpPr>
        <p:spPr bwMode="auto">
          <a:xfrm>
            <a:off x="592933" y="7738728"/>
            <a:ext cx="3077768" cy="1753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txBody>
          <a:bodyPr wrap="none" lIns="136145" tIns="68058" rIns="136145" bIns="68058" anchor="ctr">
            <a:spAutoFit/>
          </a:bodyPr>
          <a:lstStyle>
            <a:lvl1pPr>
              <a:spcBef>
                <a:spcPct val="20000"/>
              </a:spcBef>
              <a:buChar char="•"/>
              <a:tabLst>
                <a:tab pos="225425" algn="l"/>
              </a:tabLst>
              <a:defRPr sz="3200">
                <a:solidFill>
                  <a:srgbClr val="404040"/>
                </a:solidFill>
                <a:latin typeface="Times New Roman" panose="02020603050405020304" pitchFamily="18" charset="0"/>
              </a:defRPr>
            </a:lvl1pPr>
            <a:lvl2pPr marL="742950" indent="-285750">
              <a:spcBef>
                <a:spcPct val="20000"/>
              </a:spcBef>
              <a:buChar char="–"/>
              <a:tabLst>
                <a:tab pos="225425" algn="l"/>
              </a:tabLst>
              <a:defRPr sz="2800">
                <a:solidFill>
                  <a:srgbClr val="404040"/>
                </a:solidFill>
                <a:latin typeface="Times New Roman" panose="02020603050405020304" pitchFamily="18" charset="0"/>
              </a:defRPr>
            </a:lvl2pPr>
            <a:lvl3pPr marL="1143000" indent="-228600">
              <a:spcBef>
                <a:spcPct val="20000"/>
              </a:spcBef>
              <a:buChar char="•"/>
              <a:tabLst>
                <a:tab pos="225425" algn="l"/>
              </a:tabLst>
              <a:defRPr sz="2400">
                <a:solidFill>
                  <a:srgbClr val="404040"/>
                </a:solidFill>
                <a:latin typeface="Times New Roman" panose="02020603050405020304" pitchFamily="18" charset="0"/>
              </a:defRPr>
            </a:lvl3pPr>
            <a:lvl4pPr marL="1600200" indent="-228600">
              <a:spcBef>
                <a:spcPct val="20000"/>
              </a:spcBef>
              <a:buChar char="–"/>
              <a:tabLst>
                <a:tab pos="225425" algn="l"/>
              </a:tabLst>
              <a:defRPr sz="2000">
                <a:solidFill>
                  <a:srgbClr val="404040"/>
                </a:solidFill>
                <a:latin typeface="Times New Roman" panose="02020603050405020304" pitchFamily="18" charset="0"/>
              </a:defRPr>
            </a:lvl4pPr>
            <a:lvl5pPr marL="2057400" indent="-228600">
              <a:spcBef>
                <a:spcPct val="20000"/>
              </a:spcBef>
              <a:buChar char="»"/>
              <a:tabLst>
                <a:tab pos="225425" algn="l"/>
              </a:tabLst>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tabLst>
                <a:tab pos="225425" algn="l"/>
              </a:tabLst>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tabLst>
                <a:tab pos="225425" algn="l"/>
              </a:tabLst>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tabLst>
                <a:tab pos="225425" algn="l"/>
              </a:tabLst>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tabLst>
                <a:tab pos="225425" algn="l"/>
              </a:tabLst>
              <a:defRPr sz="2000">
                <a:solidFill>
                  <a:srgbClr val="404040"/>
                </a:solidFill>
                <a:latin typeface="Times New Roman" panose="02020603050405020304" pitchFamily="18" charset="0"/>
              </a:defRPr>
            </a:lvl9pPr>
          </a:lstStyle>
          <a:p>
            <a:pPr>
              <a:spcBef>
                <a:spcPct val="0"/>
              </a:spcBef>
              <a:buFontTx/>
              <a:buNone/>
            </a:pPr>
            <a:r>
              <a:rPr lang="pt-BR" altLang="pt-BR" sz="2100">
                <a:solidFill>
                  <a:schemeClr val="tx1"/>
                </a:solidFill>
                <a:latin typeface="Helvetica" panose="020B0500000000000000" pitchFamily="34" charset="0"/>
              </a:rPr>
              <a:t>Porte da empresa;</a:t>
            </a:r>
          </a:p>
          <a:p>
            <a:pPr>
              <a:spcBef>
                <a:spcPct val="0"/>
              </a:spcBef>
              <a:buFontTx/>
              <a:buNone/>
            </a:pPr>
            <a:r>
              <a:rPr lang="pt-BR" altLang="pt-BR" sz="2100">
                <a:solidFill>
                  <a:schemeClr val="tx1"/>
                </a:solidFill>
                <a:latin typeface="Helvetica" panose="020B0500000000000000" pitchFamily="34" charset="0"/>
              </a:rPr>
              <a:t>Nível de Maturidade;</a:t>
            </a:r>
          </a:p>
          <a:p>
            <a:pPr>
              <a:spcBef>
                <a:spcPct val="0"/>
              </a:spcBef>
              <a:buFontTx/>
              <a:buNone/>
            </a:pPr>
            <a:r>
              <a:rPr lang="pt-BR" altLang="pt-BR" sz="2100">
                <a:solidFill>
                  <a:schemeClr val="tx1"/>
                </a:solidFill>
                <a:latin typeface="Helvetica" panose="020B0500000000000000" pitchFamily="34" charset="0"/>
              </a:rPr>
              <a:t>Perfil Executivo;</a:t>
            </a:r>
          </a:p>
          <a:p>
            <a:pPr>
              <a:spcBef>
                <a:spcPct val="0"/>
              </a:spcBef>
              <a:buFontTx/>
              <a:buNone/>
            </a:pPr>
            <a:r>
              <a:rPr lang="pt-BR" altLang="pt-BR" sz="2100">
                <a:solidFill>
                  <a:schemeClr val="tx1"/>
                </a:solidFill>
                <a:latin typeface="Helvetica" panose="020B0500000000000000" pitchFamily="34" charset="0"/>
              </a:rPr>
              <a:t>Distribuição geográfica;</a:t>
            </a:r>
          </a:p>
          <a:p>
            <a:pPr>
              <a:spcBef>
                <a:spcPct val="0"/>
              </a:spcBef>
              <a:buFontTx/>
              <a:buNone/>
            </a:pPr>
            <a:endParaRPr lang="pt-BR" altLang="pt-BR" sz="2100">
              <a:solidFill>
                <a:schemeClr val="tx1"/>
              </a:solidFill>
              <a:latin typeface="Helvetica" panose="020B0500000000000000" pitchFamily="34" charset="0"/>
            </a:endParaRPr>
          </a:p>
        </p:txBody>
      </p:sp>
      <p:sp>
        <p:nvSpPr>
          <p:cNvPr id="24591" name="Rectangle 19"/>
          <p:cNvSpPr>
            <a:spLocks noChangeArrowheads="1"/>
          </p:cNvSpPr>
          <p:nvPr/>
        </p:nvSpPr>
        <p:spPr bwMode="auto">
          <a:xfrm>
            <a:off x="9234488" y="7739063"/>
            <a:ext cx="4481513" cy="143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100">
                <a:solidFill>
                  <a:schemeClr val="tx1"/>
                </a:solidFill>
                <a:latin typeface="Helvetica" panose="020B0500000000000000" pitchFamily="34" charset="0"/>
              </a:rPr>
              <a:t>Porte dos projetos;</a:t>
            </a:r>
          </a:p>
          <a:p>
            <a:pPr>
              <a:spcBef>
                <a:spcPct val="0"/>
              </a:spcBef>
              <a:buFontTx/>
              <a:buNone/>
            </a:pPr>
            <a:r>
              <a:rPr lang="pt-BR" altLang="pt-BR" sz="2100">
                <a:solidFill>
                  <a:schemeClr val="tx1"/>
                </a:solidFill>
                <a:latin typeface="Helvetica" panose="020B0500000000000000" pitchFamily="34" charset="0"/>
              </a:rPr>
              <a:t>Estrutura organizacional;</a:t>
            </a:r>
          </a:p>
          <a:p>
            <a:pPr>
              <a:spcBef>
                <a:spcPct val="0"/>
              </a:spcBef>
              <a:buFontTx/>
              <a:buNone/>
            </a:pPr>
            <a:r>
              <a:rPr lang="pt-BR" altLang="pt-BR" sz="2100">
                <a:solidFill>
                  <a:schemeClr val="tx1"/>
                </a:solidFill>
                <a:latin typeface="Helvetica" panose="020B0500000000000000" pitchFamily="34" charset="0"/>
              </a:rPr>
              <a:t>Número de Projetos;</a:t>
            </a:r>
          </a:p>
          <a:p>
            <a:pPr>
              <a:spcBef>
                <a:spcPct val="0"/>
              </a:spcBef>
              <a:buFontTx/>
              <a:buNone/>
            </a:pPr>
            <a:r>
              <a:rPr lang="pt-BR" altLang="pt-BR" sz="2100">
                <a:solidFill>
                  <a:schemeClr val="tx1"/>
                </a:solidFill>
                <a:latin typeface="Helvetica" panose="020B0500000000000000" pitchFamily="34" charset="0"/>
              </a:rPr>
              <a:t>Existência ou não de um PMO.</a:t>
            </a:r>
          </a:p>
        </p:txBody>
      </p:sp>
      <p:sp>
        <p:nvSpPr>
          <p:cNvPr id="58384" name="Text Box 20"/>
          <p:cNvSpPr txBox="1">
            <a:spLocks noChangeArrowheads="1"/>
          </p:cNvSpPr>
          <p:nvPr/>
        </p:nvSpPr>
        <p:spPr bwMode="auto">
          <a:xfrm>
            <a:off x="942976" y="6619875"/>
            <a:ext cx="2618539" cy="876109"/>
          </a:xfrm>
          <a:prstGeom prst="rect">
            <a:avLst/>
          </a:prstGeom>
          <a:solidFill>
            <a:schemeClr val="accent6">
              <a:lumMod val="40000"/>
              <a:lumOff val="60000"/>
            </a:schemeClr>
          </a:solidFill>
          <a:ln>
            <a:noFill/>
          </a:ln>
          <a:effectLst>
            <a:outerShdw blurRad="50800" dist="38100" dir="5400000" algn="t" rotWithShape="0">
              <a:prstClr val="black">
                <a:alpha val="40000"/>
              </a:prstClr>
            </a:outerShdw>
          </a:effectLst>
        </p:spPr>
        <p:txBody>
          <a:bodyPr wrap="none" lIns="136145" tIns="68058" rIns="136145" bIns="6805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defRPr/>
            </a:pPr>
            <a:r>
              <a:rPr lang="pt-BR" sz="2400" i="1" dirty="0">
                <a:latin typeface="Arial" panose="020B0604020202020204" pitchFamily="34" charset="0"/>
              </a:rPr>
              <a:t>VARIÁVEIS  </a:t>
            </a:r>
          </a:p>
          <a:p>
            <a:pPr>
              <a:spcBef>
                <a:spcPct val="0"/>
              </a:spcBef>
              <a:buFontTx/>
              <a:buNone/>
              <a:defRPr/>
            </a:pPr>
            <a:r>
              <a:rPr lang="pt-BR" sz="2400" i="1" dirty="0">
                <a:latin typeface="Arial" panose="020B0604020202020204" pitchFamily="34" charset="0"/>
              </a:rPr>
              <a:t>DE INFLUÊNCIA</a:t>
            </a:r>
          </a:p>
        </p:txBody>
      </p:sp>
      <p:sp>
        <p:nvSpPr>
          <p:cNvPr id="18" name="Text Box 20"/>
          <p:cNvSpPr txBox="1">
            <a:spLocks noChangeArrowheads="1"/>
          </p:cNvSpPr>
          <p:nvPr/>
        </p:nvSpPr>
        <p:spPr bwMode="auto">
          <a:xfrm>
            <a:off x="9753601" y="6617495"/>
            <a:ext cx="2618539" cy="876109"/>
          </a:xfrm>
          <a:prstGeom prst="rect">
            <a:avLst/>
          </a:prstGeom>
          <a:solidFill>
            <a:schemeClr val="accent6">
              <a:lumMod val="40000"/>
              <a:lumOff val="60000"/>
            </a:schemeClr>
          </a:solidFill>
          <a:ln>
            <a:noFill/>
          </a:ln>
          <a:effectLst>
            <a:outerShdw blurRad="50800" dist="38100" dir="5400000" algn="t" rotWithShape="0">
              <a:prstClr val="black">
                <a:alpha val="40000"/>
              </a:prstClr>
            </a:outerShdw>
          </a:effectLst>
        </p:spPr>
        <p:txBody>
          <a:bodyPr wrap="none" lIns="136145" tIns="68058" rIns="136145" bIns="6805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defRPr/>
            </a:pPr>
            <a:r>
              <a:rPr lang="pt-BR" sz="2400" i="1" dirty="0">
                <a:latin typeface="Arial" panose="020B0604020202020204" pitchFamily="34" charset="0"/>
              </a:rPr>
              <a:t>VARIÁVEIS  </a:t>
            </a:r>
          </a:p>
          <a:p>
            <a:pPr>
              <a:spcBef>
                <a:spcPct val="0"/>
              </a:spcBef>
              <a:buFontTx/>
              <a:buNone/>
              <a:defRPr/>
            </a:pPr>
            <a:r>
              <a:rPr lang="pt-BR" sz="2400" i="1" dirty="0">
                <a:latin typeface="Arial" panose="020B0604020202020204" pitchFamily="34" charset="0"/>
              </a:rPr>
              <a:t>DE INFLUÊNCIA</a:t>
            </a:r>
          </a:p>
        </p:txBody>
      </p:sp>
    </p:spTree>
    <p:custDataLst>
      <p:tags r:id="rId1"/>
    </p:custDataLst>
    <p:extLst>
      <p:ext uri="{BB962C8B-B14F-4D97-AF65-F5344CB8AC3E}">
        <p14:creationId xmlns:p14="http://schemas.microsoft.com/office/powerpoint/2010/main" val="2868099687"/>
      </p:ext>
    </p:extLst>
  </p:cSld>
  <p:clrMapOvr>
    <a:masterClrMapping/>
  </p:clrMapOvr>
  <p:transition spd="slow">
    <p:strips dir="rd"/>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5"/>
          <p:cNvSpPr>
            <a:spLocks noChangeArrowheads="1"/>
          </p:cNvSpPr>
          <p:nvPr/>
        </p:nvSpPr>
        <p:spPr bwMode="auto">
          <a:xfrm>
            <a:off x="38100" y="100013"/>
            <a:ext cx="8774907" cy="790575"/>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lnSpc>
                <a:spcPct val="80000"/>
              </a:lnSpc>
              <a:defRPr/>
            </a:pPr>
            <a:r>
              <a:rPr lang="pt-BR" sz="3047" dirty="0">
                <a:solidFill>
                  <a:schemeClr val="tx1"/>
                </a:solidFill>
                <a:latin typeface="Helvetica" panose="020B0604020202020204" pitchFamily="34" charset="0"/>
              </a:rPr>
              <a:t>Funções típicas do PMO segundo Crawford</a:t>
            </a:r>
            <a:endParaRPr lang="en-GB" sz="3047" dirty="0">
              <a:solidFill>
                <a:schemeClr val="tx1"/>
              </a:solidFill>
              <a:latin typeface="Helvetica" panose="020B0604020202020204" pitchFamily="34" charset="0"/>
            </a:endParaRPr>
          </a:p>
        </p:txBody>
      </p:sp>
      <p:sp>
        <p:nvSpPr>
          <p:cNvPr id="4" name="AutoShape 2"/>
          <p:cNvSpPr>
            <a:spLocks noChangeArrowheads="1"/>
          </p:cNvSpPr>
          <p:nvPr/>
        </p:nvSpPr>
        <p:spPr bwMode="auto">
          <a:xfrm>
            <a:off x="4493420" y="2052638"/>
            <a:ext cx="1726406" cy="900113"/>
          </a:xfrm>
          <a:prstGeom prst="flowChartProcess">
            <a:avLst/>
          </a:prstGeom>
          <a:solidFill>
            <a:schemeClr val="accent6">
              <a:lumMod val="20000"/>
              <a:lumOff val="80000"/>
            </a:schemeClr>
          </a:solidFill>
          <a:ln w="19050">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a:effectLst>
                  <a:outerShdw blurRad="38100" dist="38100" dir="2700000" algn="tl">
                    <a:srgbClr val="C0C0C0"/>
                  </a:outerShdw>
                </a:effectLst>
                <a:latin typeface="Calibri" pitchFamily="34" charset="0"/>
                <a:cs typeface="Calibri" pitchFamily="34" charset="0"/>
              </a:rPr>
              <a:t>CEO</a:t>
            </a:r>
          </a:p>
        </p:txBody>
      </p:sp>
      <p:sp>
        <p:nvSpPr>
          <p:cNvPr id="5" name="AutoShape 3"/>
          <p:cNvSpPr>
            <a:spLocks noChangeArrowheads="1"/>
          </p:cNvSpPr>
          <p:nvPr/>
        </p:nvSpPr>
        <p:spPr bwMode="auto">
          <a:xfrm>
            <a:off x="6436520" y="3445670"/>
            <a:ext cx="1726406" cy="900113"/>
          </a:xfrm>
          <a:prstGeom prst="flowChartProcess">
            <a:avLst/>
          </a:prstGeom>
          <a:solidFill>
            <a:schemeClr val="accent6">
              <a:lumMod val="40000"/>
              <a:lumOff val="60000"/>
            </a:schemeClr>
          </a:solidFill>
          <a:ln w="19050">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effectLst>
                  <a:outerShdw blurRad="38100" dist="38100" dir="2700000" algn="tl">
                    <a:srgbClr val="C0C0C0"/>
                  </a:outerShdw>
                </a:effectLst>
                <a:latin typeface="Calibri" pitchFamily="34" charset="0"/>
                <a:cs typeface="Calibri" pitchFamily="34" charset="0"/>
              </a:rPr>
              <a:t>Diretoria 3</a:t>
            </a:r>
          </a:p>
        </p:txBody>
      </p:sp>
      <p:sp>
        <p:nvSpPr>
          <p:cNvPr id="6" name="AutoShape 4"/>
          <p:cNvSpPr>
            <a:spLocks noChangeArrowheads="1"/>
          </p:cNvSpPr>
          <p:nvPr/>
        </p:nvSpPr>
        <p:spPr bwMode="auto">
          <a:xfrm>
            <a:off x="4493420" y="3445670"/>
            <a:ext cx="1726406" cy="900113"/>
          </a:xfrm>
          <a:prstGeom prst="flowChartProcess">
            <a:avLst/>
          </a:prstGeom>
          <a:solidFill>
            <a:schemeClr val="accent6">
              <a:lumMod val="40000"/>
              <a:lumOff val="60000"/>
            </a:schemeClr>
          </a:solidFill>
          <a:ln w="19050" algn="ctr">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effectLst>
                  <a:outerShdw blurRad="38100" dist="38100" dir="2700000" algn="tl">
                    <a:srgbClr val="C0C0C0"/>
                  </a:outerShdw>
                </a:effectLst>
                <a:latin typeface="Calibri" pitchFamily="34" charset="0"/>
                <a:cs typeface="Calibri" pitchFamily="34" charset="0"/>
              </a:rPr>
              <a:t> Diretoria 2</a:t>
            </a:r>
          </a:p>
        </p:txBody>
      </p:sp>
      <p:sp>
        <p:nvSpPr>
          <p:cNvPr id="7" name="AutoShape 5"/>
          <p:cNvSpPr>
            <a:spLocks noChangeArrowheads="1"/>
          </p:cNvSpPr>
          <p:nvPr/>
        </p:nvSpPr>
        <p:spPr bwMode="auto">
          <a:xfrm>
            <a:off x="3843338" y="5541170"/>
            <a:ext cx="1728788" cy="900113"/>
          </a:xfrm>
          <a:prstGeom prst="flowChartProcess">
            <a:avLst/>
          </a:prstGeom>
          <a:solidFill>
            <a:schemeClr val="accent6">
              <a:lumMod val="75000"/>
            </a:schemeClr>
          </a:solidFill>
          <a:ln w="19050">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solidFill>
                  <a:schemeClr val="bg1"/>
                </a:solidFill>
                <a:effectLst>
                  <a:outerShdw blurRad="38100" dist="38100" dir="2700000" algn="tl">
                    <a:srgbClr val="C0C0C0"/>
                  </a:outerShdw>
                </a:effectLst>
                <a:latin typeface="Calibri" pitchFamily="34" charset="0"/>
                <a:cs typeface="Calibri" pitchFamily="34" charset="0"/>
              </a:rPr>
              <a:t>Gerência 2</a:t>
            </a:r>
          </a:p>
        </p:txBody>
      </p:sp>
      <p:sp>
        <p:nvSpPr>
          <p:cNvPr id="8" name="AutoShape 6"/>
          <p:cNvSpPr>
            <a:spLocks noChangeArrowheads="1"/>
          </p:cNvSpPr>
          <p:nvPr/>
        </p:nvSpPr>
        <p:spPr bwMode="auto">
          <a:xfrm>
            <a:off x="1574008" y="5541170"/>
            <a:ext cx="1728788" cy="900113"/>
          </a:xfrm>
          <a:prstGeom prst="flowChartProcess">
            <a:avLst/>
          </a:prstGeom>
          <a:solidFill>
            <a:schemeClr val="accent6">
              <a:lumMod val="75000"/>
            </a:schemeClr>
          </a:solidFill>
          <a:ln w="19050">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solidFill>
                  <a:schemeClr val="bg1"/>
                </a:solidFill>
                <a:effectLst>
                  <a:outerShdw blurRad="38100" dist="38100" dir="2700000" algn="tl">
                    <a:srgbClr val="C0C0C0"/>
                  </a:outerShdw>
                </a:effectLst>
                <a:latin typeface="Calibri" pitchFamily="34" charset="0"/>
                <a:cs typeface="Calibri" pitchFamily="34" charset="0"/>
              </a:rPr>
              <a:t>Gerencia 1</a:t>
            </a:r>
          </a:p>
        </p:txBody>
      </p:sp>
      <p:sp>
        <p:nvSpPr>
          <p:cNvPr id="9" name="AutoShape 7"/>
          <p:cNvSpPr>
            <a:spLocks noChangeArrowheads="1"/>
          </p:cNvSpPr>
          <p:nvPr/>
        </p:nvSpPr>
        <p:spPr bwMode="auto">
          <a:xfrm>
            <a:off x="2552700" y="3445670"/>
            <a:ext cx="1726407" cy="900113"/>
          </a:xfrm>
          <a:prstGeom prst="flowChartProcess">
            <a:avLst/>
          </a:prstGeom>
          <a:solidFill>
            <a:schemeClr val="accent6">
              <a:lumMod val="40000"/>
              <a:lumOff val="60000"/>
            </a:schemeClr>
          </a:solidFill>
          <a:ln w="19050" algn="ctr">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effectLst>
                  <a:outerShdw blurRad="38100" dist="38100" dir="2700000" algn="tl">
                    <a:srgbClr val="C0C0C0"/>
                  </a:outerShdw>
                </a:effectLst>
                <a:latin typeface="Calibri" pitchFamily="34" charset="0"/>
                <a:cs typeface="Calibri" pitchFamily="34" charset="0"/>
              </a:rPr>
              <a:t>Diretoria 1</a:t>
            </a:r>
          </a:p>
        </p:txBody>
      </p:sp>
      <p:cxnSp>
        <p:nvCxnSpPr>
          <p:cNvPr id="25609" name="AutoShape 8"/>
          <p:cNvCxnSpPr>
            <a:cxnSpLocks noChangeShapeType="1"/>
            <a:stCxn id="4" idx="2"/>
            <a:endCxn id="9" idx="0"/>
          </p:cNvCxnSpPr>
          <p:nvPr/>
        </p:nvCxnSpPr>
        <p:spPr bwMode="auto">
          <a:xfrm rot="5400000">
            <a:off x="4151710" y="2227661"/>
            <a:ext cx="469106" cy="1943100"/>
          </a:xfrm>
          <a:prstGeom prst="bentConnector3">
            <a:avLst>
              <a:gd name="adj1" fmla="val 49764"/>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11" name="AutoShape 9"/>
          <p:cNvSpPr>
            <a:spLocks noChangeArrowheads="1"/>
          </p:cNvSpPr>
          <p:nvPr/>
        </p:nvSpPr>
        <p:spPr bwMode="auto">
          <a:xfrm>
            <a:off x="1578770" y="7436645"/>
            <a:ext cx="1726406" cy="897731"/>
          </a:xfrm>
          <a:prstGeom prst="flowChartProcess">
            <a:avLst/>
          </a:prstGeom>
          <a:solidFill>
            <a:srgbClr val="C00000"/>
          </a:solidFill>
          <a:ln w="19050">
            <a:solidFill>
              <a:schemeClr val="bg2"/>
            </a:solidFill>
            <a:miter lim="800000"/>
            <a:headEnd/>
            <a:tailEnd/>
          </a:ln>
          <a:effectLst>
            <a:outerShdw blurRad="50800" dist="38100" dir="5400000" algn="t" rotWithShape="0">
              <a:prstClr val="black">
                <a:alpha val="40000"/>
              </a:prstClr>
            </a:outerShdw>
          </a:effectLst>
        </p:spPr>
        <p:txBody>
          <a:bodyPr wrap="none" anchor="ctr"/>
          <a:lstStyle/>
          <a:p>
            <a:pPr algn="ctr">
              <a:defRPr/>
            </a:pPr>
            <a:r>
              <a:rPr lang="pt-BR" sz="1938" dirty="0">
                <a:solidFill>
                  <a:schemeClr val="bg1"/>
                </a:solidFill>
                <a:effectLst>
                  <a:outerShdw blurRad="38100" dist="38100" dir="2700000" algn="tl">
                    <a:srgbClr val="C0C0C0"/>
                  </a:outerShdw>
                </a:effectLst>
                <a:latin typeface="Calibri" pitchFamily="34" charset="0"/>
                <a:cs typeface="Calibri" pitchFamily="34" charset="0"/>
              </a:rPr>
              <a:t>Projetos</a:t>
            </a:r>
          </a:p>
        </p:txBody>
      </p:sp>
      <p:sp>
        <p:nvSpPr>
          <p:cNvPr id="12" name="Oval 10"/>
          <p:cNvSpPr>
            <a:spLocks noChangeArrowheads="1"/>
          </p:cNvSpPr>
          <p:nvPr/>
        </p:nvSpPr>
        <p:spPr bwMode="auto">
          <a:xfrm>
            <a:off x="8382001" y="3445670"/>
            <a:ext cx="1616870" cy="997743"/>
          </a:xfrm>
          <a:prstGeom prst="ellipse">
            <a:avLst/>
          </a:prstGeom>
          <a:solidFill>
            <a:schemeClr val="accent6">
              <a:lumMod val="50000"/>
            </a:schemeClr>
          </a:solidFill>
          <a:ln>
            <a:noFill/>
          </a:ln>
          <a:effectLst>
            <a:prstShdw prst="shdw17" dist="17961" dir="2700000">
              <a:srgbClr val="003399">
                <a:gamma/>
                <a:shade val="60000"/>
                <a:invGamma/>
              </a:srgbClr>
            </a:prstShdw>
          </a:effectLst>
        </p:spPr>
        <p:txBody>
          <a:bodyPr wrap="none" anchor="ctr"/>
          <a:lstStyle/>
          <a:p>
            <a:pPr algn="ctr">
              <a:defRPr/>
            </a:pPr>
            <a:r>
              <a:rPr lang="pt-BR" sz="2493">
                <a:solidFill>
                  <a:schemeClr val="bg1"/>
                </a:solidFill>
                <a:effectLst>
                  <a:outerShdw blurRad="38100" dist="38100" dir="2700000" algn="tl">
                    <a:srgbClr val="000000"/>
                  </a:outerShdw>
                </a:effectLst>
                <a:latin typeface="Calibri" pitchFamily="34" charset="0"/>
                <a:cs typeface="Calibri" pitchFamily="34" charset="0"/>
              </a:rPr>
              <a:t>PMO N3</a:t>
            </a:r>
          </a:p>
        </p:txBody>
      </p:sp>
      <p:cxnSp>
        <p:nvCxnSpPr>
          <p:cNvPr id="25612" name="AutoShape 11"/>
          <p:cNvCxnSpPr>
            <a:cxnSpLocks noChangeShapeType="1"/>
            <a:stCxn id="4" idx="2"/>
            <a:endCxn id="12" idx="0"/>
          </p:cNvCxnSpPr>
          <p:nvPr/>
        </p:nvCxnSpPr>
        <p:spPr bwMode="auto">
          <a:xfrm rot="16200000" flipH="1">
            <a:off x="7033022" y="1289448"/>
            <a:ext cx="481013" cy="3831432"/>
          </a:xfrm>
          <a:prstGeom prst="bentConnector3">
            <a:avLst>
              <a:gd name="adj1" fmla="val 48403"/>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25613" name="AutoShape 12"/>
          <p:cNvCxnSpPr>
            <a:cxnSpLocks noChangeShapeType="1"/>
            <a:stCxn id="4" idx="2"/>
            <a:endCxn id="6" idx="0"/>
          </p:cNvCxnSpPr>
          <p:nvPr/>
        </p:nvCxnSpPr>
        <p:spPr bwMode="auto">
          <a:xfrm rot="5400000">
            <a:off x="5123260" y="3199211"/>
            <a:ext cx="46910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614" name="AutoShape 13"/>
          <p:cNvCxnSpPr>
            <a:cxnSpLocks noChangeShapeType="1"/>
            <a:stCxn id="4" idx="2"/>
            <a:endCxn id="5" idx="0"/>
          </p:cNvCxnSpPr>
          <p:nvPr/>
        </p:nvCxnSpPr>
        <p:spPr bwMode="auto">
          <a:xfrm rot="16200000" flipH="1">
            <a:off x="6094810" y="2227661"/>
            <a:ext cx="469106" cy="1943100"/>
          </a:xfrm>
          <a:prstGeom prst="bentConnector3">
            <a:avLst>
              <a:gd name="adj1" fmla="val 49764"/>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25615" name="AutoShape 14"/>
          <p:cNvCxnSpPr>
            <a:cxnSpLocks noChangeShapeType="1"/>
            <a:stCxn id="9" idx="2"/>
            <a:endCxn id="7" idx="0"/>
          </p:cNvCxnSpPr>
          <p:nvPr/>
        </p:nvCxnSpPr>
        <p:spPr bwMode="auto">
          <a:xfrm rot="16200000" flipH="1">
            <a:off x="3475436" y="4296965"/>
            <a:ext cx="1171575" cy="1293020"/>
          </a:xfrm>
          <a:prstGeom prst="bentConnector3">
            <a:avLst>
              <a:gd name="adj1" fmla="val 4981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25616" name="AutoShape 15"/>
          <p:cNvCxnSpPr>
            <a:cxnSpLocks noChangeShapeType="1"/>
            <a:stCxn id="9" idx="2"/>
            <a:endCxn id="8" idx="0"/>
          </p:cNvCxnSpPr>
          <p:nvPr/>
        </p:nvCxnSpPr>
        <p:spPr bwMode="auto">
          <a:xfrm rot="5400000">
            <a:off x="2341961" y="4456510"/>
            <a:ext cx="1171575" cy="973931"/>
          </a:xfrm>
          <a:prstGeom prst="bentConnector3">
            <a:avLst>
              <a:gd name="adj1" fmla="val 4981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25617" name="AutoShape 16"/>
          <p:cNvCxnSpPr>
            <a:cxnSpLocks noChangeShapeType="1"/>
            <a:stCxn id="8" idx="2"/>
            <a:endCxn id="11" idx="0"/>
          </p:cNvCxnSpPr>
          <p:nvPr/>
        </p:nvCxnSpPr>
        <p:spPr bwMode="auto">
          <a:xfrm rot="16200000" flipH="1">
            <a:off x="1957388" y="6936583"/>
            <a:ext cx="969170" cy="2381"/>
          </a:xfrm>
          <a:prstGeom prst="bentConnector3">
            <a:avLst>
              <a:gd name="adj1" fmla="val 49889"/>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19" name="Oval 17"/>
          <p:cNvSpPr>
            <a:spLocks noChangeArrowheads="1"/>
          </p:cNvSpPr>
          <p:nvPr/>
        </p:nvSpPr>
        <p:spPr bwMode="auto">
          <a:xfrm>
            <a:off x="6003132" y="5541170"/>
            <a:ext cx="1619250" cy="997743"/>
          </a:xfrm>
          <a:prstGeom prst="ellipse">
            <a:avLst/>
          </a:prstGeom>
          <a:solidFill>
            <a:schemeClr val="accent6">
              <a:lumMod val="60000"/>
              <a:lumOff val="40000"/>
            </a:schemeClr>
          </a:solidFill>
          <a:ln>
            <a:noFill/>
          </a:ln>
          <a:effectLst>
            <a:prstShdw prst="shdw17" dist="17961" dir="2700000">
              <a:srgbClr val="006699">
                <a:gamma/>
                <a:shade val="60000"/>
                <a:invGamma/>
              </a:srgbClr>
            </a:prstShdw>
          </a:effectLst>
        </p:spPr>
        <p:txBody>
          <a:bodyPr wrap="none" anchor="ctr"/>
          <a:lstStyle/>
          <a:p>
            <a:pPr algn="ctr">
              <a:defRPr/>
            </a:pPr>
            <a:r>
              <a:rPr lang="pt-BR" sz="2493">
                <a:solidFill>
                  <a:schemeClr val="bg1"/>
                </a:solidFill>
                <a:effectLst>
                  <a:outerShdw blurRad="38100" dist="38100" dir="2700000" algn="tl">
                    <a:srgbClr val="000000"/>
                  </a:outerShdw>
                </a:effectLst>
                <a:latin typeface="Calibri" pitchFamily="34" charset="0"/>
                <a:cs typeface="Calibri" pitchFamily="34" charset="0"/>
              </a:rPr>
              <a:t>PMO N2</a:t>
            </a:r>
          </a:p>
        </p:txBody>
      </p:sp>
      <p:sp>
        <p:nvSpPr>
          <p:cNvPr id="20" name="Oval 18"/>
          <p:cNvSpPr>
            <a:spLocks noChangeArrowheads="1"/>
          </p:cNvSpPr>
          <p:nvPr/>
        </p:nvSpPr>
        <p:spPr bwMode="auto">
          <a:xfrm>
            <a:off x="3521870" y="7436645"/>
            <a:ext cx="1509713" cy="997743"/>
          </a:xfrm>
          <a:prstGeom prst="ellipse">
            <a:avLst/>
          </a:prstGeom>
          <a:solidFill>
            <a:schemeClr val="accent6">
              <a:lumMod val="20000"/>
              <a:lumOff val="80000"/>
            </a:schemeClr>
          </a:solidFill>
          <a:ln>
            <a:noFill/>
          </a:ln>
        </p:spPr>
        <p:style>
          <a:lnRef idx="3">
            <a:schemeClr val="lt1"/>
          </a:lnRef>
          <a:fillRef idx="1">
            <a:schemeClr val="accent3"/>
          </a:fillRef>
          <a:effectRef idx="1">
            <a:schemeClr val="accent3"/>
          </a:effectRef>
          <a:fontRef idx="minor">
            <a:schemeClr val="lt1"/>
          </a:fontRef>
        </p:style>
        <p:txBody>
          <a:bodyPr wrap="none" anchor="ctr"/>
          <a:lstStyle/>
          <a:p>
            <a:pPr algn="ctr">
              <a:defRPr/>
            </a:pPr>
            <a:r>
              <a:rPr lang="pt-BR" sz="2493" dirty="0">
                <a:solidFill>
                  <a:schemeClr val="tx1"/>
                </a:solidFill>
                <a:effectLst>
                  <a:outerShdw blurRad="38100" dist="38100" dir="2700000" algn="tl">
                    <a:srgbClr val="000000"/>
                  </a:outerShdw>
                </a:effectLst>
                <a:latin typeface="Calibri" pitchFamily="34" charset="0"/>
                <a:cs typeface="Calibri" pitchFamily="34" charset="0"/>
              </a:rPr>
              <a:t>PMO N1</a:t>
            </a:r>
          </a:p>
        </p:txBody>
      </p:sp>
      <p:cxnSp>
        <p:nvCxnSpPr>
          <p:cNvPr id="25620" name="AutoShape 19"/>
          <p:cNvCxnSpPr>
            <a:cxnSpLocks noChangeShapeType="1"/>
            <a:stCxn id="9" idx="2"/>
            <a:endCxn id="19" idx="0"/>
          </p:cNvCxnSpPr>
          <p:nvPr/>
        </p:nvCxnSpPr>
        <p:spPr bwMode="auto">
          <a:xfrm rot="16200000" flipH="1">
            <a:off x="4523184" y="3249216"/>
            <a:ext cx="1183482" cy="3400425"/>
          </a:xfrm>
          <a:prstGeom prst="bentConnector3">
            <a:avLst>
              <a:gd name="adj1" fmla="val 49255"/>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25621" name="AutoShape 20"/>
          <p:cNvCxnSpPr>
            <a:cxnSpLocks noChangeShapeType="1"/>
            <a:stCxn id="8" idx="2"/>
            <a:endCxn id="20" idx="0"/>
          </p:cNvCxnSpPr>
          <p:nvPr/>
        </p:nvCxnSpPr>
        <p:spPr bwMode="auto">
          <a:xfrm rot="16200000" flipH="1">
            <a:off x="2867025" y="6026945"/>
            <a:ext cx="983457" cy="1835943"/>
          </a:xfrm>
          <a:prstGeom prst="bentConnector3">
            <a:avLst>
              <a:gd name="adj1" fmla="val 49218"/>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34838" name="Text Box 21"/>
          <p:cNvSpPr txBox="1">
            <a:spLocks noChangeArrowheads="1"/>
          </p:cNvSpPr>
          <p:nvPr/>
        </p:nvSpPr>
        <p:spPr bwMode="auto">
          <a:xfrm>
            <a:off x="5167313" y="7391401"/>
            <a:ext cx="4174332" cy="897938"/>
          </a:xfrm>
          <a:prstGeom prst="rect">
            <a:avLst/>
          </a:prstGeom>
          <a:noFill/>
          <a:ln>
            <a:noFill/>
          </a:ln>
        </p:spPr>
        <p:txBody>
          <a:bodyPr>
            <a:spAutoFit/>
          </a:bodyP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spcBef>
                <a:spcPct val="10000"/>
              </a:spcBef>
              <a:defRPr/>
            </a:pPr>
            <a:r>
              <a:rPr lang="pt-BR" sz="2493" i="1" u="sng" dirty="0">
                <a:solidFill>
                  <a:schemeClr val="tx2"/>
                </a:solidFill>
                <a:latin typeface="Calibri" panose="020F0502020204030204" pitchFamily="34" charset="0"/>
              </a:rPr>
              <a:t>Nível Operacional:</a:t>
            </a:r>
          </a:p>
          <a:p>
            <a:pPr eaLnBrk="1" hangingPunct="1">
              <a:spcBef>
                <a:spcPct val="10000"/>
              </a:spcBef>
              <a:defRPr/>
            </a:pPr>
            <a:r>
              <a:rPr lang="pt-BR" sz="2493" i="1" u="sng" dirty="0">
                <a:solidFill>
                  <a:schemeClr val="tx2"/>
                </a:solidFill>
                <a:latin typeface="Calibri" panose="020F0502020204030204" pitchFamily="34" charset="0"/>
              </a:rPr>
              <a:t>Amplitude Programa-Projeto</a:t>
            </a:r>
          </a:p>
        </p:txBody>
      </p:sp>
      <p:sp>
        <p:nvSpPr>
          <p:cNvPr id="34839" name="Text Box 22"/>
          <p:cNvSpPr txBox="1">
            <a:spLocks noChangeArrowheads="1"/>
          </p:cNvSpPr>
          <p:nvPr/>
        </p:nvSpPr>
        <p:spPr bwMode="auto">
          <a:xfrm>
            <a:off x="7584283" y="5007770"/>
            <a:ext cx="3917156" cy="1319913"/>
          </a:xfrm>
          <a:prstGeom prst="rect">
            <a:avLst/>
          </a:prstGeom>
          <a:noFill/>
          <a:ln>
            <a:noFill/>
          </a:ln>
        </p:spPr>
        <p:txBody>
          <a:bodyPr>
            <a:spAutoFit/>
          </a:bodyP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spcBef>
                <a:spcPct val="10000"/>
              </a:spcBef>
              <a:defRPr/>
            </a:pPr>
            <a:endParaRPr lang="pt-BR" sz="2493" i="1" u="sng" dirty="0">
              <a:solidFill>
                <a:schemeClr val="tx2"/>
              </a:solidFill>
              <a:latin typeface="Calibri" panose="020F0502020204030204" pitchFamily="34" charset="0"/>
            </a:endParaRPr>
          </a:p>
          <a:p>
            <a:pPr eaLnBrk="1" hangingPunct="1">
              <a:spcBef>
                <a:spcPct val="10000"/>
              </a:spcBef>
              <a:defRPr/>
            </a:pPr>
            <a:r>
              <a:rPr lang="pt-BR" sz="2493" i="1" u="sng" dirty="0">
                <a:solidFill>
                  <a:schemeClr val="tx2"/>
                </a:solidFill>
                <a:latin typeface="Calibri" panose="020F0502020204030204" pitchFamily="34" charset="0"/>
              </a:rPr>
              <a:t> Nível Tático:</a:t>
            </a:r>
          </a:p>
          <a:p>
            <a:pPr eaLnBrk="1" hangingPunct="1">
              <a:spcBef>
                <a:spcPct val="10000"/>
              </a:spcBef>
              <a:defRPr/>
            </a:pPr>
            <a:r>
              <a:rPr lang="pt-BR" sz="2493" i="1" dirty="0">
                <a:solidFill>
                  <a:schemeClr val="tx2"/>
                </a:solidFill>
                <a:latin typeface="Calibri" panose="020F0502020204030204" pitchFamily="34" charset="0"/>
              </a:rPr>
              <a:t>Amplitude Departamental</a:t>
            </a:r>
          </a:p>
        </p:txBody>
      </p:sp>
      <p:sp>
        <p:nvSpPr>
          <p:cNvPr id="34840" name="Text Box 23"/>
          <p:cNvSpPr txBox="1">
            <a:spLocks noChangeArrowheads="1"/>
          </p:cNvSpPr>
          <p:nvPr/>
        </p:nvSpPr>
        <p:spPr bwMode="auto">
          <a:xfrm>
            <a:off x="9958388" y="3233738"/>
            <a:ext cx="3488532" cy="1319913"/>
          </a:xfrm>
          <a:prstGeom prst="rect">
            <a:avLst/>
          </a:prstGeom>
          <a:noFill/>
          <a:ln>
            <a:noFill/>
          </a:ln>
        </p:spPr>
        <p:txBody>
          <a:bodyPr>
            <a:spAutoFit/>
          </a:bodyP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spcBef>
                <a:spcPct val="10000"/>
              </a:spcBef>
              <a:defRPr/>
            </a:pPr>
            <a:r>
              <a:rPr lang="pt-BR" sz="2493" i="1" u="sng" dirty="0">
                <a:solidFill>
                  <a:schemeClr val="tx2"/>
                </a:solidFill>
                <a:latin typeface="Calibri" panose="020F0502020204030204" pitchFamily="34" charset="0"/>
              </a:rPr>
              <a:t> Nível Estratégico: </a:t>
            </a:r>
          </a:p>
          <a:p>
            <a:pPr eaLnBrk="1" hangingPunct="1">
              <a:spcBef>
                <a:spcPct val="10000"/>
              </a:spcBef>
              <a:defRPr/>
            </a:pPr>
            <a:r>
              <a:rPr lang="pt-BR" sz="2493" i="1" dirty="0">
                <a:solidFill>
                  <a:schemeClr val="tx2"/>
                </a:solidFill>
                <a:latin typeface="Calibri" panose="020F0502020204030204" pitchFamily="34" charset="0"/>
              </a:rPr>
              <a:t>  Amplitude Corporativa</a:t>
            </a:r>
          </a:p>
          <a:p>
            <a:pPr eaLnBrk="1" hangingPunct="1">
              <a:spcBef>
                <a:spcPct val="10000"/>
              </a:spcBef>
              <a:defRPr/>
            </a:pPr>
            <a:r>
              <a:rPr lang="pt-BR" sz="2493" i="1" dirty="0">
                <a:solidFill>
                  <a:schemeClr val="tx2"/>
                </a:solidFill>
                <a:latin typeface="Calibri" panose="020F0502020204030204" pitchFamily="34" charset="0"/>
              </a:rPr>
              <a:t>    </a:t>
            </a:r>
          </a:p>
        </p:txBody>
      </p:sp>
    </p:spTree>
    <p:custDataLst>
      <p:tags r:id="rId1"/>
    </p:custDataLst>
    <p:extLst>
      <p:ext uri="{BB962C8B-B14F-4D97-AF65-F5344CB8AC3E}">
        <p14:creationId xmlns:p14="http://schemas.microsoft.com/office/powerpoint/2010/main" val="1382856455"/>
      </p:ext>
    </p:extLst>
  </p:cSld>
  <p:clrMapOvr>
    <a:masterClrMapping/>
  </p:clrMapOvr>
  <p:transition>
    <p:strips dir="rd"/>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1"/>
          <p:cNvSpPr>
            <a:spLocks noGrp="1" noChangeArrowheads="1"/>
          </p:cNvSpPr>
          <p:nvPr>
            <p:ph type="title" idx="4294967295"/>
          </p:nvPr>
        </p:nvSpPr>
        <p:spPr bwMode="auto">
          <a:xfrm>
            <a:off x="38100" y="183357"/>
            <a:ext cx="13363575" cy="800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lstStyle/>
          <a:p>
            <a:pPr algn="l"/>
            <a:r>
              <a:rPr lang="pt-BR" altLang="pt-BR" sz="4200">
                <a:latin typeface="Calibri" panose="020F0502020204030204" pitchFamily="34" charset="0"/>
              </a:rPr>
              <a:t>AMBIENTE ORGANIZACIONAL - PMO</a:t>
            </a:r>
            <a:endParaRPr lang="en-US" altLang="pt-BR" sz="4200">
              <a:latin typeface="Calibri" panose="020F0502020204030204" pitchFamily="34" charset="0"/>
            </a:endParaRPr>
          </a:p>
        </p:txBody>
      </p:sp>
      <p:pic>
        <p:nvPicPr>
          <p:cNvPr id="2765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280" y="2574132"/>
            <a:ext cx="12332072" cy="696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83452259"/>
      </p:ext>
    </p:extLst>
  </p:cSld>
  <p:clrMapOvr>
    <a:masterClrMapping/>
  </p:clrMapOvr>
  <p:transition spd="slow">
    <p:strips dir="rd"/>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ChangeArrowheads="1"/>
          </p:cNvSpPr>
          <p:nvPr/>
        </p:nvSpPr>
        <p:spPr bwMode="auto">
          <a:xfrm>
            <a:off x="2208262" y="2878980"/>
            <a:ext cx="8248650" cy="738188"/>
          </a:xfrm>
          <a:prstGeom prst="rect">
            <a:avLst/>
          </a:prstGeom>
          <a:gradFill rotWithShape="0">
            <a:gsLst>
              <a:gs pos="0">
                <a:srgbClr val="ACF36F"/>
              </a:gs>
              <a:gs pos="100000">
                <a:srgbClr val="A3F25F"/>
              </a:gs>
            </a:gsLst>
            <a:lin ang="5400000" scaled="1"/>
          </a:gra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dirty="0" err="1">
                <a:solidFill>
                  <a:srgbClr val="000000"/>
                </a:solidFill>
              </a:rPr>
              <a:t>Templates</a:t>
            </a:r>
            <a:r>
              <a:rPr lang="pt-BR" sz="2100" dirty="0">
                <a:solidFill>
                  <a:srgbClr val="000000"/>
                </a:solidFill>
              </a:rPr>
              <a:t> (Modelos de documentos padronizados)</a:t>
            </a:r>
          </a:p>
        </p:txBody>
      </p:sp>
      <p:sp>
        <p:nvSpPr>
          <p:cNvPr id="39940" name="Rectangle 3"/>
          <p:cNvSpPr>
            <a:spLocks noChangeArrowheads="1"/>
          </p:cNvSpPr>
          <p:nvPr/>
        </p:nvSpPr>
        <p:spPr bwMode="auto">
          <a:xfrm>
            <a:off x="3091707" y="3769567"/>
            <a:ext cx="7689056" cy="688182"/>
          </a:xfrm>
          <a:prstGeom prst="rect">
            <a:avLst/>
          </a:prstGeom>
          <a:gradFill rotWithShape="0">
            <a:gsLst>
              <a:gs pos="0">
                <a:srgbClr val="ACF36F"/>
              </a:gs>
              <a:gs pos="100000">
                <a:srgbClr val="A3F25F"/>
              </a:gs>
            </a:gsLst>
            <a:lin ang="5400000" scaled="1"/>
          </a:gradFill>
          <a:ln w="12700" algn="ctr">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dirty="0" err="1">
                <a:solidFill>
                  <a:srgbClr val="000000"/>
                </a:solidFill>
                <a:cs typeface="Times New Roman" pitchFamily="18" charset="0"/>
              </a:rPr>
              <a:t>How-To</a:t>
            </a:r>
            <a:r>
              <a:rPr lang="pt-BR" sz="2100" dirty="0">
                <a:solidFill>
                  <a:srgbClr val="000000"/>
                </a:solidFill>
                <a:cs typeface="Times New Roman" pitchFamily="18" charset="0"/>
              </a:rPr>
              <a:t> </a:t>
            </a:r>
            <a:r>
              <a:rPr lang="pt-BR" sz="2100" dirty="0" err="1">
                <a:solidFill>
                  <a:srgbClr val="000000"/>
                </a:solidFill>
                <a:cs typeface="Times New Roman" pitchFamily="18" charset="0"/>
              </a:rPr>
              <a:t>Guides</a:t>
            </a:r>
            <a:endParaRPr lang="pt-BR" sz="2100" dirty="0">
              <a:solidFill>
                <a:srgbClr val="000000"/>
              </a:solidFill>
              <a:cs typeface="Times New Roman" pitchFamily="18" charset="0"/>
            </a:endParaRPr>
          </a:p>
          <a:p>
            <a:pPr>
              <a:defRPr/>
            </a:pPr>
            <a:r>
              <a:rPr lang="pt-BR" dirty="0">
                <a:solidFill>
                  <a:srgbClr val="000000"/>
                </a:solidFill>
                <a:cs typeface="Times New Roman" pitchFamily="18" charset="0"/>
              </a:rPr>
              <a:t>(como usar em que momento usar, modelos ferramentas, técnicas </a:t>
            </a:r>
            <a:r>
              <a:rPr lang="pt-BR" sz="1650" dirty="0">
                <a:solidFill>
                  <a:srgbClr val="000000"/>
                </a:solidFill>
                <a:cs typeface="Times New Roman" pitchFamily="18" charset="0"/>
              </a:rPr>
              <a:t>)</a:t>
            </a:r>
          </a:p>
        </p:txBody>
      </p:sp>
      <p:sp>
        <p:nvSpPr>
          <p:cNvPr id="39941" name="Rectangle 4"/>
          <p:cNvSpPr>
            <a:spLocks noChangeArrowheads="1"/>
          </p:cNvSpPr>
          <p:nvPr/>
        </p:nvSpPr>
        <p:spPr bwMode="auto">
          <a:xfrm>
            <a:off x="3946575" y="4660155"/>
            <a:ext cx="7158038" cy="709613"/>
          </a:xfrm>
          <a:prstGeom prst="rect">
            <a:avLst/>
          </a:prstGeom>
          <a:gradFill rotWithShape="0">
            <a:gsLst>
              <a:gs pos="0">
                <a:srgbClr val="ACF36F"/>
              </a:gs>
              <a:gs pos="100000">
                <a:srgbClr val="A3F25F"/>
              </a:gs>
            </a:gsLst>
            <a:lin ang="5400000" scaled="1"/>
          </a:gradFill>
          <a:ln w="12700" algn="ctr">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dirty="0">
                <a:solidFill>
                  <a:srgbClr val="000000"/>
                </a:solidFill>
                <a:cs typeface="Times New Roman" pitchFamily="18" charset="0"/>
              </a:rPr>
              <a:t>Desenvolvimento e Padronização de Processos </a:t>
            </a:r>
          </a:p>
          <a:p>
            <a:pPr>
              <a:defRPr/>
            </a:pPr>
            <a:r>
              <a:rPr lang="pt-BR" sz="2100" dirty="0">
                <a:solidFill>
                  <a:srgbClr val="000000"/>
                </a:solidFill>
                <a:cs typeface="Times New Roman" pitchFamily="18" charset="0"/>
              </a:rPr>
              <a:t>(geração de processos para o ciclo de vida do projeto)</a:t>
            </a:r>
          </a:p>
        </p:txBody>
      </p:sp>
      <p:sp>
        <p:nvSpPr>
          <p:cNvPr id="39942" name="Rectangle 5"/>
          <p:cNvSpPr>
            <a:spLocks noChangeArrowheads="1"/>
          </p:cNvSpPr>
          <p:nvPr/>
        </p:nvSpPr>
        <p:spPr bwMode="auto">
          <a:xfrm>
            <a:off x="4908599" y="5626942"/>
            <a:ext cx="6412707" cy="695325"/>
          </a:xfrm>
          <a:prstGeom prst="rect">
            <a:avLst/>
          </a:prstGeom>
          <a:gradFill rotWithShape="0">
            <a:gsLst>
              <a:gs pos="0">
                <a:srgbClr val="ACF36F"/>
              </a:gs>
              <a:gs pos="100000">
                <a:srgbClr val="A3F25F"/>
              </a:gs>
            </a:gsLst>
            <a:lin ang="5400000" scaled="1"/>
          </a:gra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dirty="0">
                <a:solidFill>
                  <a:srgbClr val="000000"/>
                </a:solidFill>
              </a:rPr>
              <a:t>Tecnologia </a:t>
            </a:r>
          </a:p>
          <a:p>
            <a:pPr>
              <a:defRPr/>
            </a:pPr>
            <a:r>
              <a:rPr lang="pt-BR" sz="2100" dirty="0">
                <a:solidFill>
                  <a:srgbClr val="000000"/>
                </a:solidFill>
              </a:rPr>
              <a:t>(Repositório de informações/Base Histórica)</a:t>
            </a:r>
          </a:p>
        </p:txBody>
      </p:sp>
      <p:sp>
        <p:nvSpPr>
          <p:cNvPr id="39943" name="Rectangle 6"/>
          <p:cNvSpPr>
            <a:spLocks noChangeArrowheads="1"/>
          </p:cNvSpPr>
          <p:nvPr/>
        </p:nvSpPr>
        <p:spPr bwMode="auto">
          <a:xfrm>
            <a:off x="5842049" y="6562774"/>
            <a:ext cx="5695950" cy="692943"/>
          </a:xfrm>
          <a:prstGeom prst="rect">
            <a:avLst/>
          </a:prstGeom>
          <a:gradFill rotWithShape="0">
            <a:gsLst>
              <a:gs pos="0">
                <a:srgbClr val="ACF36F"/>
              </a:gs>
              <a:gs pos="100000">
                <a:srgbClr val="A3F25F"/>
              </a:gs>
            </a:gsLst>
            <a:lin ang="5400000" scaled="1"/>
          </a:gra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a:solidFill>
                  <a:srgbClr val="000000"/>
                </a:solidFill>
              </a:rPr>
              <a:t>Guia da Metodologia (Manual)</a:t>
            </a:r>
          </a:p>
        </p:txBody>
      </p:sp>
      <p:sp>
        <p:nvSpPr>
          <p:cNvPr id="39944" name="Rectangle 7"/>
          <p:cNvSpPr>
            <a:spLocks noChangeArrowheads="1"/>
          </p:cNvSpPr>
          <p:nvPr/>
        </p:nvSpPr>
        <p:spPr bwMode="auto">
          <a:xfrm>
            <a:off x="6570712" y="7477174"/>
            <a:ext cx="5457825" cy="676275"/>
          </a:xfrm>
          <a:prstGeom prst="rect">
            <a:avLst/>
          </a:prstGeom>
          <a:gradFill rotWithShape="0">
            <a:gsLst>
              <a:gs pos="0">
                <a:srgbClr val="ACF36F"/>
              </a:gs>
              <a:gs pos="100000">
                <a:srgbClr val="A3F25F"/>
              </a:gs>
            </a:gsLst>
            <a:lin ang="5400000" scaled="1"/>
          </a:gra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2100" dirty="0">
                <a:solidFill>
                  <a:srgbClr val="000000"/>
                </a:solidFill>
              </a:rPr>
              <a:t>Ferramentas (escolha e treinamento) </a:t>
            </a:r>
          </a:p>
        </p:txBody>
      </p:sp>
      <p:sp>
        <p:nvSpPr>
          <p:cNvPr id="39945" name="Rectangle 8"/>
          <p:cNvSpPr>
            <a:spLocks noChangeArrowheads="1"/>
          </p:cNvSpPr>
          <p:nvPr/>
        </p:nvSpPr>
        <p:spPr bwMode="auto">
          <a:xfrm>
            <a:off x="7123162" y="8460630"/>
            <a:ext cx="5548313" cy="745332"/>
          </a:xfrm>
          <a:prstGeom prst="rect">
            <a:avLst/>
          </a:prstGeom>
          <a:gradFill rotWithShape="0">
            <a:gsLst>
              <a:gs pos="0">
                <a:srgbClr val="ACF36F"/>
              </a:gs>
              <a:gs pos="100000">
                <a:srgbClr val="A3F25F"/>
              </a:gs>
            </a:gsLst>
            <a:lin ang="5400000" scaled="1"/>
          </a:gra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4742" tIns="66194" rIns="134742" bIns="66194" anchor="ctr"/>
          <a:lstStyle/>
          <a:p>
            <a:pPr>
              <a:defRPr/>
            </a:pPr>
            <a:r>
              <a:rPr lang="pt-BR" sz="1950" dirty="0">
                <a:solidFill>
                  <a:srgbClr val="000000"/>
                </a:solidFill>
              </a:rPr>
              <a:t>Definição de papéis e responsabilidades</a:t>
            </a:r>
          </a:p>
          <a:p>
            <a:pPr>
              <a:defRPr/>
            </a:pPr>
            <a:r>
              <a:rPr lang="pt-BR" dirty="0">
                <a:solidFill>
                  <a:srgbClr val="000000"/>
                </a:solidFill>
              </a:rPr>
              <a:t>(recursos do PMO)</a:t>
            </a:r>
          </a:p>
        </p:txBody>
      </p:sp>
      <p:sp>
        <p:nvSpPr>
          <p:cNvPr id="29705" name="AutoShape 9"/>
          <p:cNvSpPr>
            <a:spLocks noChangeArrowheads="1"/>
          </p:cNvSpPr>
          <p:nvPr/>
        </p:nvSpPr>
        <p:spPr bwMode="auto">
          <a:xfrm>
            <a:off x="953344" y="2831355"/>
            <a:ext cx="5722143" cy="6586538"/>
          </a:xfrm>
          <a:prstGeom prst="rtTriangle">
            <a:avLst/>
          </a:prstGeom>
          <a:gradFill rotWithShape="0">
            <a:gsLst>
              <a:gs pos="0">
                <a:srgbClr val="FCD69A"/>
              </a:gs>
              <a:gs pos="100000">
                <a:srgbClr val="FCD18F"/>
              </a:gs>
            </a:gsLst>
            <a:lin ang="5400000" scaled="1"/>
          </a:gradFill>
          <a:ln w="12700">
            <a:solidFill>
              <a:srgbClr val="000000"/>
            </a:solidFill>
            <a:miter lim="800000"/>
            <a:headEnd/>
            <a:tailEnd/>
          </a:ln>
          <a:effectLst>
            <a:outerShdw dist="35921" dir="2700000" algn="ctr" rotWithShape="0">
              <a:schemeClr val="tx1"/>
            </a:outerShdw>
          </a:effectLst>
        </p:spPr>
        <p:txBody>
          <a:bodyPr wrap="none"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ct val="90000"/>
              </a:lnSpc>
              <a:spcBef>
                <a:spcPct val="0"/>
              </a:spcBef>
              <a:buFontTx/>
              <a:buNone/>
            </a:pPr>
            <a:r>
              <a:rPr lang="pt-BR" altLang="pt-BR" sz="2550">
                <a:solidFill>
                  <a:srgbClr val="000000"/>
                </a:solidFill>
                <a:latin typeface="Arial" panose="020B0604020202020204" pitchFamily="34" charset="0"/>
              </a:rPr>
              <a:t>Componentes</a:t>
            </a:r>
          </a:p>
          <a:p>
            <a:pPr>
              <a:lnSpc>
                <a:spcPct val="90000"/>
              </a:lnSpc>
              <a:spcBef>
                <a:spcPct val="0"/>
              </a:spcBef>
              <a:buFontTx/>
              <a:buNone/>
            </a:pPr>
            <a:r>
              <a:rPr lang="pt-BR" altLang="pt-BR" sz="2550">
                <a:solidFill>
                  <a:srgbClr val="000000"/>
                </a:solidFill>
                <a:latin typeface="Arial" panose="020B0604020202020204" pitchFamily="34" charset="0"/>
              </a:rPr>
              <a:t>de uma metodologia </a:t>
            </a:r>
          </a:p>
          <a:p>
            <a:pPr>
              <a:lnSpc>
                <a:spcPct val="90000"/>
              </a:lnSpc>
              <a:spcBef>
                <a:spcPct val="0"/>
              </a:spcBef>
              <a:buFontTx/>
              <a:buNone/>
            </a:pPr>
            <a:r>
              <a:rPr lang="pt-BR" altLang="pt-BR" sz="2550">
                <a:solidFill>
                  <a:srgbClr val="000000"/>
                </a:solidFill>
                <a:latin typeface="Arial" panose="020B0604020202020204" pitchFamily="34" charset="0"/>
              </a:rPr>
              <a:t>p/ implementação</a:t>
            </a:r>
          </a:p>
          <a:p>
            <a:pPr>
              <a:lnSpc>
                <a:spcPct val="90000"/>
              </a:lnSpc>
              <a:spcBef>
                <a:spcPct val="0"/>
              </a:spcBef>
              <a:buFontTx/>
              <a:buNone/>
            </a:pPr>
            <a:r>
              <a:rPr lang="pt-BR" altLang="pt-BR" sz="2550">
                <a:solidFill>
                  <a:srgbClr val="000000"/>
                </a:solidFill>
                <a:latin typeface="Arial" panose="020B0604020202020204" pitchFamily="34" charset="0"/>
              </a:rPr>
              <a:t>do PMO.  Requisitos </a:t>
            </a:r>
          </a:p>
          <a:p>
            <a:pPr>
              <a:lnSpc>
                <a:spcPct val="90000"/>
              </a:lnSpc>
              <a:spcBef>
                <a:spcPct val="0"/>
              </a:spcBef>
              <a:buFontTx/>
              <a:buNone/>
            </a:pPr>
            <a:r>
              <a:rPr lang="pt-BR" altLang="pt-BR" sz="2550">
                <a:solidFill>
                  <a:srgbClr val="000000"/>
                </a:solidFill>
                <a:latin typeface="Arial" panose="020B0604020202020204" pitchFamily="34" charset="0"/>
              </a:rPr>
              <a:t>Básicos.</a:t>
            </a:r>
          </a:p>
        </p:txBody>
      </p:sp>
      <p:sp>
        <p:nvSpPr>
          <p:cNvPr id="29706" name="AutoShape 10"/>
          <p:cNvSpPr>
            <a:spLocks noChangeArrowheads="1"/>
          </p:cNvSpPr>
          <p:nvPr/>
        </p:nvSpPr>
        <p:spPr bwMode="auto">
          <a:xfrm>
            <a:off x="1112887" y="2883742"/>
            <a:ext cx="1097757" cy="469107"/>
          </a:xfrm>
          <a:prstGeom prst="rightArrow">
            <a:avLst>
              <a:gd name="adj1" fmla="val 50000"/>
              <a:gd name="adj2" fmla="val 85944"/>
            </a:avLst>
          </a:prstGeom>
          <a:solidFill>
            <a:schemeClr val="accent2"/>
          </a:solidFill>
          <a:ln w="12700">
            <a:solidFill>
              <a:srgbClr val="000000"/>
            </a:solidFill>
            <a:miter lim="800000"/>
            <a:headEnd/>
            <a:tailEnd/>
          </a:ln>
          <a:effectLst>
            <a:outerShdw dist="35921" dir="2700000" algn="ctr" rotWithShape="0">
              <a:schemeClr val="tx1"/>
            </a:outerShdw>
          </a:effectLst>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39948" name="AutoShape 11"/>
          <p:cNvSpPr>
            <a:spLocks noChangeArrowheads="1"/>
          </p:cNvSpPr>
          <p:nvPr/>
        </p:nvSpPr>
        <p:spPr bwMode="auto">
          <a:xfrm>
            <a:off x="1932037" y="3793380"/>
            <a:ext cx="1095375" cy="469107"/>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39949" name="AutoShape 12"/>
          <p:cNvSpPr>
            <a:spLocks noChangeArrowheads="1"/>
          </p:cNvSpPr>
          <p:nvPr/>
        </p:nvSpPr>
        <p:spPr bwMode="auto">
          <a:xfrm>
            <a:off x="2763094" y="4698255"/>
            <a:ext cx="1095375" cy="469107"/>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39950" name="AutoShape 13"/>
          <p:cNvSpPr>
            <a:spLocks noChangeArrowheads="1"/>
          </p:cNvSpPr>
          <p:nvPr/>
        </p:nvSpPr>
        <p:spPr bwMode="auto">
          <a:xfrm>
            <a:off x="3594149" y="5672187"/>
            <a:ext cx="1095375" cy="469106"/>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39951" name="AutoShape 14"/>
          <p:cNvSpPr>
            <a:spLocks noChangeArrowheads="1"/>
          </p:cNvSpPr>
          <p:nvPr/>
        </p:nvSpPr>
        <p:spPr bwMode="auto">
          <a:xfrm>
            <a:off x="4422824" y="6646117"/>
            <a:ext cx="1095375" cy="469107"/>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39952" name="AutoShape 15"/>
          <p:cNvSpPr>
            <a:spLocks noChangeArrowheads="1"/>
          </p:cNvSpPr>
          <p:nvPr/>
        </p:nvSpPr>
        <p:spPr bwMode="auto">
          <a:xfrm>
            <a:off x="5272931" y="7584330"/>
            <a:ext cx="1095375" cy="469107"/>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39953" name="AutoShape 16"/>
          <p:cNvSpPr>
            <a:spLocks noChangeArrowheads="1"/>
          </p:cNvSpPr>
          <p:nvPr/>
        </p:nvSpPr>
        <p:spPr bwMode="auto">
          <a:xfrm>
            <a:off x="5920631" y="8555880"/>
            <a:ext cx="1095375" cy="469107"/>
          </a:xfrm>
          <a:prstGeom prst="rightArrow">
            <a:avLst>
              <a:gd name="adj1" fmla="val 50000"/>
              <a:gd name="adj2" fmla="val 85758"/>
            </a:avLst>
          </a:prstGeom>
          <a:solidFill>
            <a:schemeClr val="accent2"/>
          </a:solidFill>
          <a:ln w="12700">
            <a:solidFill>
              <a:srgbClr val="000000"/>
            </a:solidFill>
            <a:miter lim="800000"/>
            <a:headEnd/>
            <a:tailEnd/>
          </a:ln>
          <a:effectLst>
            <a:outerShdw blurRad="50800" dist="50800" dir="5400000" algn="ctr" rotWithShape="0">
              <a:schemeClr val="tx2">
                <a:lumMod val="65000"/>
              </a:schemeClr>
            </a:outerShdw>
          </a:effectLst>
        </p:spPr>
        <p:txBody>
          <a:bodyPr wrap="none" lIns="136145" tIns="68058" rIns="136145" bIns="68058" anchor="ctr"/>
          <a:lstStyle/>
          <a:p>
            <a:pPr>
              <a:defRPr/>
            </a:pPr>
            <a:endParaRPr lang="pt-BR"/>
          </a:p>
        </p:txBody>
      </p:sp>
      <p:sp>
        <p:nvSpPr>
          <p:cNvPr id="29713" name="Rectangle 17"/>
          <p:cNvSpPr>
            <a:spLocks noChangeArrowheads="1"/>
          </p:cNvSpPr>
          <p:nvPr/>
        </p:nvSpPr>
        <p:spPr bwMode="auto">
          <a:xfrm>
            <a:off x="1" y="-40482"/>
            <a:ext cx="13073063" cy="1200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dirty="0">
                <a:solidFill>
                  <a:schemeClr val="tx1"/>
                </a:solidFill>
                <a:latin typeface="Calibri" panose="020F0502020204030204" pitchFamily="34" charset="0"/>
              </a:rPr>
              <a:t>Componentes de uma Metodologia: </a:t>
            </a:r>
          </a:p>
          <a:p>
            <a:pPr>
              <a:spcBef>
                <a:spcPct val="0"/>
              </a:spcBef>
              <a:buFontTx/>
              <a:buNone/>
            </a:pPr>
            <a:r>
              <a:rPr lang="pt-BR" altLang="pt-BR" sz="3000" dirty="0">
                <a:solidFill>
                  <a:schemeClr val="tx1"/>
                </a:solidFill>
                <a:latin typeface="Calibri" panose="020F0502020204030204" pitchFamily="34" charset="0"/>
              </a:rPr>
              <a:t>(Pré-requisitos básicos para criação de um PMO)</a:t>
            </a:r>
          </a:p>
        </p:txBody>
      </p:sp>
      <p:sp>
        <p:nvSpPr>
          <p:cNvPr id="18" name="Retângulo 17"/>
          <p:cNvSpPr/>
          <p:nvPr/>
        </p:nvSpPr>
        <p:spPr>
          <a:xfrm>
            <a:off x="953344" y="1263848"/>
            <a:ext cx="11521280" cy="1384995"/>
          </a:xfrm>
          <a:prstGeom prst="rect">
            <a:avLst/>
          </a:prstGeom>
          <a:solidFill>
            <a:schemeClr val="accent6">
              <a:lumMod val="20000"/>
              <a:lumOff val="80000"/>
            </a:schemeClr>
          </a:solidFill>
          <a:effectLst>
            <a:outerShdw blurRad="50800" dist="38100" dir="5400000" algn="t" rotWithShape="0">
              <a:prstClr val="black">
                <a:alpha val="40000"/>
              </a:prstClr>
            </a:outerShdw>
          </a:effectLst>
        </p:spPr>
        <p:txBody>
          <a:bodyPr wrap="square">
            <a:spAutoFit/>
          </a:bodyPr>
          <a:lstStyle/>
          <a:p>
            <a:pPr>
              <a:defRPr/>
            </a:pPr>
            <a:r>
              <a:rPr lang="pt-BR" sz="2100" b="1" dirty="0">
                <a:solidFill>
                  <a:srgbClr val="FF0000"/>
                </a:solidFill>
                <a:latin typeface="Calibri" pitchFamily="34" charset="0"/>
                <a:cs typeface="Calibri" pitchFamily="34" charset="0"/>
              </a:rPr>
              <a:t>Metodologia: </a:t>
            </a:r>
            <a:r>
              <a:rPr lang="pt-BR" sz="2100" dirty="0">
                <a:latin typeface="Calibri" pitchFamily="34" charset="0"/>
                <a:cs typeface="Calibri" pitchFamily="34" charset="0"/>
              </a:rPr>
              <a:t>princípios, métodos e regras que regulamentam o gerenciamento de projetos na organização, que devem ser disseminados e seguidos por todos os colaboradores. Tendo como principal objetivo de padronizar, uniformizar e facilitar a gestão de projetos na empresa/organização.</a:t>
            </a:r>
          </a:p>
          <a:p>
            <a:pPr>
              <a:defRPr/>
            </a:pPr>
            <a:endParaRPr lang="pt-BR" sz="2100" dirty="0">
              <a:latin typeface="Calibri" pitchFamily="34" charset="0"/>
              <a:cs typeface="Calibri" pitchFamily="34" charset="0"/>
            </a:endParaRPr>
          </a:p>
        </p:txBody>
      </p:sp>
    </p:spTree>
    <p:custDataLst>
      <p:tags r:id="rId1"/>
    </p:custDataLst>
    <p:extLst>
      <p:ext uri="{BB962C8B-B14F-4D97-AF65-F5344CB8AC3E}">
        <p14:creationId xmlns:p14="http://schemas.microsoft.com/office/powerpoint/2010/main" val="2809690102"/>
      </p:ext>
    </p:extLst>
  </p:cSld>
  <p:clrMapOvr>
    <a:masterClrMapping/>
  </p:clrMapOvr>
  <p:transition>
    <p:strips dir="rd"/>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bwMode="auto">
          <a:xfrm>
            <a:off x="7145" y="176213"/>
            <a:ext cx="7560468" cy="1057275"/>
          </a:xfrm>
          <a:noFill/>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bodyPr>
          <a:lstStyle/>
          <a:p>
            <a:r>
              <a:rPr lang="pt-BR" altLang="pt-BR" sz="3600">
                <a:solidFill>
                  <a:schemeClr val="tx1"/>
                </a:solidFill>
              </a:rPr>
              <a:t>Pilares de um PMO - Método</a:t>
            </a:r>
          </a:p>
        </p:txBody>
      </p:sp>
      <p:sp>
        <p:nvSpPr>
          <p:cNvPr id="496643" name="Rectangle 3"/>
          <p:cNvSpPr>
            <a:spLocks noGrp="1" noChangeArrowheads="1"/>
          </p:cNvSpPr>
          <p:nvPr>
            <p:ph type="body" idx="4294967295"/>
          </p:nvPr>
        </p:nvSpPr>
        <p:spPr>
          <a:xfrm>
            <a:off x="685800" y="1828800"/>
            <a:ext cx="12344400" cy="6172200"/>
          </a:xfrm>
          <a:prstGeom prst="rect">
            <a:avLst/>
          </a:prstGeom>
        </p:spPr>
        <p:txBody>
          <a:bodyPr/>
          <a:lstStyle/>
          <a:p>
            <a:pPr marL="425451" indent="-425451">
              <a:lnSpc>
                <a:spcPct val="90000"/>
              </a:lnSpc>
              <a:spcBef>
                <a:spcPct val="50000"/>
              </a:spcBef>
              <a:buNone/>
              <a:defRPr/>
            </a:pPr>
            <a:r>
              <a:rPr lang="pt-BR" sz="3300" b="1" dirty="0">
                <a:solidFill>
                  <a:srgbClr val="800000"/>
                </a:solidFill>
              </a:rPr>
              <a:t>Definição de Método</a:t>
            </a:r>
          </a:p>
          <a:p>
            <a:pPr marL="425451" indent="-425451">
              <a:lnSpc>
                <a:spcPct val="90000"/>
              </a:lnSpc>
              <a:spcBef>
                <a:spcPct val="50000"/>
              </a:spcBef>
              <a:buFont typeface="Monotype Sorts" charset="2"/>
              <a:buChar char="n"/>
              <a:defRPr/>
            </a:pPr>
            <a:r>
              <a:rPr lang="pt-BR" sz="3300" dirty="0"/>
              <a:t>Um </a:t>
            </a:r>
            <a:r>
              <a:rPr lang="pt-BR" sz="3300" b="1" dirty="0"/>
              <a:t>método</a:t>
            </a:r>
            <a:r>
              <a:rPr lang="pt-BR" sz="3300" dirty="0"/>
              <a:t> de gestão de projetos é um </a:t>
            </a:r>
            <a:r>
              <a:rPr lang="pt-BR" sz="3300" dirty="0">
                <a:solidFill>
                  <a:srgbClr val="004FC4"/>
                </a:solidFill>
              </a:rPr>
              <a:t>conjunto de processos, procedimentos, “</a:t>
            </a:r>
            <a:r>
              <a:rPr lang="pt-BR" sz="3300" dirty="0" err="1">
                <a:solidFill>
                  <a:srgbClr val="004FC4"/>
                </a:solidFill>
              </a:rPr>
              <a:t>templates</a:t>
            </a:r>
            <a:r>
              <a:rPr lang="pt-BR" sz="3300" dirty="0">
                <a:solidFill>
                  <a:srgbClr val="004FC4"/>
                </a:solidFill>
              </a:rPr>
              <a:t>”, guias, melhores práticas, padrões e políticas utilizados para auxiliar uma equipe a planejar, executar e controlar os projetos de forma homogênea e padronizada. </a:t>
            </a:r>
          </a:p>
          <a:p>
            <a:pPr marL="425451" indent="-425451">
              <a:lnSpc>
                <a:spcPct val="90000"/>
              </a:lnSpc>
              <a:spcBef>
                <a:spcPct val="50000"/>
              </a:spcBef>
              <a:buFont typeface="Monotype Sorts" charset="2"/>
              <a:buChar char="n"/>
              <a:defRPr/>
            </a:pPr>
            <a:r>
              <a:rPr lang="pt-BR" sz="3300" b="1" dirty="0"/>
              <a:t>A padronização e repetição</a:t>
            </a:r>
            <a:r>
              <a:rPr lang="pt-BR" sz="3300" dirty="0"/>
              <a:t> do processo permite um entendimento comum dos mecanismos de gestão dos projeto, </a:t>
            </a:r>
            <a:r>
              <a:rPr lang="pt-BR" sz="3300" dirty="0">
                <a:solidFill>
                  <a:srgbClr val="004FC4"/>
                </a:solidFill>
              </a:rPr>
              <a:t>além de propiciar a oportunidade de melhoria contínua.</a:t>
            </a:r>
          </a:p>
          <a:p>
            <a:pPr marL="425451" indent="-425451">
              <a:lnSpc>
                <a:spcPct val="90000"/>
              </a:lnSpc>
              <a:spcBef>
                <a:spcPct val="50000"/>
              </a:spcBef>
              <a:buFont typeface="Monotype Sorts" charset="2"/>
              <a:buChar char="n"/>
              <a:defRPr/>
            </a:pPr>
            <a:endParaRPr lang="pt-BR" sz="3000" dirty="0">
              <a:solidFill>
                <a:srgbClr val="004FC4"/>
              </a:solidFill>
              <a:effectLst>
                <a:outerShdw blurRad="38100" dist="38100" dir="2700000" algn="tl">
                  <a:srgbClr val="C0C0C0"/>
                </a:outerShdw>
              </a:effectLst>
            </a:endParaRPr>
          </a:p>
          <a:p>
            <a:pPr marL="425451" indent="-425451">
              <a:lnSpc>
                <a:spcPct val="90000"/>
              </a:lnSpc>
              <a:spcBef>
                <a:spcPct val="50000"/>
              </a:spcBef>
              <a:buFont typeface="Monotype Sorts" charset="2"/>
              <a:buChar char="n"/>
              <a:defRPr/>
            </a:pPr>
            <a:endParaRPr lang="pt-BR" sz="3000" dirty="0">
              <a:effectLst>
                <a:outerShdw blurRad="38100" dist="38100" dir="2700000" algn="tl">
                  <a:srgbClr val="C0C0C0"/>
                </a:outerShdw>
              </a:effectLst>
            </a:endParaRPr>
          </a:p>
          <a:p>
            <a:pPr marL="425451" indent="-425451">
              <a:lnSpc>
                <a:spcPct val="90000"/>
              </a:lnSpc>
              <a:buFont typeface="Monotype Sorts" charset="2"/>
              <a:buChar char="n"/>
              <a:defRPr/>
            </a:pPr>
            <a:endParaRPr lang="pt-BR" sz="3000" dirty="0"/>
          </a:p>
        </p:txBody>
      </p:sp>
      <p:pic>
        <p:nvPicPr>
          <p:cNvPr id="31748" name="Picture 4" descr="j029717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20263" y="6850857"/>
            <a:ext cx="2586038"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749" name="Group 5"/>
          <p:cNvGrpSpPr>
            <a:grpSpLocks/>
          </p:cNvGrpSpPr>
          <p:nvPr/>
        </p:nvGrpSpPr>
        <p:grpSpPr bwMode="auto">
          <a:xfrm>
            <a:off x="1512095" y="6503195"/>
            <a:ext cx="7234238" cy="2607468"/>
            <a:chOff x="912" y="1622"/>
            <a:chExt cx="4326" cy="1882"/>
          </a:xfrm>
        </p:grpSpPr>
        <p:pic>
          <p:nvPicPr>
            <p:cNvPr id="31750" name="Picture 6"/>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7" y="2160"/>
              <a:ext cx="354" cy="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1" name="Oval 7"/>
            <p:cNvSpPr>
              <a:spLocks noChangeArrowheads="1"/>
            </p:cNvSpPr>
            <p:nvPr/>
          </p:nvSpPr>
          <p:spPr bwMode="auto">
            <a:xfrm>
              <a:off x="2154" y="1622"/>
              <a:ext cx="1542" cy="754"/>
            </a:xfrm>
            <a:prstGeom prst="ellipse">
              <a:avLst/>
            </a:prstGeom>
            <a:solidFill>
              <a:srgbClr val="333399"/>
            </a:solidFill>
            <a:ln w="12700">
              <a:solidFill>
                <a:schemeClr val="tx1"/>
              </a:solidFill>
              <a:round/>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chemeClr val="bg1"/>
                  </a:solidFill>
                  <a:latin typeface="Calibri" panose="020F0502020204030204" pitchFamily="34" charset="0"/>
                </a:rPr>
                <a:t>   Desenvolver</a:t>
              </a:r>
            </a:p>
          </p:txBody>
        </p:sp>
        <p:sp>
          <p:nvSpPr>
            <p:cNvPr id="31752" name="Oval 8"/>
            <p:cNvSpPr>
              <a:spLocks noChangeArrowheads="1"/>
            </p:cNvSpPr>
            <p:nvPr/>
          </p:nvSpPr>
          <p:spPr bwMode="auto">
            <a:xfrm>
              <a:off x="3696" y="2660"/>
              <a:ext cx="1542" cy="748"/>
            </a:xfrm>
            <a:prstGeom prst="ellipse">
              <a:avLst/>
            </a:prstGeom>
            <a:solidFill>
              <a:srgbClr val="333399"/>
            </a:solidFill>
            <a:ln w="12700">
              <a:solidFill>
                <a:schemeClr val="tx1"/>
              </a:solidFill>
              <a:round/>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chemeClr val="bg1"/>
                  </a:solidFill>
                  <a:latin typeface="Calibri" panose="020F0502020204030204" pitchFamily="34" charset="0"/>
                </a:rPr>
                <a:t>      Suportar</a:t>
              </a:r>
            </a:p>
          </p:txBody>
        </p:sp>
        <p:sp>
          <p:nvSpPr>
            <p:cNvPr id="31753" name="Oval 9"/>
            <p:cNvSpPr>
              <a:spLocks noChangeArrowheads="1"/>
            </p:cNvSpPr>
            <p:nvPr/>
          </p:nvSpPr>
          <p:spPr bwMode="auto">
            <a:xfrm>
              <a:off x="912" y="2660"/>
              <a:ext cx="1542" cy="748"/>
            </a:xfrm>
            <a:prstGeom prst="ellipse">
              <a:avLst/>
            </a:prstGeom>
            <a:solidFill>
              <a:srgbClr val="333399"/>
            </a:solidFill>
            <a:ln w="12700">
              <a:solidFill>
                <a:schemeClr val="tx1"/>
              </a:solidFill>
              <a:round/>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a:solidFill>
                    <a:schemeClr val="bg1"/>
                  </a:solidFill>
                  <a:latin typeface="Calibri" panose="020F0502020204030204" pitchFamily="34" charset="0"/>
                </a:rPr>
                <a:t>     Melhorar</a:t>
              </a:r>
            </a:p>
          </p:txBody>
        </p:sp>
        <p:pic>
          <p:nvPicPr>
            <p:cNvPr id="31754" name="Picture 10"/>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92" y="2985"/>
              <a:ext cx="846"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1755" name="Object 11"/>
            <p:cNvGraphicFramePr>
              <a:graphicFrameLocks noChangeAspect="1"/>
            </p:cNvGraphicFramePr>
            <p:nvPr/>
          </p:nvGraphicFramePr>
          <p:xfrm>
            <a:off x="3820" y="1968"/>
            <a:ext cx="556" cy="655"/>
          </p:xfrm>
          <a:graphic>
            <a:graphicData uri="http://schemas.openxmlformats.org/presentationml/2006/ole">
              <mc:AlternateContent xmlns:mc="http://schemas.openxmlformats.org/markup-compatibility/2006">
                <mc:Choice xmlns:v="urn:schemas-microsoft-com:vml" Requires="v">
                  <p:oleObj name="Imagem de bitmap" r:id="rId6" imgW="638264" imgH="752381" progId="Paint.Picture">
                    <p:embed/>
                  </p:oleObj>
                </mc:Choice>
                <mc:Fallback>
                  <p:oleObj name="Imagem de bitmap" r:id="rId6" imgW="638264" imgH="752381" progId="Paint.Picture">
                    <p:embed/>
                    <p:pic>
                      <p:nvPicPr>
                        <p:cNvPr id="0" name=""/>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20" y="1968"/>
                          <a:ext cx="556" cy="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custDataLst>
      <p:tags r:id="rId1"/>
    </p:custDataLst>
    <p:extLst>
      <p:ext uri="{BB962C8B-B14F-4D97-AF65-F5344CB8AC3E}">
        <p14:creationId xmlns:p14="http://schemas.microsoft.com/office/powerpoint/2010/main" val="1445424553"/>
      </p:ext>
    </p:extLst>
  </p:cSld>
  <p:clrMapOvr>
    <a:masterClrMapping/>
  </p:clrMapOvr>
  <p:transition>
    <p:strips dir="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bwMode="auto">
          <a:xfrm>
            <a:off x="566738" y="400051"/>
            <a:ext cx="11418095" cy="747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r>
              <a:rPr lang="pt-BR" altLang="pt-BR" sz="4200" b="1" dirty="0">
                <a:latin typeface="Calibri" panose="020F0502020204030204" pitchFamily="34" charset="0"/>
              </a:rPr>
              <a:t>Objetivos da Disciplina</a:t>
            </a:r>
          </a:p>
        </p:txBody>
      </p:sp>
      <p:sp>
        <p:nvSpPr>
          <p:cNvPr id="13315" name="Rectangle 3"/>
          <p:cNvSpPr>
            <a:spLocks noGrp="1" noChangeArrowheads="1"/>
          </p:cNvSpPr>
          <p:nvPr>
            <p:ph idx="4294967295"/>
          </p:nvPr>
        </p:nvSpPr>
        <p:spPr>
          <a:xfrm>
            <a:off x="319088" y="1635920"/>
            <a:ext cx="8565357" cy="6353175"/>
          </a:xfrm>
          <a:prstGeom prst="rect">
            <a:avLst/>
          </a:prstGeom>
        </p:spPr>
        <p:txBody>
          <a:bodyPr/>
          <a:lstStyle/>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Debater a importância da implementação do escritório de projetos (PMO), no apoio a gestão de projetos na organização;</a:t>
            </a:r>
          </a:p>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Introduzir os conceitos e fundamentos do um PMO;</a:t>
            </a:r>
          </a:p>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Compreender os processos de implementação de um PMO, riscos, papéis e responsabilidades em sua estrutura, vantagens estratégicas de sua implementação;</a:t>
            </a:r>
          </a:p>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Conceitos de avaliação Maturidade em gestão de projetos;</a:t>
            </a:r>
          </a:p>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Conceitos de Gestão de Programas.</a:t>
            </a:r>
          </a:p>
          <a:p>
            <a:pPr>
              <a:spcAft>
                <a:spcPct val="80000"/>
              </a:spcAft>
              <a:buClr>
                <a:srgbClr val="FF0000"/>
              </a:buClr>
              <a:buFont typeface="Wingdings" panose="05000000000000000000" pitchFamily="2" charset="2"/>
              <a:buChar char="ü"/>
            </a:pPr>
            <a:r>
              <a:rPr lang="pt-BR" altLang="pt-BR" sz="3000" dirty="0">
                <a:latin typeface="Calibri" panose="020F0502020204030204" pitchFamily="34" charset="0"/>
              </a:rPr>
              <a:t>Conceitos e aplicações de Gestão de Portfólio.</a:t>
            </a:r>
          </a:p>
          <a:p>
            <a:pPr>
              <a:spcAft>
                <a:spcPct val="80000"/>
              </a:spcAft>
            </a:pPr>
            <a:endParaRPr lang="pt-BR" altLang="pt-BR" dirty="0"/>
          </a:p>
        </p:txBody>
      </p:sp>
      <p:sp>
        <p:nvSpPr>
          <p:cNvPr id="30726" name="Text Box 5"/>
          <p:cNvSpPr txBox="1">
            <a:spLocks noChangeArrowheads="1"/>
          </p:cNvSpPr>
          <p:nvPr/>
        </p:nvSpPr>
        <p:spPr bwMode="auto">
          <a:xfrm>
            <a:off x="7866112" y="7415055"/>
            <a:ext cx="5153025" cy="1245441"/>
          </a:xfrm>
          <a:prstGeom prst="rect">
            <a:avLst/>
          </a:prstGeom>
          <a:solidFill>
            <a:srgbClr val="FFFF99"/>
          </a:solidFill>
          <a:ln>
            <a:noFill/>
          </a:ln>
          <a:effectLst>
            <a:outerShdw blurRad="50800" dist="38100" dir="2700000" algn="tl" rotWithShape="0">
              <a:prstClr val="black">
                <a:alpha val="40000"/>
              </a:prstClr>
            </a:outerShdw>
          </a:effectLst>
        </p:spPr>
        <p:txBody>
          <a:bodyPr lIns="136145" tIns="68058" rIns="136145" bIns="68058">
            <a:spAutoFit/>
          </a:bodyPr>
          <a:lstStyle>
            <a:lvl1pPr>
              <a:defRPr i="1">
                <a:solidFill>
                  <a:schemeClr val="bg2"/>
                </a:solidFill>
                <a:latin typeface="Arial" charset="0"/>
              </a:defRPr>
            </a:lvl1pPr>
            <a:lvl2pPr marL="742950" indent="-285750">
              <a:defRPr i="1">
                <a:solidFill>
                  <a:schemeClr val="bg2"/>
                </a:solidFill>
                <a:latin typeface="Arial" charset="0"/>
              </a:defRPr>
            </a:lvl2pPr>
            <a:lvl3pPr marL="1143000" indent="-228600">
              <a:defRPr i="1">
                <a:solidFill>
                  <a:schemeClr val="bg2"/>
                </a:solidFill>
                <a:latin typeface="Arial" charset="0"/>
              </a:defRPr>
            </a:lvl3pPr>
            <a:lvl4pPr marL="1600200" indent="-228600">
              <a:defRPr i="1">
                <a:solidFill>
                  <a:schemeClr val="bg2"/>
                </a:solidFill>
                <a:latin typeface="Arial" charset="0"/>
              </a:defRPr>
            </a:lvl4pPr>
            <a:lvl5pPr marL="2057400" indent="-228600">
              <a:defRPr i="1">
                <a:solidFill>
                  <a:schemeClr val="bg2"/>
                </a:solidFill>
                <a:latin typeface="Arial" charset="0"/>
              </a:defRPr>
            </a:lvl5pPr>
            <a:lvl6pPr marL="2514600" indent="-228600" algn="ctr" eaLnBrk="0" fontAlgn="base" hangingPunct="0">
              <a:spcBef>
                <a:spcPct val="0"/>
              </a:spcBef>
              <a:spcAft>
                <a:spcPct val="0"/>
              </a:spcAft>
              <a:defRPr i="1">
                <a:solidFill>
                  <a:schemeClr val="bg2"/>
                </a:solidFill>
                <a:latin typeface="Arial" charset="0"/>
              </a:defRPr>
            </a:lvl6pPr>
            <a:lvl7pPr marL="2971800" indent="-228600" algn="ctr" eaLnBrk="0" fontAlgn="base" hangingPunct="0">
              <a:spcBef>
                <a:spcPct val="0"/>
              </a:spcBef>
              <a:spcAft>
                <a:spcPct val="0"/>
              </a:spcAft>
              <a:defRPr i="1">
                <a:solidFill>
                  <a:schemeClr val="bg2"/>
                </a:solidFill>
                <a:latin typeface="Arial" charset="0"/>
              </a:defRPr>
            </a:lvl7pPr>
            <a:lvl8pPr marL="3429000" indent="-228600" algn="ctr" eaLnBrk="0" fontAlgn="base" hangingPunct="0">
              <a:spcBef>
                <a:spcPct val="0"/>
              </a:spcBef>
              <a:spcAft>
                <a:spcPct val="0"/>
              </a:spcAft>
              <a:defRPr i="1">
                <a:solidFill>
                  <a:schemeClr val="bg2"/>
                </a:solidFill>
                <a:latin typeface="Arial" charset="0"/>
              </a:defRPr>
            </a:lvl8pPr>
            <a:lvl9pPr marL="3886200" indent="-228600" algn="ctr" eaLnBrk="0" fontAlgn="base" hangingPunct="0">
              <a:spcBef>
                <a:spcPct val="0"/>
              </a:spcBef>
              <a:spcAft>
                <a:spcPct val="0"/>
              </a:spcAft>
              <a:defRPr i="1">
                <a:solidFill>
                  <a:schemeClr val="bg2"/>
                </a:solidFill>
                <a:latin typeface="Arial" charset="0"/>
              </a:defRPr>
            </a:lvl9pPr>
          </a:lstStyle>
          <a:p>
            <a:pPr>
              <a:defRPr/>
            </a:pPr>
            <a:r>
              <a:rPr lang="pt-BR" sz="2400" b="1" dirty="0">
                <a:solidFill>
                  <a:schemeClr val="tx1"/>
                </a:solidFill>
                <a:latin typeface="Calibri" pitchFamily="34" charset="0"/>
              </a:rPr>
              <a:t>Avaliação:</a:t>
            </a:r>
            <a:r>
              <a:rPr lang="pt-BR" sz="2400" dirty="0">
                <a:solidFill>
                  <a:schemeClr val="tx1"/>
                </a:solidFill>
                <a:latin typeface="Calibri" pitchFamily="34" charset="0"/>
              </a:rPr>
              <a:t> trabalhos e prova;</a:t>
            </a:r>
          </a:p>
          <a:p>
            <a:pPr>
              <a:defRPr/>
            </a:pPr>
            <a:r>
              <a:rPr lang="pt-BR" sz="2400" b="1" dirty="0">
                <a:solidFill>
                  <a:schemeClr val="tx1"/>
                </a:solidFill>
                <a:latin typeface="Calibri" pitchFamily="34" charset="0"/>
              </a:rPr>
              <a:t>Trabalhos:</a:t>
            </a:r>
            <a:r>
              <a:rPr lang="pt-BR" sz="2400" dirty="0">
                <a:solidFill>
                  <a:schemeClr val="tx1"/>
                </a:solidFill>
                <a:latin typeface="Calibri" pitchFamily="34" charset="0"/>
              </a:rPr>
              <a:t> 3,0 pontos;</a:t>
            </a:r>
          </a:p>
          <a:p>
            <a:pPr>
              <a:defRPr/>
            </a:pPr>
            <a:r>
              <a:rPr lang="pt-BR" sz="2400" b="1" dirty="0">
                <a:solidFill>
                  <a:schemeClr val="tx1"/>
                </a:solidFill>
                <a:latin typeface="Calibri" pitchFamily="34" charset="0"/>
              </a:rPr>
              <a:t>Prova:</a:t>
            </a:r>
            <a:r>
              <a:rPr lang="pt-BR" sz="2400" dirty="0">
                <a:solidFill>
                  <a:schemeClr val="tx1"/>
                </a:solidFill>
                <a:latin typeface="Calibri" pitchFamily="34" charset="0"/>
              </a:rPr>
              <a:t> 7,0 pontos.</a:t>
            </a:r>
          </a:p>
        </p:txBody>
      </p:sp>
      <p:pic>
        <p:nvPicPr>
          <p:cNvPr id="13317" name="Imagem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39760" y="2767236"/>
            <a:ext cx="4282155" cy="3528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518192444"/>
      </p:ext>
    </p:extLst>
  </p:cSld>
  <p:clrMapOvr>
    <a:masterClrMapping/>
  </p:clrMapOvr>
  <p:transition spd="slow">
    <p:strips dir="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1997460" y="4481045"/>
            <a:ext cx="9882336" cy="5388770"/>
            <a:chOff x="431" y="704"/>
            <a:chExt cx="4944" cy="2939"/>
          </a:xfrm>
          <a:solidFill>
            <a:schemeClr val="tx2">
              <a:lumMod val="85000"/>
            </a:schemeClr>
          </a:solidFill>
          <a:effectLst>
            <a:outerShdw blurRad="50800" dist="38100" algn="l" rotWithShape="0">
              <a:prstClr val="black">
                <a:alpha val="40000"/>
              </a:prstClr>
            </a:outerShdw>
          </a:effectLst>
        </p:grpSpPr>
        <p:pic>
          <p:nvPicPr>
            <p:cNvPr id="135173" name="Picture 4"/>
            <p:cNvPicPr>
              <a:picLocks noChangeAspect="1" noChangeArrowheads="1"/>
            </p:cNvPicPr>
            <p:nvPr/>
          </p:nvPicPr>
          <p:blipFill>
            <a:blip r:embed="rId3" cstate="print"/>
            <a:srcRect/>
            <a:stretch>
              <a:fillRect/>
            </a:stretch>
          </p:blipFill>
          <p:spPr bwMode="auto">
            <a:xfrm>
              <a:off x="431" y="704"/>
              <a:ext cx="4944" cy="2939"/>
            </a:xfrm>
            <a:prstGeom prst="rect">
              <a:avLst/>
            </a:prstGeom>
            <a:grpFill/>
            <a:ln>
              <a:noFill/>
            </a:ln>
            <a:effectLst/>
            <a:scene3d>
              <a:camera prst="orthographicFront"/>
              <a:lightRig rig="threePt" dir="t"/>
            </a:scene3d>
            <a:sp3d>
              <a:bevelT/>
              <a:bevelB/>
            </a:sp3d>
          </p:spPr>
        </p:pic>
        <p:pic>
          <p:nvPicPr>
            <p:cNvPr id="135174" name="Picture 5" descr="Labirinto"/>
            <p:cNvPicPr>
              <a:picLocks noChangeAspect="1" noChangeArrowheads="1"/>
            </p:cNvPicPr>
            <p:nvPr/>
          </p:nvPicPr>
          <p:blipFill>
            <a:blip r:embed="rId4" cstate="print"/>
            <a:srcRect/>
            <a:stretch>
              <a:fillRect/>
            </a:stretch>
          </p:blipFill>
          <p:spPr bwMode="auto">
            <a:xfrm>
              <a:off x="4386" y="949"/>
              <a:ext cx="541" cy="431"/>
            </a:xfrm>
            <a:prstGeom prst="rect">
              <a:avLst/>
            </a:prstGeom>
            <a:grpFill/>
            <a:ln>
              <a:noFill/>
            </a:ln>
            <a:effectLst/>
            <a:scene3d>
              <a:camera prst="orthographicFront"/>
              <a:lightRig rig="threePt" dir="t"/>
            </a:scene3d>
            <a:sp3d>
              <a:bevelT/>
              <a:bevelB/>
            </a:sp3d>
          </p:spPr>
        </p:pic>
      </p:grpSp>
      <p:sp>
        <p:nvSpPr>
          <p:cNvPr id="32771" name="Rectangle 2"/>
          <p:cNvSpPr>
            <a:spLocks noGrp="1" noChangeArrowheads="1"/>
          </p:cNvSpPr>
          <p:nvPr>
            <p:ph type="title"/>
          </p:nvPr>
        </p:nvSpPr>
        <p:spPr bwMode="auto">
          <a:xfrm>
            <a:off x="52388" y="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a:solidFill>
                  <a:schemeClr val="tx1"/>
                </a:solidFill>
              </a:rPr>
              <a:t>PMO </a:t>
            </a:r>
            <a:r>
              <a:rPr lang="pt-BR" altLang="pt-BR" sz="3600">
                <a:solidFill>
                  <a:schemeClr val="tx1"/>
                </a:solidFill>
                <a:sym typeface="Wingdings" panose="05000000000000000000" pitchFamily="2" charset="2"/>
              </a:rPr>
              <a:t> </a:t>
            </a:r>
            <a:r>
              <a:rPr lang="pt-BR" altLang="pt-BR" sz="3600">
                <a:solidFill>
                  <a:schemeClr val="tx1"/>
                </a:solidFill>
              </a:rPr>
              <a:t>DESAFIO - Buscar Visão única</a:t>
            </a:r>
          </a:p>
        </p:txBody>
      </p:sp>
      <p:sp>
        <p:nvSpPr>
          <p:cNvPr id="32772" name="Rectangle 7"/>
          <p:cNvSpPr>
            <a:spLocks noChangeArrowheads="1"/>
          </p:cNvSpPr>
          <p:nvPr/>
        </p:nvSpPr>
        <p:spPr bwMode="auto">
          <a:xfrm>
            <a:off x="376238" y="1254920"/>
            <a:ext cx="6858000" cy="3184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Um “dedo-duro”;</a:t>
            </a:r>
          </a:p>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 Um inspetor/auditor;</a:t>
            </a:r>
          </a:p>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 Um centro burocrático;</a:t>
            </a:r>
          </a:p>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 Um evento temporário;</a:t>
            </a:r>
          </a:p>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 Mais dinheiro mal empregado;</a:t>
            </a:r>
          </a:p>
          <a:p>
            <a:pPr>
              <a:spcBef>
                <a:spcPct val="0"/>
              </a:spcBef>
              <a:buClr>
                <a:srgbClr val="990000"/>
              </a:buClr>
              <a:buFont typeface="Wingdings" panose="05000000000000000000" pitchFamily="2" charset="2"/>
              <a:buChar char="Ø"/>
            </a:pPr>
            <a:r>
              <a:rPr lang="pt-BR" altLang="pt-BR" sz="3300">
                <a:solidFill>
                  <a:schemeClr val="tx1"/>
                </a:solidFill>
                <a:latin typeface="Calibri" panose="020F0502020204030204" pitchFamily="34" charset="0"/>
              </a:rPr>
              <a:t> Uma função de “caça as bruxas”.</a:t>
            </a:r>
          </a:p>
        </p:txBody>
      </p:sp>
    </p:spTree>
    <p:custDataLst>
      <p:tags r:id="rId1"/>
    </p:custDataLst>
    <p:extLst>
      <p:ext uri="{BB962C8B-B14F-4D97-AF65-F5344CB8AC3E}">
        <p14:creationId xmlns:p14="http://schemas.microsoft.com/office/powerpoint/2010/main" val="782848550"/>
      </p:ext>
    </p:extLst>
  </p:cSld>
  <p:clrMapOvr>
    <a:masterClrMapping/>
  </p:clrMapOvr>
  <p:transition spd="slow">
    <p:strips dir="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p:cNvSpPr txBox="1">
            <a:spLocks noChangeArrowheads="1"/>
          </p:cNvSpPr>
          <p:nvPr/>
        </p:nvSpPr>
        <p:spPr bwMode="auto">
          <a:xfrm>
            <a:off x="-4762" y="1"/>
            <a:ext cx="11418095" cy="747713"/>
          </a:xfrm>
          <a:prstGeom prst="rect">
            <a:avLst/>
          </a:prstGeom>
          <a:noFill/>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1" fontAlgn="base" hangingPunct="1">
              <a:spcBef>
                <a:spcPct val="0"/>
              </a:spcBef>
              <a:spcAft>
                <a:spcPct val="0"/>
              </a:spcAft>
              <a:defRPr sz="4400">
                <a:solidFill>
                  <a:schemeClr val="tx2"/>
                </a:solidFill>
                <a:latin typeface="Times New Roman" pitchFamily="18" charset="0"/>
              </a:defRPr>
            </a:lvl6pPr>
            <a:lvl7pPr marL="914400" algn="ctr" rtl="0" eaLnBrk="1" fontAlgn="base" hangingPunct="1">
              <a:spcBef>
                <a:spcPct val="0"/>
              </a:spcBef>
              <a:spcAft>
                <a:spcPct val="0"/>
              </a:spcAft>
              <a:defRPr sz="4400">
                <a:solidFill>
                  <a:schemeClr val="tx2"/>
                </a:solidFill>
                <a:latin typeface="Times New Roman" pitchFamily="18" charset="0"/>
              </a:defRPr>
            </a:lvl7pPr>
            <a:lvl8pPr marL="1371600" algn="ctr" rtl="0" eaLnBrk="1" fontAlgn="base" hangingPunct="1">
              <a:spcBef>
                <a:spcPct val="0"/>
              </a:spcBef>
              <a:spcAft>
                <a:spcPct val="0"/>
              </a:spcAft>
              <a:defRPr sz="4400">
                <a:solidFill>
                  <a:schemeClr val="tx2"/>
                </a:solidFill>
                <a:latin typeface="Times New Roman" pitchFamily="18" charset="0"/>
              </a:defRPr>
            </a:lvl8pPr>
            <a:lvl9pPr marL="1828800" algn="ctr" rtl="0" eaLnBrk="1" fontAlgn="base" hangingPunct="1">
              <a:spcBef>
                <a:spcPct val="0"/>
              </a:spcBef>
              <a:spcAft>
                <a:spcPct val="0"/>
              </a:spcAft>
              <a:defRPr sz="4400">
                <a:solidFill>
                  <a:schemeClr val="tx2"/>
                </a:solidFill>
                <a:latin typeface="Times New Roman" pitchFamily="18" charset="0"/>
              </a:defRPr>
            </a:lvl9pPr>
          </a:lstStyle>
          <a:p>
            <a:pPr algn="l">
              <a:defRPr/>
            </a:pPr>
            <a:r>
              <a:rPr lang="pt-BR" altLang="ja-JP" sz="4200" kern="0" dirty="0">
                <a:solidFill>
                  <a:schemeClr val="tx1"/>
                </a:solidFill>
                <a:latin typeface="Calibri" panose="020F0502020204030204" pitchFamily="34" charset="0"/>
                <a:ea typeface="MS PGothic" panose="020B0600070205080204" pitchFamily="34" charset="-128"/>
              </a:rPr>
              <a:t>Possíveis problemas na Implementação</a:t>
            </a:r>
            <a:endParaRPr lang="pt-BR" altLang="pt-BR" sz="4200" kern="0" dirty="0">
              <a:solidFill>
                <a:schemeClr val="tx1"/>
              </a:solidFill>
              <a:latin typeface="Calibri" panose="020F0502020204030204" pitchFamily="34" charset="0"/>
            </a:endParaRPr>
          </a:p>
        </p:txBody>
      </p:sp>
      <p:sp>
        <p:nvSpPr>
          <p:cNvPr id="3" name="Rectangle 3"/>
          <p:cNvSpPr txBox="1">
            <a:spLocks noChangeArrowheads="1"/>
          </p:cNvSpPr>
          <p:nvPr/>
        </p:nvSpPr>
        <p:spPr>
          <a:xfrm>
            <a:off x="27632" y="1802680"/>
            <a:ext cx="12834663" cy="7467600"/>
          </a:xfrm>
          <a:prstGeom prst="rect">
            <a:avLst/>
          </a:prstGeom>
        </p:spPr>
        <p:txBody>
          <a:bodyPr/>
          <a:lstStyle>
            <a:lvl1pPr marL="342900" indent="-342900" algn="l" rtl="0" eaLnBrk="0" fontAlgn="base" hangingPunct="0">
              <a:spcBef>
                <a:spcPct val="20000"/>
              </a:spcBef>
              <a:spcAft>
                <a:spcPct val="0"/>
              </a:spcAft>
              <a:buChar char="•"/>
              <a:defRPr sz="3200">
                <a:solidFill>
                  <a:srgbClr val="404040"/>
                </a:solidFill>
                <a:latin typeface="+mn-lt"/>
                <a:ea typeface="+mn-ea"/>
                <a:cs typeface="+mn-cs"/>
              </a:defRPr>
            </a:lvl1pPr>
            <a:lvl2pPr marL="742950" indent="-285750" algn="l" rtl="0" eaLnBrk="0" fontAlgn="base" hangingPunct="0">
              <a:spcBef>
                <a:spcPct val="20000"/>
              </a:spcBef>
              <a:spcAft>
                <a:spcPct val="0"/>
              </a:spcAft>
              <a:buChar char="–"/>
              <a:defRPr sz="2800">
                <a:solidFill>
                  <a:srgbClr val="404040"/>
                </a:solidFill>
                <a:latin typeface="+mn-lt"/>
              </a:defRPr>
            </a:lvl2pPr>
            <a:lvl3pPr marL="1143000" indent="-228600" algn="l" rtl="0" eaLnBrk="0" fontAlgn="base" hangingPunct="0">
              <a:spcBef>
                <a:spcPct val="20000"/>
              </a:spcBef>
              <a:spcAft>
                <a:spcPct val="0"/>
              </a:spcAft>
              <a:buChar char="•"/>
              <a:defRPr sz="2400">
                <a:solidFill>
                  <a:srgbClr val="404040"/>
                </a:solidFill>
                <a:latin typeface="+mn-lt"/>
              </a:defRPr>
            </a:lvl3pPr>
            <a:lvl4pPr marL="1600200" indent="-228600" algn="l" rtl="0" eaLnBrk="0" fontAlgn="base" hangingPunct="0">
              <a:spcBef>
                <a:spcPct val="20000"/>
              </a:spcBef>
              <a:spcAft>
                <a:spcPct val="0"/>
              </a:spcAft>
              <a:buChar char="–"/>
              <a:defRPr sz="2000">
                <a:solidFill>
                  <a:srgbClr val="404040"/>
                </a:solidFill>
                <a:latin typeface="+mn-lt"/>
              </a:defRPr>
            </a:lvl4pPr>
            <a:lvl5pPr marL="2057400" indent="-228600" algn="l" rtl="0" eaLnBrk="0" fontAlgn="base" hangingPunct="0">
              <a:spcBef>
                <a:spcPct val="20000"/>
              </a:spcBef>
              <a:spcAft>
                <a:spcPct val="0"/>
              </a:spcAft>
              <a:buChar char="»"/>
              <a:defRPr sz="2000">
                <a:solidFill>
                  <a:srgbClr val="404040"/>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defRPr/>
            </a:pPr>
            <a:r>
              <a:rPr lang="pt-BR" altLang="ja-JP" sz="3600" kern="0" dirty="0">
                <a:solidFill>
                  <a:schemeClr val="tx1"/>
                </a:solidFill>
                <a:latin typeface="Calibri" panose="020F0502020204030204" pitchFamily="34" charset="0"/>
                <a:ea typeface="MS PGothic" panose="020B0600070205080204" pitchFamily="34" charset="-128"/>
              </a:rPr>
              <a:t>a “</a:t>
            </a:r>
            <a:r>
              <a:rPr lang="pt-BR" altLang="ja-JP" sz="3600" b="1" kern="0" dirty="0">
                <a:solidFill>
                  <a:schemeClr val="tx1"/>
                </a:solidFill>
                <a:latin typeface="Calibri" panose="020F0502020204030204" pitchFamily="34" charset="0"/>
                <a:ea typeface="MS PGothic" panose="020B0600070205080204" pitchFamily="34" charset="-128"/>
              </a:rPr>
              <a:t>cultura organizacional</a:t>
            </a:r>
            <a:r>
              <a:rPr lang="pt-BR" altLang="ja-JP" sz="3600" kern="0" dirty="0">
                <a:solidFill>
                  <a:schemeClr val="tx1"/>
                </a:solidFill>
                <a:latin typeface="Calibri" panose="020F0502020204030204" pitchFamily="34" charset="0"/>
                <a:ea typeface="MS PGothic" panose="020B0600070205080204" pitchFamily="34" charset="-128"/>
              </a:rPr>
              <a:t>” pode provavelmente resistir à mudança;</a:t>
            </a:r>
          </a:p>
          <a:p>
            <a:pPr lvl="1">
              <a:defRPr/>
            </a:pPr>
            <a:r>
              <a:rPr lang="pt-BR" altLang="ja-JP" sz="3600" kern="0" dirty="0">
                <a:solidFill>
                  <a:schemeClr val="tx1"/>
                </a:solidFill>
                <a:latin typeface="Calibri" panose="020F0502020204030204" pitchFamily="34" charset="0"/>
                <a:ea typeface="MS PGothic" panose="020B0600070205080204" pitchFamily="34" charset="-128"/>
              </a:rPr>
              <a:t>“nós chegamos até aqui desta forma, por que mudar ?”;</a:t>
            </a:r>
          </a:p>
          <a:p>
            <a:pPr lvl="1">
              <a:defRPr/>
            </a:pPr>
            <a:r>
              <a:rPr lang="pt-BR" altLang="ja-JP" sz="3600" kern="0" dirty="0">
                <a:solidFill>
                  <a:schemeClr val="tx1"/>
                </a:solidFill>
                <a:latin typeface="Calibri" panose="020F0502020204030204" pitchFamily="34" charset="0"/>
                <a:ea typeface="MS PGothic" panose="020B0600070205080204" pitchFamily="34" charset="-128"/>
              </a:rPr>
              <a:t>“a maioria dos nossos competidores não faz isto...”;</a:t>
            </a:r>
          </a:p>
          <a:p>
            <a:pPr lvl="1">
              <a:defRPr/>
            </a:pPr>
            <a:r>
              <a:rPr lang="pt-BR" altLang="ja-JP" sz="3600" kern="0" dirty="0">
                <a:solidFill>
                  <a:schemeClr val="tx1"/>
                </a:solidFill>
                <a:latin typeface="Calibri" panose="020F0502020204030204" pitchFamily="34" charset="0"/>
                <a:ea typeface="MS PGothic" panose="020B0600070205080204" pitchFamily="34" charset="-128"/>
              </a:rPr>
              <a:t>Eu sou um GP com muita experiência e não preciso de apoio;</a:t>
            </a:r>
          </a:p>
          <a:p>
            <a:pPr lvl="1">
              <a:defRPr/>
            </a:pPr>
            <a:r>
              <a:rPr lang="pt-BR" altLang="ja-JP" sz="3600" kern="0" dirty="0">
                <a:solidFill>
                  <a:schemeClr val="tx1"/>
                </a:solidFill>
                <a:latin typeface="Calibri" panose="020F0502020204030204" pitchFamily="34" charset="0"/>
                <a:ea typeface="MS PGothic" panose="020B0600070205080204" pitchFamily="34" charset="-128"/>
              </a:rPr>
              <a:t>Isto irá inibir a criatividade profissional;</a:t>
            </a:r>
          </a:p>
          <a:p>
            <a:pPr lvl="1">
              <a:defRPr/>
            </a:pPr>
            <a:r>
              <a:rPr lang="pt-BR" altLang="ja-JP" sz="3600" kern="0" dirty="0">
                <a:solidFill>
                  <a:schemeClr val="tx1"/>
                </a:solidFill>
                <a:latin typeface="Calibri" panose="020F0502020204030204" pitchFamily="34" charset="0"/>
                <a:ea typeface="MS PGothic" panose="020B0600070205080204" pitchFamily="34" charset="-128"/>
              </a:rPr>
              <a:t>Uma mudança da estrutura de poder (cada atividade deslocada para o PMO poderá gerar um enclave de resistência cujo risco deve ser gerenciado).</a:t>
            </a:r>
            <a:endParaRPr lang="pt-BR" altLang="pt-BR" sz="3600" kern="0" dirty="0">
              <a:solidFill>
                <a:schemeClr val="tx1"/>
              </a:solidFill>
              <a:latin typeface="Calibri" panose="020F0502020204030204" pitchFamily="34" charset="0"/>
            </a:endParaRPr>
          </a:p>
        </p:txBody>
      </p:sp>
      <p:pic>
        <p:nvPicPr>
          <p:cNvPr id="33796" name="Picture 7" descr="PE07677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17440" y="7788374"/>
            <a:ext cx="2081911" cy="198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14184" y="7159724"/>
            <a:ext cx="3763804"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854351847"/>
      </p:ext>
    </p:extLst>
  </p:cSld>
  <p:clrMapOvr>
    <a:masterClrMapping/>
  </p:clrMapOvr>
  <p:transition>
    <p:strips dir="rd"/>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Imagem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0170" y="167161"/>
            <a:ext cx="10901363"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Ellipse 13"/>
          <p:cNvSpPr/>
          <p:nvPr/>
        </p:nvSpPr>
        <p:spPr bwMode="auto">
          <a:xfrm>
            <a:off x="5493545" y="1581150"/>
            <a:ext cx="2674143" cy="2364582"/>
          </a:xfrm>
          <a:custGeom>
            <a:avLst/>
            <a:gdLst/>
            <a:ahLst/>
            <a:cxnLst/>
            <a:rect l="l" t="t" r="r" b="b"/>
            <a:pathLst>
              <a:path w="2523408" h="2232449">
                <a:moveTo>
                  <a:pt x="1260818" y="0"/>
                </a:moveTo>
                <a:cubicBezTo>
                  <a:pt x="1958127" y="0"/>
                  <a:pt x="2523408" y="565281"/>
                  <a:pt x="2523408" y="1262590"/>
                </a:cubicBezTo>
                <a:cubicBezTo>
                  <a:pt x="2523408" y="1652468"/>
                  <a:pt x="2346694" y="2001073"/>
                  <a:pt x="2068803" y="2232449"/>
                </a:cubicBezTo>
                <a:cubicBezTo>
                  <a:pt x="1831495" y="2115656"/>
                  <a:pt x="1564337" y="2051286"/>
                  <a:pt x="1282145" y="2051286"/>
                </a:cubicBezTo>
                <a:cubicBezTo>
                  <a:pt x="1003928" y="2051286"/>
                  <a:pt x="740324" y="2113856"/>
                  <a:pt x="505546" y="2227603"/>
                </a:cubicBezTo>
                <a:cubicBezTo>
                  <a:pt x="505226" y="1861049"/>
                  <a:pt x="343025" y="1498973"/>
                  <a:pt x="34348" y="1252232"/>
                </a:cubicBezTo>
                <a:cubicBezTo>
                  <a:pt x="23287" y="1243391"/>
                  <a:pt x="12123" y="1234765"/>
                  <a:pt x="0" y="1227508"/>
                </a:cubicBezTo>
                <a:cubicBezTo>
                  <a:pt x="17306" y="546401"/>
                  <a:pt x="575253" y="0"/>
                  <a:pt x="1260818"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36" name="Ellipse 15"/>
          <p:cNvSpPr/>
          <p:nvPr/>
        </p:nvSpPr>
        <p:spPr bwMode="auto">
          <a:xfrm rot="454032">
            <a:off x="7703345" y="2621757"/>
            <a:ext cx="2667000" cy="2676525"/>
          </a:xfrm>
          <a:custGeom>
            <a:avLst/>
            <a:gdLst/>
            <a:ahLst/>
            <a:cxnLst/>
            <a:rect l="l" t="t" r="r" b="b"/>
            <a:pathLst>
              <a:path w="2516020" h="2525180">
                <a:moveTo>
                  <a:pt x="1124337" y="6519"/>
                </a:moveTo>
                <a:cubicBezTo>
                  <a:pt x="1166781" y="2208"/>
                  <a:pt x="1209848" y="0"/>
                  <a:pt x="1253429" y="0"/>
                </a:cubicBezTo>
                <a:cubicBezTo>
                  <a:pt x="1950738" y="0"/>
                  <a:pt x="2516019" y="565281"/>
                  <a:pt x="2516020" y="1262590"/>
                </a:cubicBezTo>
                <a:cubicBezTo>
                  <a:pt x="2516019" y="1959899"/>
                  <a:pt x="1950738" y="2525180"/>
                  <a:pt x="1253429" y="2525180"/>
                </a:cubicBezTo>
                <a:lnTo>
                  <a:pt x="1133650" y="2519561"/>
                </a:lnTo>
                <a:cubicBezTo>
                  <a:pt x="943483" y="1993214"/>
                  <a:pt x="520323" y="1591224"/>
                  <a:pt x="1829" y="1420286"/>
                </a:cubicBezTo>
                <a:cubicBezTo>
                  <a:pt x="883" y="1416565"/>
                  <a:pt x="433" y="1412781"/>
                  <a:pt x="0" y="1408991"/>
                </a:cubicBezTo>
                <a:cubicBezTo>
                  <a:pt x="236131" y="1148818"/>
                  <a:pt x="362024" y="792008"/>
                  <a:pt x="317582" y="417184"/>
                </a:cubicBezTo>
                <a:cubicBezTo>
                  <a:pt x="520471" y="190582"/>
                  <a:pt x="804790" y="38970"/>
                  <a:pt x="1124337" y="6519"/>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37" name="Ellipse 17"/>
          <p:cNvSpPr/>
          <p:nvPr/>
        </p:nvSpPr>
        <p:spPr bwMode="auto">
          <a:xfrm rot="751574">
            <a:off x="8510588" y="4957763"/>
            <a:ext cx="2350295" cy="2671763"/>
          </a:xfrm>
          <a:custGeom>
            <a:avLst/>
            <a:gdLst/>
            <a:ahLst/>
            <a:cxnLst/>
            <a:rect l="l" t="t" r="r" b="b"/>
            <a:pathLst>
              <a:path w="2217446" h="2520848">
                <a:moveTo>
                  <a:pt x="1040640" y="0"/>
                </a:moveTo>
                <a:cubicBezTo>
                  <a:pt x="1697992" y="42692"/>
                  <a:pt x="2217444" y="589813"/>
                  <a:pt x="2217446" y="1258258"/>
                </a:cubicBezTo>
                <a:cubicBezTo>
                  <a:pt x="2217446" y="1955567"/>
                  <a:pt x="1652163" y="2520848"/>
                  <a:pt x="954854" y="2520848"/>
                </a:cubicBezTo>
                <a:cubicBezTo>
                  <a:pt x="572995" y="2520848"/>
                  <a:pt x="230728" y="2351328"/>
                  <a:pt x="0" y="2082752"/>
                </a:cubicBezTo>
                <a:cubicBezTo>
                  <a:pt x="179683" y="1723712"/>
                  <a:pt x="241281" y="1302926"/>
                  <a:pt x="147419" y="880457"/>
                </a:cubicBezTo>
                <a:cubicBezTo>
                  <a:pt x="118121" y="748588"/>
                  <a:pt x="75170" y="623281"/>
                  <a:pt x="19315" y="506191"/>
                </a:cubicBezTo>
                <a:cubicBezTo>
                  <a:pt x="59083" y="507674"/>
                  <a:pt x="99264" y="506112"/>
                  <a:pt x="139724" y="502601"/>
                </a:cubicBezTo>
                <a:cubicBezTo>
                  <a:pt x="512765" y="470233"/>
                  <a:pt x="833787" y="278768"/>
                  <a:pt x="1040640" y="0"/>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38" name="Ellipse 19"/>
          <p:cNvSpPr/>
          <p:nvPr/>
        </p:nvSpPr>
        <p:spPr bwMode="auto">
          <a:xfrm rot="1140504">
            <a:off x="6662738" y="6843713"/>
            <a:ext cx="2676525" cy="2619375"/>
          </a:xfrm>
          <a:custGeom>
            <a:avLst/>
            <a:gdLst/>
            <a:ahLst/>
            <a:cxnLst/>
            <a:rect l="l" t="t" r="r" b="b"/>
            <a:pathLst>
              <a:path w="2525180" h="2473133">
                <a:moveTo>
                  <a:pt x="1184360" y="0"/>
                </a:moveTo>
                <a:cubicBezTo>
                  <a:pt x="1439220" y="239453"/>
                  <a:pt x="1792745" y="369209"/>
                  <a:pt x="2166930" y="330469"/>
                </a:cubicBezTo>
                <a:cubicBezTo>
                  <a:pt x="2388821" y="557432"/>
                  <a:pt x="2525180" y="868063"/>
                  <a:pt x="2525180" y="1210543"/>
                </a:cubicBezTo>
                <a:cubicBezTo>
                  <a:pt x="2525180" y="1907852"/>
                  <a:pt x="1959899" y="2473133"/>
                  <a:pt x="1262590" y="2473133"/>
                </a:cubicBezTo>
                <a:cubicBezTo>
                  <a:pt x="565281" y="2473133"/>
                  <a:pt x="0" y="1907852"/>
                  <a:pt x="0" y="1210543"/>
                </a:cubicBezTo>
                <a:lnTo>
                  <a:pt x="3802" y="1117905"/>
                </a:lnTo>
                <a:lnTo>
                  <a:pt x="69053" y="1099050"/>
                </a:lnTo>
                <a:cubicBezTo>
                  <a:pt x="608787" y="913116"/>
                  <a:pt x="1004550" y="498159"/>
                  <a:pt x="1184360"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39" name="Ellipse 18"/>
          <p:cNvSpPr/>
          <p:nvPr/>
        </p:nvSpPr>
        <p:spPr bwMode="auto">
          <a:xfrm rot="1517936">
            <a:off x="4245770" y="7084220"/>
            <a:ext cx="2674143" cy="2366963"/>
          </a:xfrm>
          <a:custGeom>
            <a:avLst/>
            <a:gdLst/>
            <a:ahLst/>
            <a:cxnLst/>
            <a:rect l="l" t="t" r="r" b="b"/>
            <a:pathLst>
              <a:path w="2522180" h="2232098">
                <a:moveTo>
                  <a:pt x="454465" y="0"/>
                </a:moveTo>
                <a:cubicBezTo>
                  <a:pt x="922828" y="249241"/>
                  <a:pt x="1494663" y="288822"/>
                  <a:pt x="2014693" y="63641"/>
                </a:cubicBezTo>
                <a:cubicBezTo>
                  <a:pt x="2015397" y="94305"/>
                  <a:pt x="2017660" y="125149"/>
                  <a:pt x="2021075" y="156131"/>
                </a:cubicBezTo>
                <a:cubicBezTo>
                  <a:pt x="2061016" y="518461"/>
                  <a:pt x="2250553" y="828001"/>
                  <a:pt x="2522180" y="1028940"/>
                </a:cubicBezTo>
                <a:cubicBezTo>
                  <a:pt x="2492732" y="1698695"/>
                  <a:pt x="1939952" y="2232098"/>
                  <a:pt x="1262590" y="2232098"/>
                </a:cubicBezTo>
                <a:cubicBezTo>
                  <a:pt x="565281" y="2232098"/>
                  <a:pt x="0" y="1666817"/>
                  <a:pt x="0" y="969508"/>
                </a:cubicBezTo>
                <a:cubicBezTo>
                  <a:pt x="0" y="579749"/>
                  <a:pt x="176606" y="231239"/>
                  <a:pt x="454465" y="0"/>
                </a:cubicBezTo>
                <a:close/>
              </a:path>
            </a:pathLst>
          </a:custGeom>
          <a:gradFill flip="none" rotWithShape="1">
            <a:gsLst>
              <a:gs pos="0">
                <a:srgbClr val="CD2F86">
                  <a:shade val="30000"/>
                  <a:satMod val="115000"/>
                </a:srgbClr>
              </a:gs>
              <a:gs pos="50000">
                <a:srgbClr val="CD2F86">
                  <a:shade val="67500"/>
                  <a:satMod val="115000"/>
                </a:srgbClr>
              </a:gs>
              <a:gs pos="100000">
                <a:srgbClr val="CD2F86">
                  <a:shade val="100000"/>
                  <a:satMod val="115000"/>
                </a:srgbClr>
              </a:gs>
            </a:gsLst>
            <a:lin ang="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40" name="Ellipse 14"/>
          <p:cNvSpPr/>
          <p:nvPr/>
        </p:nvSpPr>
        <p:spPr bwMode="auto">
          <a:xfrm rot="1928548">
            <a:off x="2847976" y="4922045"/>
            <a:ext cx="2595563" cy="2676525"/>
          </a:xfrm>
          <a:custGeom>
            <a:avLst/>
            <a:gdLst/>
            <a:ahLst/>
            <a:cxnLst/>
            <a:rect l="l" t="t" r="r" b="b"/>
            <a:pathLst>
              <a:path w="2448039" h="2525180">
                <a:moveTo>
                  <a:pt x="556664" y="215631"/>
                </a:moveTo>
                <a:cubicBezTo>
                  <a:pt x="758175" y="79493"/>
                  <a:pt x="1001099" y="0"/>
                  <a:pt x="1262590" y="0"/>
                </a:cubicBezTo>
                <a:lnTo>
                  <a:pt x="1371827" y="5000"/>
                </a:lnTo>
                <a:cubicBezTo>
                  <a:pt x="1414981" y="142949"/>
                  <a:pt x="1477429" y="276990"/>
                  <a:pt x="1557779" y="404869"/>
                </a:cubicBezTo>
                <a:cubicBezTo>
                  <a:pt x="1775771" y="751806"/>
                  <a:pt x="2091808" y="999704"/>
                  <a:pt x="2448039" y="1133247"/>
                </a:cubicBezTo>
                <a:cubicBezTo>
                  <a:pt x="2197385" y="1394173"/>
                  <a:pt x="2063236" y="1761608"/>
                  <a:pt x="2109728" y="2148995"/>
                </a:cubicBezTo>
                <a:cubicBezTo>
                  <a:pt x="2111403" y="2162953"/>
                  <a:pt x="2113300" y="2176831"/>
                  <a:pt x="2116832" y="2190407"/>
                </a:cubicBezTo>
                <a:cubicBezTo>
                  <a:pt x="1892870" y="2398641"/>
                  <a:pt x="1592507" y="2525180"/>
                  <a:pt x="1262590" y="2525180"/>
                </a:cubicBezTo>
                <a:cubicBezTo>
                  <a:pt x="565281" y="2525180"/>
                  <a:pt x="0" y="1959899"/>
                  <a:pt x="0" y="1262590"/>
                </a:cubicBezTo>
                <a:cubicBezTo>
                  <a:pt x="0" y="826772"/>
                  <a:pt x="220813" y="442527"/>
                  <a:pt x="556664" y="215631"/>
                </a:cubicBezTo>
                <a:close/>
              </a:path>
            </a:pathLst>
          </a:custGeom>
          <a:gradFill flip="none" rotWithShape="1">
            <a:gsLst>
              <a:gs pos="0">
                <a:srgbClr val="574F9C">
                  <a:shade val="30000"/>
                  <a:satMod val="115000"/>
                </a:srgbClr>
              </a:gs>
              <a:gs pos="50000">
                <a:srgbClr val="574F9C">
                  <a:shade val="67500"/>
                  <a:satMod val="115000"/>
                </a:srgbClr>
              </a:gs>
              <a:gs pos="100000">
                <a:srgbClr val="574F9C">
                  <a:shade val="100000"/>
                  <a:satMod val="115000"/>
                </a:srgbClr>
              </a:gs>
            </a:gsLst>
            <a:lin ang="270000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41" name="Ellipse 16"/>
          <p:cNvSpPr/>
          <p:nvPr/>
        </p:nvSpPr>
        <p:spPr bwMode="auto">
          <a:xfrm rot="2318220">
            <a:off x="3390900" y="2519363"/>
            <a:ext cx="2374107" cy="2676525"/>
          </a:xfrm>
          <a:custGeom>
            <a:avLst/>
            <a:gdLst/>
            <a:ahLst/>
            <a:cxnLst/>
            <a:rect l="l" t="t" r="r" b="b"/>
            <a:pathLst>
              <a:path w="2240965" h="2524410">
                <a:moveTo>
                  <a:pt x="459466" y="288314"/>
                </a:moveTo>
                <a:cubicBezTo>
                  <a:pt x="677716" y="108198"/>
                  <a:pt x="957518" y="0"/>
                  <a:pt x="1262590" y="0"/>
                </a:cubicBezTo>
                <a:cubicBezTo>
                  <a:pt x="1657284" y="0"/>
                  <a:pt x="2009678" y="181106"/>
                  <a:pt x="2240965" y="464947"/>
                </a:cubicBezTo>
                <a:cubicBezTo>
                  <a:pt x="2001813" y="948909"/>
                  <a:pt x="1989548" y="1524218"/>
                  <a:pt x="2222702" y="2023432"/>
                </a:cubicBezTo>
                <a:cubicBezTo>
                  <a:pt x="2186179" y="2021581"/>
                  <a:pt x="2149430" y="2024147"/>
                  <a:pt x="2112489" y="2028352"/>
                </a:cubicBezTo>
                <a:cubicBezTo>
                  <a:pt x="1753897" y="2069174"/>
                  <a:pt x="1447574" y="2256452"/>
                  <a:pt x="1247343" y="2524410"/>
                </a:cubicBezTo>
                <a:cubicBezTo>
                  <a:pt x="557055" y="2516917"/>
                  <a:pt x="0" y="1954807"/>
                  <a:pt x="0" y="1262590"/>
                </a:cubicBezTo>
                <a:cubicBezTo>
                  <a:pt x="0" y="870354"/>
                  <a:pt x="178859" y="519892"/>
                  <a:pt x="459466" y="288314"/>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ysClr val="window" lastClr="FFFFFF"/>
            </a:solidFill>
            <a:prstDash val="solid"/>
            <a:round/>
            <a:headEnd type="none" w="med" len="med"/>
            <a:tailEnd type="none" w="med" len="med"/>
          </a:ln>
          <a:effectLst/>
        </p:spPr>
        <p:txBody>
          <a:bodyPr/>
          <a:lstStyle/>
          <a:p>
            <a:pPr fontAlgn="auto">
              <a:spcBef>
                <a:spcPts val="0"/>
              </a:spcBef>
              <a:spcAft>
                <a:spcPts val="0"/>
              </a:spcAft>
              <a:defRPr/>
            </a:pPr>
            <a:endParaRPr lang="fr-FR" sz="2100" kern="0">
              <a:solidFill>
                <a:prstClr val="black"/>
              </a:solidFill>
              <a:latin typeface="+mn-lt"/>
              <a:cs typeface="+mn-cs"/>
            </a:endParaRPr>
          </a:p>
        </p:txBody>
      </p:sp>
      <p:sp>
        <p:nvSpPr>
          <p:cNvPr id="42" name="Ellipse 40"/>
          <p:cNvSpPr/>
          <p:nvPr/>
        </p:nvSpPr>
        <p:spPr>
          <a:xfrm>
            <a:off x="5112545" y="3940970"/>
            <a:ext cx="3490913" cy="3488531"/>
          </a:xfrm>
          <a:prstGeom prst="ellipse">
            <a:avLst/>
          </a:prstGeom>
          <a:gradFill flip="none" rotWithShape="1">
            <a:gsLst>
              <a:gs pos="0">
                <a:srgbClr val="3F4855">
                  <a:lumMod val="60000"/>
                  <a:lumOff val="40000"/>
                  <a:shade val="30000"/>
                  <a:satMod val="115000"/>
                </a:srgbClr>
              </a:gs>
              <a:gs pos="50000">
                <a:srgbClr val="3F4855">
                  <a:lumMod val="60000"/>
                  <a:lumOff val="40000"/>
                  <a:shade val="67500"/>
                  <a:satMod val="115000"/>
                </a:srgbClr>
              </a:gs>
              <a:gs pos="100000">
                <a:srgbClr val="3F4855">
                  <a:lumMod val="60000"/>
                  <a:lumOff val="40000"/>
                  <a:shade val="100000"/>
                  <a:satMod val="115000"/>
                </a:srgbClr>
              </a:gs>
            </a:gsLst>
            <a:lin ang="16200000" scaled="1"/>
            <a:tileRect/>
          </a:gradFill>
          <a:ln w="3175" cap="flat" cmpd="sng" algn="ctr">
            <a:solidFill>
              <a:srgbClr val="3F4855">
                <a:lumMod val="75000"/>
              </a:srgbClr>
            </a:solidFill>
            <a:prstDash val="solid"/>
          </a:ln>
          <a:effectLst/>
        </p:spPr>
        <p:txBody>
          <a:bodyPr anchor="ctr"/>
          <a:lstStyle/>
          <a:p>
            <a:pPr algn="ctr" fontAlgn="auto">
              <a:spcBef>
                <a:spcPts val="0"/>
              </a:spcBef>
              <a:spcAft>
                <a:spcPts val="0"/>
              </a:spcAft>
              <a:defRPr/>
            </a:pPr>
            <a:r>
              <a:rPr lang="en-US" sz="3000" kern="0" dirty="0">
                <a:solidFill>
                  <a:prstClr val="white"/>
                </a:solidFill>
                <a:effectLst>
                  <a:outerShdw blurRad="38100" dist="38100" dir="2700000" algn="tl">
                    <a:srgbClr val="000000">
                      <a:alpha val="43137"/>
                    </a:srgbClr>
                  </a:outerShdw>
                </a:effectLst>
                <a:latin typeface="+mn-lt"/>
                <a:cs typeface="+mn-cs"/>
              </a:rPr>
              <a:t>O PORQUE DA NECESSIDADE DE UM PMO</a:t>
            </a:r>
            <a:endParaRPr lang="fr-FR" sz="3000" kern="0" dirty="0">
              <a:solidFill>
                <a:prstClr val="white"/>
              </a:solidFill>
              <a:effectLst>
                <a:outerShdw blurRad="38100" dist="38100" dir="2700000" algn="tl">
                  <a:srgbClr val="000000">
                    <a:alpha val="43137"/>
                  </a:srgbClr>
                </a:outerShdw>
              </a:effectLst>
              <a:latin typeface="+mn-lt"/>
              <a:cs typeface="+mn-cs"/>
            </a:endParaRPr>
          </a:p>
        </p:txBody>
      </p:sp>
      <p:sp>
        <p:nvSpPr>
          <p:cNvPr id="43" name="Rectangle 11"/>
          <p:cNvSpPr/>
          <p:nvPr/>
        </p:nvSpPr>
        <p:spPr>
          <a:xfrm>
            <a:off x="5688808" y="1885474"/>
            <a:ext cx="2376488" cy="1477328"/>
          </a:xfrm>
          <a:prstGeom prst="rect">
            <a:avLst/>
          </a:prstGeom>
        </p:spPr>
        <p:txBody>
          <a:bodyPr anchor="ctr">
            <a:spAutoFit/>
          </a:bodyPr>
          <a:lstStyle/>
          <a:p>
            <a:pPr algn="ctr" fontAlgn="auto">
              <a:spcAft>
                <a:spcPts val="0"/>
              </a:spcAft>
              <a:defRPr/>
            </a:pPr>
            <a:r>
              <a:rPr lang="pt-BR" altLang="pt-BR" sz="2250" dirty="0">
                <a:latin typeface="+mn-lt"/>
                <a:ea typeface="MS PGothic" panose="020B0600070205080204" pitchFamily="34" charset="-128"/>
                <a:cs typeface="+mn-cs"/>
              </a:rPr>
              <a:t>Gestão descentralizada, exerce</a:t>
            </a:r>
          </a:p>
          <a:p>
            <a:pPr algn="ctr" fontAlgn="auto">
              <a:spcAft>
                <a:spcPts val="0"/>
              </a:spcAft>
              <a:defRPr/>
            </a:pPr>
            <a:r>
              <a:rPr lang="pt-BR" altLang="pt-BR" sz="2250" dirty="0">
                <a:latin typeface="+mn-lt"/>
                <a:ea typeface="MS PGothic" panose="020B0600070205080204" pitchFamily="34" charset="-128"/>
                <a:cs typeface="+mn-cs"/>
              </a:rPr>
              <a:t>pressão nos </a:t>
            </a:r>
            <a:r>
              <a:rPr lang="pt-BR" altLang="pt-BR" sz="2250" dirty="0" err="1">
                <a:latin typeface="+mn-lt"/>
                <a:ea typeface="MS PGothic" panose="020B0600070205080204" pitchFamily="34" charset="-128"/>
                <a:cs typeface="+mn-cs"/>
              </a:rPr>
              <a:t>GP’s</a:t>
            </a:r>
            <a:endParaRPr lang="pt-BR" altLang="pt-BR" sz="2250" dirty="0">
              <a:latin typeface="+mn-lt"/>
              <a:ea typeface="MS PGothic" panose="020B0600070205080204" pitchFamily="34" charset="-128"/>
              <a:cs typeface="+mn-cs"/>
            </a:endParaRPr>
          </a:p>
        </p:txBody>
      </p:sp>
      <p:sp>
        <p:nvSpPr>
          <p:cNvPr id="44" name="Rectangle 12"/>
          <p:cNvSpPr/>
          <p:nvPr/>
        </p:nvSpPr>
        <p:spPr>
          <a:xfrm>
            <a:off x="8136733" y="3030738"/>
            <a:ext cx="2252663" cy="1846659"/>
          </a:xfrm>
          <a:prstGeom prst="rect">
            <a:avLst/>
          </a:prstGeom>
        </p:spPr>
        <p:txBody>
          <a:bodyPr anchor="ctr">
            <a:spAutoFit/>
          </a:bodyPr>
          <a:lstStyle/>
          <a:p>
            <a:pPr fontAlgn="auto">
              <a:spcBef>
                <a:spcPts val="0"/>
              </a:spcBef>
              <a:spcAft>
                <a:spcPts val="0"/>
              </a:spcAft>
              <a:defRPr/>
            </a:pPr>
            <a:r>
              <a:rPr lang="pt-BR" altLang="pt-BR" sz="2250" kern="0" dirty="0">
                <a:solidFill>
                  <a:prstClr val="black"/>
                </a:solidFill>
                <a:latin typeface="+mn-lt"/>
                <a:cs typeface="+mn-cs"/>
              </a:rPr>
              <a:t>Conhecimento heterogêneo, tácito e descentralizado</a:t>
            </a:r>
          </a:p>
          <a:p>
            <a:pPr algn="ctr" fontAlgn="auto">
              <a:spcBef>
                <a:spcPts val="0"/>
              </a:spcBef>
              <a:spcAft>
                <a:spcPts val="0"/>
              </a:spcAft>
              <a:defRPr/>
            </a:pPr>
            <a:r>
              <a:rPr lang="en-US" sz="2400" kern="0" dirty="0">
                <a:solidFill>
                  <a:prstClr val="white"/>
                </a:solidFill>
                <a:effectLst>
                  <a:outerShdw blurRad="38100" dist="38100" dir="2700000" algn="tl">
                    <a:srgbClr val="000000">
                      <a:alpha val="43137"/>
                    </a:srgbClr>
                  </a:outerShdw>
                </a:effectLst>
                <a:latin typeface="+mn-lt"/>
              </a:rPr>
              <a:t> </a:t>
            </a:r>
          </a:p>
        </p:txBody>
      </p:sp>
      <p:sp>
        <p:nvSpPr>
          <p:cNvPr id="45" name="Rectangle 13"/>
          <p:cNvSpPr/>
          <p:nvPr/>
        </p:nvSpPr>
        <p:spPr>
          <a:xfrm>
            <a:off x="8693945" y="5554982"/>
            <a:ext cx="2112168" cy="1477328"/>
          </a:xfrm>
          <a:prstGeom prst="rect">
            <a:avLst/>
          </a:prstGeom>
        </p:spPr>
        <p:txBody>
          <a:bodyPr anchor="ctr">
            <a:spAutoFit/>
          </a:bodyPr>
          <a:lstStyle/>
          <a:p>
            <a:pPr algn="ctr" fontAlgn="auto">
              <a:spcAft>
                <a:spcPts val="0"/>
              </a:spcAft>
              <a:defRPr/>
            </a:pPr>
            <a:r>
              <a:rPr lang="pt-BR" altLang="pt-BR" sz="2250" dirty="0">
                <a:solidFill>
                  <a:prstClr val="black"/>
                </a:solidFill>
                <a:latin typeface="+mn-lt"/>
                <a:cs typeface="+mn-cs"/>
              </a:rPr>
              <a:t>Falta de visibilidade do desempenho dos projetos</a:t>
            </a:r>
          </a:p>
        </p:txBody>
      </p:sp>
      <p:sp>
        <p:nvSpPr>
          <p:cNvPr id="46" name="Rectangle 14"/>
          <p:cNvSpPr/>
          <p:nvPr/>
        </p:nvSpPr>
        <p:spPr>
          <a:xfrm>
            <a:off x="7098507" y="7542402"/>
            <a:ext cx="1931193" cy="1569660"/>
          </a:xfrm>
          <a:prstGeom prst="rect">
            <a:avLst/>
          </a:prstGeom>
        </p:spPr>
        <p:txBody>
          <a:bodyPr anchor="ctr">
            <a:spAutoFit/>
          </a:bodyPr>
          <a:lstStyle/>
          <a:p>
            <a:pPr algn="ctr" fontAlgn="auto">
              <a:spcAft>
                <a:spcPts val="0"/>
              </a:spcAft>
              <a:defRPr/>
            </a:pPr>
            <a:r>
              <a:rPr lang="pt-BR" altLang="pt-BR" sz="2400" dirty="0">
                <a:solidFill>
                  <a:prstClr val="white"/>
                </a:solidFill>
                <a:latin typeface="+mn-lt"/>
                <a:ea typeface="MS PGothic" panose="020B0600070205080204" pitchFamily="34" charset="-128"/>
                <a:cs typeface="+mn-cs"/>
              </a:rPr>
              <a:t>Pressões por resultados (prazos,  custos, etc.)</a:t>
            </a:r>
          </a:p>
        </p:txBody>
      </p:sp>
      <p:sp>
        <p:nvSpPr>
          <p:cNvPr id="47" name="Rectangle 15"/>
          <p:cNvSpPr/>
          <p:nvPr/>
        </p:nvSpPr>
        <p:spPr>
          <a:xfrm>
            <a:off x="4374358" y="7401156"/>
            <a:ext cx="2290763" cy="1823576"/>
          </a:xfrm>
          <a:prstGeom prst="rect">
            <a:avLst/>
          </a:prstGeom>
        </p:spPr>
        <p:txBody>
          <a:bodyPr anchor="ctr">
            <a:spAutoFit/>
          </a:bodyPr>
          <a:lstStyle/>
          <a:p>
            <a:pPr algn="ctr" eaLnBrk="1" hangingPunct="1">
              <a:defRPr/>
            </a:pPr>
            <a:r>
              <a:rPr lang="en-US" sz="2250" dirty="0" err="1">
                <a:solidFill>
                  <a:prstClr val="white"/>
                </a:solidFill>
                <a:latin typeface="+mn-lt"/>
                <a:ea typeface="MS PGothic" panose="020B0600070205080204" pitchFamily="34" charset="-128"/>
                <a:cs typeface="+mn-cs"/>
              </a:rPr>
              <a:t>Falta</a:t>
            </a:r>
            <a:r>
              <a:rPr lang="en-US" sz="2250" dirty="0">
                <a:solidFill>
                  <a:prstClr val="white"/>
                </a:solidFill>
                <a:latin typeface="+mn-lt"/>
                <a:ea typeface="MS PGothic" panose="020B0600070205080204" pitchFamily="34" charset="-128"/>
                <a:cs typeface="+mn-cs"/>
              </a:rPr>
              <a:t> de </a:t>
            </a:r>
            <a:r>
              <a:rPr lang="en-US" sz="2250" dirty="0" err="1">
                <a:solidFill>
                  <a:prstClr val="white"/>
                </a:solidFill>
                <a:latin typeface="+mn-lt"/>
                <a:ea typeface="MS PGothic" panose="020B0600070205080204" pitchFamily="34" charset="-128"/>
                <a:cs typeface="+mn-cs"/>
              </a:rPr>
              <a:t>padrões</a:t>
            </a:r>
            <a:r>
              <a:rPr lang="en-US" sz="2250" dirty="0">
                <a:solidFill>
                  <a:prstClr val="white"/>
                </a:solidFill>
                <a:latin typeface="+mn-lt"/>
                <a:ea typeface="MS PGothic" panose="020B0600070205080204" pitchFamily="34" charset="-128"/>
                <a:cs typeface="+mn-cs"/>
              </a:rPr>
              <a:t>, </a:t>
            </a:r>
            <a:r>
              <a:rPr lang="en-US" sz="2250" dirty="0" err="1">
                <a:solidFill>
                  <a:prstClr val="white"/>
                </a:solidFill>
                <a:latin typeface="+mn-lt"/>
                <a:ea typeface="MS PGothic" panose="020B0600070205080204" pitchFamily="34" charset="-128"/>
                <a:cs typeface="+mn-cs"/>
              </a:rPr>
              <a:t>associado</a:t>
            </a:r>
            <a:r>
              <a:rPr lang="en-US" sz="2250" dirty="0">
                <a:solidFill>
                  <a:prstClr val="white"/>
                </a:solidFill>
                <a:latin typeface="+mn-lt"/>
                <a:ea typeface="MS PGothic" panose="020B0600070205080204" pitchFamily="34" charset="-128"/>
                <a:cs typeface="+mn-cs"/>
              </a:rPr>
              <a:t> </a:t>
            </a:r>
            <a:r>
              <a:rPr lang="en-US" sz="2250" dirty="0" err="1">
                <a:solidFill>
                  <a:prstClr val="white"/>
                </a:solidFill>
                <a:latin typeface="+mn-lt"/>
                <a:ea typeface="MS PGothic" panose="020B0600070205080204" pitchFamily="34" charset="-128"/>
                <a:cs typeface="+mn-cs"/>
              </a:rPr>
              <a:t>ao</a:t>
            </a:r>
            <a:r>
              <a:rPr lang="en-US" sz="2250" dirty="0">
                <a:solidFill>
                  <a:prstClr val="white"/>
                </a:solidFill>
                <a:latin typeface="+mn-lt"/>
                <a:ea typeface="MS PGothic" panose="020B0600070205080204" pitchFamily="34" charset="-128"/>
                <a:cs typeface="+mn-cs"/>
              </a:rPr>
              <a:t> </a:t>
            </a:r>
            <a:r>
              <a:rPr lang="en-US" sz="2250" dirty="0" err="1">
                <a:solidFill>
                  <a:prstClr val="white"/>
                </a:solidFill>
                <a:latin typeface="+mn-lt"/>
                <a:ea typeface="MS PGothic" panose="020B0600070205080204" pitchFamily="34" charset="-128"/>
                <a:cs typeface="+mn-cs"/>
              </a:rPr>
              <a:t>aumento</a:t>
            </a:r>
            <a:r>
              <a:rPr lang="en-US" sz="2250" dirty="0">
                <a:solidFill>
                  <a:prstClr val="white"/>
                </a:solidFill>
                <a:latin typeface="+mn-lt"/>
                <a:ea typeface="MS PGothic" panose="020B0600070205080204" pitchFamily="34" charset="-128"/>
                <a:cs typeface="+mn-cs"/>
              </a:rPr>
              <a:t> da </a:t>
            </a:r>
            <a:r>
              <a:rPr lang="en-US" sz="2250" dirty="0" err="1">
                <a:solidFill>
                  <a:prstClr val="white"/>
                </a:solidFill>
                <a:latin typeface="+mn-lt"/>
                <a:ea typeface="MS PGothic" panose="020B0600070205080204" pitchFamily="34" charset="-128"/>
                <a:cs typeface="+mn-cs"/>
              </a:rPr>
              <a:t>complexidade</a:t>
            </a:r>
            <a:r>
              <a:rPr lang="en-US" sz="2250" dirty="0">
                <a:solidFill>
                  <a:prstClr val="white"/>
                </a:solidFill>
                <a:latin typeface="+mn-lt"/>
                <a:ea typeface="MS PGothic" panose="020B0600070205080204" pitchFamily="34" charset="-128"/>
                <a:cs typeface="+mn-cs"/>
              </a:rPr>
              <a:t> dos </a:t>
            </a:r>
            <a:r>
              <a:rPr lang="en-US" sz="2250" dirty="0" err="1">
                <a:solidFill>
                  <a:prstClr val="white"/>
                </a:solidFill>
                <a:latin typeface="+mn-lt"/>
                <a:ea typeface="MS PGothic" panose="020B0600070205080204" pitchFamily="34" charset="-128"/>
                <a:cs typeface="+mn-cs"/>
              </a:rPr>
              <a:t>projetos</a:t>
            </a:r>
            <a:r>
              <a:rPr lang="en-US" sz="2250" dirty="0">
                <a:solidFill>
                  <a:prstClr val="white"/>
                </a:solidFill>
                <a:latin typeface="+mn-lt"/>
                <a:ea typeface="MS PGothic" panose="020B0600070205080204" pitchFamily="34" charset="-128"/>
                <a:cs typeface="+mn-cs"/>
              </a:rPr>
              <a:t> </a:t>
            </a:r>
          </a:p>
        </p:txBody>
      </p:sp>
      <p:sp>
        <p:nvSpPr>
          <p:cNvPr id="48" name="Rectangle 16"/>
          <p:cNvSpPr/>
          <p:nvPr/>
        </p:nvSpPr>
        <p:spPr>
          <a:xfrm>
            <a:off x="3014663" y="5358044"/>
            <a:ext cx="2088357" cy="1823576"/>
          </a:xfrm>
          <a:prstGeom prst="rect">
            <a:avLst/>
          </a:prstGeom>
        </p:spPr>
        <p:txBody>
          <a:bodyPr anchor="ctr">
            <a:spAutoFit/>
          </a:bodyPr>
          <a:lstStyle/>
          <a:p>
            <a:pPr algn="ctr" eaLnBrk="1" hangingPunct="1">
              <a:defRPr/>
            </a:pPr>
            <a:r>
              <a:rPr lang="en-US" sz="2250" dirty="0" err="1">
                <a:solidFill>
                  <a:prstClr val="white"/>
                </a:solidFill>
                <a:latin typeface="+mn-lt"/>
                <a:ea typeface="MS PGothic" panose="020B0600070205080204" pitchFamily="34" charset="-128"/>
                <a:cs typeface="+mn-cs"/>
              </a:rPr>
              <a:t>Falta</a:t>
            </a:r>
            <a:r>
              <a:rPr lang="en-US" sz="2250" dirty="0">
                <a:solidFill>
                  <a:prstClr val="white"/>
                </a:solidFill>
                <a:latin typeface="+mn-lt"/>
                <a:ea typeface="MS PGothic" panose="020B0600070205080204" pitchFamily="34" charset="-128"/>
                <a:cs typeface="+mn-cs"/>
              </a:rPr>
              <a:t> de um </a:t>
            </a:r>
            <a:r>
              <a:rPr lang="en-US" sz="2250" dirty="0" err="1">
                <a:solidFill>
                  <a:prstClr val="white"/>
                </a:solidFill>
                <a:latin typeface="+mn-lt"/>
                <a:ea typeface="MS PGothic" panose="020B0600070205080204" pitchFamily="34" charset="-128"/>
                <a:cs typeface="+mn-cs"/>
              </a:rPr>
              <a:t>plano</a:t>
            </a:r>
            <a:r>
              <a:rPr lang="en-US" sz="2250" dirty="0">
                <a:solidFill>
                  <a:prstClr val="white"/>
                </a:solidFill>
                <a:latin typeface="+mn-lt"/>
                <a:ea typeface="MS PGothic" panose="020B0600070205080204" pitchFamily="34" charset="-128"/>
                <a:cs typeface="+mn-cs"/>
              </a:rPr>
              <a:t> de </a:t>
            </a:r>
            <a:r>
              <a:rPr lang="en-US" sz="2250" dirty="0" err="1">
                <a:solidFill>
                  <a:prstClr val="white"/>
                </a:solidFill>
                <a:latin typeface="+mn-lt"/>
                <a:ea typeface="MS PGothic" panose="020B0600070205080204" pitchFamily="34" charset="-128"/>
                <a:cs typeface="+mn-cs"/>
              </a:rPr>
              <a:t>carreira</a:t>
            </a:r>
            <a:r>
              <a:rPr lang="en-US" sz="2250" dirty="0">
                <a:solidFill>
                  <a:prstClr val="white"/>
                </a:solidFill>
                <a:latin typeface="+mn-lt"/>
                <a:ea typeface="MS PGothic" panose="020B0600070205080204" pitchFamily="34" charset="-128"/>
                <a:cs typeface="+mn-cs"/>
              </a:rPr>
              <a:t>,</a:t>
            </a:r>
          </a:p>
          <a:p>
            <a:pPr algn="ctr" eaLnBrk="1" hangingPunct="1">
              <a:defRPr/>
            </a:pPr>
            <a:r>
              <a:rPr lang="en-US" sz="2250" dirty="0" err="1">
                <a:solidFill>
                  <a:prstClr val="white"/>
                </a:solidFill>
                <a:latin typeface="+mn-lt"/>
                <a:ea typeface="MS PGothic" panose="020B0600070205080204" pitchFamily="34" charset="-128"/>
                <a:cs typeface="+mn-cs"/>
              </a:rPr>
              <a:t>falta</a:t>
            </a:r>
            <a:r>
              <a:rPr lang="en-US" sz="2250" dirty="0">
                <a:solidFill>
                  <a:prstClr val="white"/>
                </a:solidFill>
                <a:latin typeface="+mn-lt"/>
                <a:ea typeface="MS PGothic" panose="020B0600070205080204" pitchFamily="34" charset="-128"/>
                <a:cs typeface="+mn-cs"/>
              </a:rPr>
              <a:t> de </a:t>
            </a:r>
            <a:r>
              <a:rPr lang="en-US" sz="2250" dirty="0" err="1">
                <a:solidFill>
                  <a:prstClr val="white"/>
                </a:solidFill>
                <a:latin typeface="+mn-lt"/>
                <a:ea typeface="MS PGothic" panose="020B0600070205080204" pitchFamily="34" charset="-128"/>
                <a:cs typeface="+mn-cs"/>
              </a:rPr>
              <a:t>suporte</a:t>
            </a:r>
            <a:r>
              <a:rPr lang="en-US" sz="2250" dirty="0">
                <a:solidFill>
                  <a:prstClr val="white"/>
                </a:solidFill>
                <a:latin typeface="+mn-lt"/>
                <a:ea typeface="MS PGothic" panose="020B0600070205080204" pitchFamily="34" charset="-128"/>
                <a:cs typeface="+mn-cs"/>
              </a:rPr>
              <a:t> para GP</a:t>
            </a:r>
          </a:p>
        </p:txBody>
      </p:sp>
      <p:sp>
        <p:nvSpPr>
          <p:cNvPr id="49" name="Rectangle 17"/>
          <p:cNvSpPr/>
          <p:nvPr/>
        </p:nvSpPr>
        <p:spPr>
          <a:xfrm>
            <a:off x="3394796" y="3214815"/>
            <a:ext cx="2736056" cy="1131079"/>
          </a:xfrm>
          <a:prstGeom prst="rect">
            <a:avLst/>
          </a:prstGeom>
        </p:spPr>
        <p:txBody>
          <a:bodyPr anchor="ctr">
            <a:spAutoFit/>
          </a:bodyPr>
          <a:lstStyle/>
          <a:p>
            <a:pPr algn="ctr" fontAlgn="auto">
              <a:spcAft>
                <a:spcPts val="0"/>
              </a:spcAft>
              <a:defRPr/>
            </a:pPr>
            <a:r>
              <a:rPr lang="pt-BR" altLang="pt-BR" sz="2250" dirty="0">
                <a:solidFill>
                  <a:prstClr val="white"/>
                </a:solidFill>
                <a:latin typeface="+mn-lt"/>
                <a:ea typeface="MS PGothic" panose="020B0600070205080204" pitchFamily="34" charset="-128"/>
                <a:cs typeface="+mn-cs"/>
              </a:rPr>
              <a:t>Falta de comunicação entre departamentos na organização</a:t>
            </a:r>
          </a:p>
        </p:txBody>
      </p:sp>
      <p:sp>
        <p:nvSpPr>
          <p:cNvPr id="18" name="Rectangle 3"/>
          <p:cNvSpPr>
            <a:spLocks noChangeArrowheads="1"/>
          </p:cNvSpPr>
          <p:nvPr/>
        </p:nvSpPr>
        <p:spPr bwMode="auto">
          <a:xfrm>
            <a:off x="1381126" y="180975"/>
            <a:ext cx="1077039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Calibri" panose="020F0502020204030204" pitchFamily="34" charset="0"/>
              </a:rPr>
              <a:t>O Porque na necessidade de um PMO ?</a:t>
            </a:r>
            <a:endParaRPr lang="en-GB" altLang="pt-BR" sz="4200" b="1" dirty="0">
              <a:solidFill>
                <a:schemeClr val="tx1"/>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2954274185"/>
      </p:ext>
    </p:extLst>
  </p:cSld>
  <p:clrMapOvr>
    <a:masterClrMapping/>
  </p:clrMapOvr>
  <p:transition>
    <p:strips dir="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27076"/>
            <a:ext cx="13230225" cy="831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
        <p:nvSpPr>
          <p:cNvPr id="35843" name="Text Box 5"/>
          <p:cNvSpPr txBox="1">
            <a:spLocks noChangeArrowheads="1"/>
          </p:cNvSpPr>
          <p:nvPr/>
        </p:nvSpPr>
        <p:spPr bwMode="auto">
          <a:xfrm>
            <a:off x="-161925" y="2382"/>
            <a:ext cx="13392150" cy="69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defTabSz="1300163">
              <a:spcBef>
                <a:spcPct val="20000"/>
              </a:spcBef>
              <a:buChar char="•"/>
              <a:defRPr sz="3200">
                <a:solidFill>
                  <a:srgbClr val="404040"/>
                </a:solidFill>
                <a:latin typeface="Times New Roman" panose="02020603050405020304" pitchFamily="18" charset="0"/>
              </a:defRPr>
            </a:lvl1pPr>
            <a:lvl2pPr marL="742950" indent="-285750" defTabSz="1300163">
              <a:spcBef>
                <a:spcPct val="20000"/>
              </a:spcBef>
              <a:buChar char="–"/>
              <a:defRPr sz="2800">
                <a:solidFill>
                  <a:srgbClr val="404040"/>
                </a:solidFill>
                <a:latin typeface="Times New Roman" panose="02020603050405020304" pitchFamily="18" charset="0"/>
              </a:defRPr>
            </a:lvl2pPr>
            <a:lvl3pPr marL="1143000" indent="-228600" defTabSz="1300163">
              <a:spcBef>
                <a:spcPct val="20000"/>
              </a:spcBef>
              <a:buChar char="•"/>
              <a:defRPr sz="2400">
                <a:solidFill>
                  <a:srgbClr val="404040"/>
                </a:solidFill>
                <a:latin typeface="Times New Roman" panose="02020603050405020304" pitchFamily="18" charset="0"/>
              </a:defRPr>
            </a:lvl3pPr>
            <a:lvl4pPr marL="1600200" indent="-228600" defTabSz="1300163">
              <a:spcBef>
                <a:spcPct val="20000"/>
              </a:spcBef>
              <a:buChar char="–"/>
              <a:defRPr sz="2000">
                <a:solidFill>
                  <a:srgbClr val="404040"/>
                </a:solidFill>
                <a:latin typeface="Times New Roman" panose="02020603050405020304" pitchFamily="18" charset="0"/>
              </a:defRPr>
            </a:lvl4pPr>
            <a:lvl5pPr marL="2057400" indent="-228600" defTabSz="1300163">
              <a:spcBef>
                <a:spcPct val="20000"/>
              </a:spcBef>
              <a:buChar char="»"/>
              <a:defRPr sz="2000">
                <a:solidFill>
                  <a:srgbClr val="404040"/>
                </a:solidFill>
                <a:latin typeface="Times New Roman" panose="02020603050405020304" pitchFamily="18" charset="0"/>
              </a:defRPr>
            </a:lvl5pPr>
            <a:lvl6pPr marL="25146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30016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3600" dirty="0">
                <a:solidFill>
                  <a:schemeClr val="tx1"/>
                </a:solidFill>
                <a:latin typeface="Tahoma" panose="020B0604030504040204" pitchFamily="34" charset="0"/>
              </a:rPr>
              <a:t>Benefícios mais importantes de um PMO-2017</a:t>
            </a:r>
          </a:p>
        </p:txBody>
      </p:sp>
    </p:spTree>
    <p:custDataLst>
      <p:tags r:id="rId1"/>
    </p:custDataLst>
    <p:extLst>
      <p:ext uri="{BB962C8B-B14F-4D97-AF65-F5344CB8AC3E}">
        <p14:creationId xmlns:p14="http://schemas.microsoft.com/office/powerpoint/2010/main" val="3902131505"/>
      </p:ext>
    </p:extLst>
  </p:cSld>
  <p:clrMapOvr>
    <a:masterClrMapping/>
  </p:clrMapOvr>
  <p:transition spd="slow">
    <p:strips dir="rd"/>
  </p:transition>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26338" name="Rectangle 2"/>
          <p:cNvSpPr>
            <a:spLocks noGrp="1" noChangeArrowheads="1"/>
          </p:cNvSpPr>
          <p:nvPr>
            <p:ph type="body" idx="4294967295"/>
          </p:nvPr>
        </p:nvSpPr>
        <p:spPr>
          <a:xfrm>
            <a:off x="968" y="1399084"/>
            <a:ext cx="13128029" cy="3276029"/>
          </a:xfrm>
          <a:prstGeom prst="rect">
            <a:avLst/>
          </a:prstGeom>
        </p:spPr>
        <p:txBody>
          <a:bodyPr lIns="136145" tIns="68058" rIns="136145" bIns="68058"/>
          <a:lstStyle/>
          <a:p>
            <a:pPr>
              <a:lnSpc>
                <a:spcPct val="80000"/>
              </a:lnSpc>
              <a:buClr>
                <a:srgbClr val="FF0000"/>
              </a:buClr>
              <a:buFont typeface="Wingdings" panose="05000000000000000000" pitchFamily="2" charset="2"/>
              <a:buChar char="ü"/>
              <a:defRPr/>
            </a:pPr>
            <a:r>
              <a:rPr lang="pt-BR" sz="3300" dirty="0"/>
              <a:t>Avaliar o valor de gestão de projetos para organização;</a:t>
            </a:r>
          </a:p>
          <a:p>
            <a:pPr>
              <a:lnSpc>
                <a:spcPct val="80000"/>
              </a:lnSpc>
              <a:buClr>
                <a:srgbClr val="FF0000"/>
              </a:buClr>
              <a:buFont typeface="Wingdings" panose="05000000000000000000" pitchFamily="2" charset="2"/>
              <a:buChar char="ü"/>
              <a:defRPr/>
            </a:pPr>
            <a:endParaRPr lang="pt-BR" sz="1200" dirty="0"/>
          </a:p>
          <a:p>
            <a:pPr>
              <a:lnSpc>
                <a:spcPct val="80000"/>
              </a:lnSpc>
              <a:buClr>
                <a:srgbClr val="FF0000"/>
              </a:buClr>
              <a:buFont typeface="Wingdings" panose="05000000000000000000" pitchFamily="2" charset="2"/>
              <a:buChar char="ü"/>
              <a:defRPr/>
            </a:pPr>
            <a:r>
              <a:rPr lang="pt-BR" sz="3300" dirty="0"/>
              <a:t>Investir na mudança de cultura, quebrar paradigma do imediatismo;</a:t>
            </a:r>
          </a:p>
          <a:p>
            <a:pPr>
              <a:lnSpc>
                <a:spcPct val="80000"/>
              </a:lnSpc>
              <a:buClr>
                <a:srgbClr val="FF0000"/>
              </a:buClr>
              <a:buFont typeface="Wingdings" panose="05000000000000000000" pitchFamily="2" charset="2"/>
              <a:buChar char="ü"/>
              <a:defRPr/>
            </a:pPr>
            <a:endParaRPr lang="pt-BR" sz="1800" dirty="0"/>
          </a:p>
          <a:p>
            <a:pPr>
              <a:lnSpc>
                <a:spcPct val="80000"/>
              </a:lnSpc>
              <a:buClr>
                <a:srgbClr val="FF0000"/>
              </a:buClr>
              <a:buFont typeface="Wingdings" panose="05000000000000000000" pitchFamily="2" charset="2"/>
              <a:buChar char="ü"/>
              <a:defRPr/>
            </a:pPr>
            <a:r>
              <a:rPr lang="pt-BR" sz="3300" dirty="0"/>
              <a:t>Obter um patrocínio executivo;</a:t>
            </a:r>
          </a:p>
          <a:p>
            <a:pPr>
              <a:lnSpc>
                <a:spcPct val="80000"/>
              </a:lnSpc>
              <a:buClr>
                <a:srgbClr val="FF0000"/>
              </a:buClr>
              <a:buFont typeface="Wingdings" panose="05000000000000000000" pitchFamily="2" charset="2"/>
              <a:buChar char="ü"/>
              <a:defRPr/>
            </a:pPr>
            <a:endParaRPr lang="pt-BR" sz="1650" dirty="0"/>
          </a:p>
          <a:p>
            <a:pPr>
              <a:lnSpc>
                <a:spcPct val="80000"/>
              </a:lnSpc>
              <a:buClr>
                <a:srgbClr val="FF0000"/>
              </a:buClr>
              <a:buFont typeface="Wingdings" panose="05000000000000000000" pitchFamily="2" charset="2"/>
              <a:buChar char="ü"/>
              <a:defRPr/>
            </a:pPr>
            <a:r>
              <a:rPr lang="pt-BR" sz="3300" dirty="0"/>
              <a:t>Avaliar a maturidade da empresa em gestão de projetos;</a:t>
            </a:r>
          </a:p>
          <a:p>
            <a:pPr>
              <a:lnSpc>
                <a:spcPct val="80000"/>
              </a:lnSpc>
              <a:buClr>
                <a:srgbClr val="FF0000"/>
              </a:buClr>
              <a:buFont typeface="Wingdings" panose="05000000000000000000" pitchFamily="2" charset="2"/>
              <a:buChar char="ü"/>
              <a:defRPr/>
            </a:pPr>
            <a:endParaRPr lang="pt-BR" sz="1650" dirty="0"/>
          </a:p>
          <a:p>
            <a:pPr>
              <a:lnSpc>
                <a:spcPct val="80000"/>
              </a:lnSpc>
              <a:buClr>
                <a:srgbClr val="FF0000"/>
              </a:buClr>
              <a:buFont typeface="Wingdings" panose="05000000000000000000" pitchFamily="2" charset="2"/>
              <a:buChar char="ü"/>
              <a:defRPr/>
            </a:pPr>
            <a:r>
              <a:rPr lang="pt-BR" sz="3300" dirty="0"/>
              <a:t>Definir o tipo de PMO, os serviços que serão oferecidos (escopo de atuação), a estrutura necessária para ativação do mesmo, </a:t>
            </a:r>
            <a:r>
              <a:rPr lang="pt-BR" sz="3300" b="1" dirty="0"/>
              <a:t>implementando a base de conhecimento e estruturando uma metodologia</a:t>
            </a:r>
            <a:r>
              <a:rPr lang="pt-BR" sz="3300" dirty="0"/>
              <a:t>;</a:t>
            </a:r>
          </a:p>
          <a:p>
            <a:pPr>
              <a:lnSpc>
                <a:spcPct val="80000"/>
              </a:lnSpc>
              <a:buClr>
                <a:srgbClr val="FF0000"/>
              </a:buClr>
              <a:buFont typeface="Wingdings" panose="05000000000000000000" pitchFamily="2" charset="2"/>
              <a:buChar char="ü"/>
              <a:defRPr/>
            </a:pPr>
            <a:endParaRPr lang="pt-BR" sz="1650" dirty="0"/>
          </a:p>
          <a:p>
            <a:pPr>
              <a:lnSpc>
                <a:spcPct val="80000"/>
              </a:lnSpc>
              <a:buClr>
                <a:srgbClr val="FF0000"/>
              </a:buClr>
              <a:buFont typeface="Wingdings" panose="05000000000000000000" pitchFamily="2" charset="2"/>
              <a:buChar char="ü"/>
              <a:defRPr/>
            </a:pPr>
            <a:r>
              <a:rPr lang="pt-BR" sz="3300" dirty="0"/>
              <a:t>Tratar a implementação do PMO como um projeto ,definir prazo e orçamento. Alocar recursos necessários, divulgar os objetivos esperados com a implementação;</a:t>
            </a:r>
          </a:p>
          <a:p>
            <a:pPr>
              <a:lnSpc>
                <a:spcPct val="80000"/>
              </a:lnSpc>
              <a:buClr>
                <a:srgbClr val="FF0000"/>
              </a:buClr>
              <a:buFont typeface="Wingdings" panose="05000000000000000000" pitchFamily="2" charset="2"/>
              <a:buChar char="ü"/>
              <a:defRPr/>
            </a:pPr>
            <a:endParaRPr lang="pt-BR" sz="1650" dirty="0"/>
          </a:p>
          <a:p>
            <a:pPr>
              <a:lnSpc>
                <a:spcPct val="80000"/>
              </a:lnSpc>
              <a:buClr>
                <a:srgbClr val="FF0000"/>
              </a:buClr>
              <a:buFont typeface="Wingdings" panose="05000000000000000000" pitchFamily="2" charset="2"/>
              <a:buChar char="ü"/>
              <a:defRPr/>
            </a:pPr>
            <a:r>
              <a:rPr lang="pt-BR" sz="3300" dirty="0"/>
              <a:t>Motivar e doutrinar os envolvidos da necessidade de adequação;</a:t>
            </a:r>
          </a:p>
          <a:p>
            <a:pPr>
              <a:lnSpc>
                <a:spcPct val="80000"/>
              </a:lnSpc>
              <a:buClr>
                <a:srgbClr val="FF0000"/>
              </a:buClr>
              <a:buFont typeface="Wingdings" panose="05000000000000000000" pitchFamily="2" charset="2"/>
              <a:buChar char="ü"/>
              <a:defRPr/>
            </a:pPr>
            <a:endParaRPr lang="pt-BR" sz="1650" dirty="0"/>
          </a:p>
          <a:p>
            <a:pPr>
              <a:lnSpc>
                <a:spcPct val="80000"/>
              </a:lnSpc>
              <a:buClr>
                <a:srgbClr val="FF0000"/>
              </a:buClr>
              <a:buFont typeface="Wingdings" panose="05000000000000000000" pitchFamily="2" charset="2"/>
              <a:buChar char="ü"/>
              <a:defRPr/>
            </a:pPr>
            <a:r>
              <a:rPr lang="pt-BR" sz="3300" b="1" dirty="0"/>
              <a:t>Estabelecer piloto</a:t>
            </a:r>
            <a:r>
              <a:rPr lang="pt-BR" sz="3300" dirty="0"/>
              <a:t>, avaliar resultados, ajustar. E entrar em operação, obtendo o contínuo feedback e melhoria contínua ouvindo a todos os envolvidos. Procurando sempre realizar benchmarking com o mercado.</a:t>
            </a:r>
          </a:p>
          <a:p>
            <a:pPr marL="0" indent="0">
              <a:lnSpc>
                <a:spcPct val="80000"/>
              </a:lnSpc>
              <a:buNone/>
              <a:defRPr/>
            </a:pPr>
            <a:endParaRPr lang="pt-BR" sz="3300" dirty="0"/>
          </a:p>
        </p:txBody>
      </p:sp>
      <p:sp>
        <p:nvSpPr>
          <p:cNvPr id="36867" name="Rectangle 3"/>
          <p:cNvSpPr>
            <a:spLocks noChangeArrowheads="1"/>
          </p:cNvSpPr>
          <p:nvPr/>
        </p:nvSpPr>
        <p:spPr bwMode="auto">
          <a:xfrm>
            <a:off x="1381126" y="180975"/>
            <a:ext cx="1077039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Calibri" panose="020F0502020204030204" pitchFamily="34" charset="0"/>
              </a:rPr>
              <a:t>8  Fatores Críticos de Sucesso</a:t>
            </a:r>
            <a:r>
              <a:rPr lang="pt-BR" altLang="pt-BR" sz="4200" b="1" dirty="0">
                <a:solidFill>
                  <a:schemeClr val="tx1"/>
                </a:solidFill>
                <a:latin typeface="Calibri" panose="020F0502020204030204" pitchFamily="34" charset="0"/>
              </a:rPr>
              <a:t> </a:t>
            </a:r>
            <a:endParaRPr lang="en-GB" altLang="pt-BR" sz="4200" b="1" dirty="0">
              <a:solidFill>
                <a:schemeClr val="tx1"/>
              </a:solidFill>
              <a:latin typeface="Calibri" panose="020F0502020204030204" pitchFamily="34" charset="0"/>
            </a:endParaRPr>
          </a:p>
        </p:txBody>
      </p:sp>
      <p:pic>
        <p:nvPicPr>
          <p:cNvPr id="526340" name="Picture 4" descr="bd05219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38215" y="2551212"/>
            <a:ext cx="2026611" cy="1923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169389688"/>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526340"/>
                                        </p:tgtEl>
                                        <p:attrNameLst>
                                          <p:attrName>style.visibility</p:attrName>
                                        </p:attrNameLst>
                                      </p:cBhvr>
                                      <p:to>
                                        <p:strVal val="visible"/>
                                      </p:to>
                                    </p:set>
                                    <p:animEffect transition="in" filter="dissolve">
                                      <p:cBhvr>
                                        <p:cTn id="7" dur="500"/>
                                        <p:tgtEl>
                                          <p:spTgt spid="526340"/>
                                        </p:tgtEl>
                                      </p:cBhvr>
                                    </p:animEffect>
                                  </p:childTnLst>
                                </p:cTn>
                              </p:par>
                            </p:childTnLst>
                          </p:cTn>
                        </p:par>
                        <p:par>
                          <p:cTn id="8" fill="hold" nodeType="afterGroup">
                            <p:stCondLst>
                              <p:cond delay="500"/>
                            </p:stCondLst>
                            <p:childTnLst>
                              <p:par>
                                <p:cTn id="9" presetID="5" presetClass="entr" presetSubtype="10" fill="hold" grpId="0" nodeType="afterEffect">
                                  <p:stCondLst>
                                    <p:cond delay="0"/>
                                  </p:stCondLst>
                                  <p:childTnLst>
                                    <p:set>
                                      <p:cBhvr>
                                        <p:cTn id="10" dur="1" fill="hold">
                                          <p:stCondLst>
                                            <p:cond delay="0"/>
                                          </p:stCondLst>
                                        </p:cTn>
                                        <p:tgtEl>
                                          <p:spTgt spid="526338">
                                            <p:txEl>
                                              <p:pRg st="0" end="0"/>
                                            </p:txEl>
                                          </p:spTgt>
                                        </p:tgtEl>
                                        <p:attrNameLst>
                                          <p:attrName>style.visibility</p:attrName>
                                        </p:attrNameLst>
                                      </p:cBhvr>
                                      <p:to>
                                        <p:strVal val="visible"/>
                                      </p:to>
                                    </p:set>
                                    <p:animEffect transition="in" filter="checkerboard(across)">
                                      <p:cBhvr>
                                        <p:cTn id="11" dur="500"/>
                                        <p:tgtEl>
                                          <p:spTgt spid="526338">
                                            <p:txEl>
                                              <p:pRg st="0" end="0"/>
                                            </p:txEl>
                                          </p:spTgt>
                                        </p:tgtEl>
                                      </p:cBhvr>
                                    </p:animEffect>
                                  </p:childTnLst>
                                </p:cTn>
                              </p:par>
                            </p:childTnLst>
                          </p:cTn>
                        </p:par>
                        <p:par>
                          <p:cTn id="12" fill="hold" nodeType="afterGroup">
                            <p:stCondLst>
                              <p:cond delay="1000"/>
                            </p:stCondLst>
                            <p:childTnLst>
                              <p:par>
                                <p:cTn id="13" presetID="5" presetClass="entr" presetSubtype="10" fill="hold" grpId="0" nodeType="afterEffect">
                                  <p:stCondLst>
                                    <p:cond delay="0"/>
                                  </p:stCondLst>
                                  <p:childTnLst>
                                    <p:set>
                                      <p:cBhvr>
                                        <p:cTn id="14" dur="1" fill="hold">
                                          <p:stCondLst>
                                            <p:cond delay="0"/>
                                          </p:stCondLst>
                                        </p:cTn>
                                        <p:tgtEl>
                                          <p:spTgt spid="526338">
                                            <p:txEl>
                                              <p:pRg st="2" end="2"/>
                                            </p:txEl>
                                          </p:spTgt>
                                        </p:tgtEl>
                                        <p:attrNameLst>
                                          <p:attrName>style.visibility</p:attrName>
                                        </p:attrNameLst>
                                      </p:cBhvr>
                                      <p:to>
                                        <p:strVal val="visible"/>
                                      </p:to>
                                    </p:set>
                                    <p:animEffect transition="in" filter="checkerboard(across)">
                                      <p:cBhvr>
                                        <p:cTn id="15" dur="500"/>
                                        <p:tgtEl>
                                          <p:spTgt spid="526338">
                                            <p:txEl>
                                              <p:pRg st="2" end="2"/>
                                            </p:txEl>
                                          </p:spTgt>
                                        </p:tgtEl>
                                      </p:cBhvr>
                                    </p:animEffect>
                                  </p:childTnLst>
                                </p:cTn>
                              </p:par>
                            </p:childTnLst>
                          </p:cTn>
                        </p:par>
                        <p:par>
                          <p:cTn id="16" fill="hold" nodeType="afterGroup">
                            <p:stCondLst>
                              <p:cond delay="1500"/>
                            </p:stCondLst>
                            <p:childTnLst>
                              <p:par>
                                <p:cTn id="17" presetID="5" presetClass="entr" presetSubtype="10" fill="hold" grpId="0" nodeType="afterEffect">
                                  <p:stCondLst>
                                    <p:cond delay="0"/>
                                  </p:stCondLst>
                                  <p:childTnLst>
                                    <p:set>
                                      <p:cBhvr>
                                        <p:cTn id="18" dur="1" fill="hold">
                                          <p:stCondLst>
                                            <p:cond delay="0"/>
                                          </p:stCondLst>
                                        </p:cTn>
                                        <p:tgtEl>
                                          <p:spTgt spid="526338">
                                            <p:txEl>
                                              <p:pRg st="4" end="4"/>
                                            </p:txEl>
                                          </p:spTgt>
                                        </p:tgtEl>
                                        <p:attrNameLst>
                                          <p:attrName>style.visibility</p:attrName>
                                        </p:attrNameLst>
                                      </p:cBhvr>
                                      <p:to>
                                        <p:strVal val="visible"/>
                                      </p:to>
                                    </p:set>
                                    <p:animEffect transition="in" filter="checkerboard(across)">
                                      <p:cBhvr>
                                        <p:cTn id="19" dur="500"/>
                                        <p:tgtEl>
                                          <p:spTgt spid="526338">
                                            <p:txEl>
                                              <p:pRg st="4" end="4"/>
                                            </p:txEl>
                                          </p:spTgt>
                                        </p:tgtEl>
                                      </p:cBhvr>
                                    </p:animEffect>
                                  </p:childTnLst>
                                </p:cTn>
                              </p:par>
                            </p:childTnLst>
                          </p:cTn>
                        </p:par>
                        <p:par>
                          <p:cTn id="20" fill="hold" nodeType="afterGroup">
                            <p:stCondLst>
                              <p:cond delay="2000"/>
                            </p:stCondLst>
                            <p:childTnLst>
                              <p:par>
                                <p:cTn id="21" presetID="5" presetClass="entr" presetSubtype="10" fill="hold" grpId="0" nodeType="afterEffect">
                                  <p:stCondLst>
                                    <p:cond delay="0"/>
                                  </p:stCondLst>
                                  <p:childTnLst>
                                    <p:set>
                                      <p:cBhvr>
                                        <p:cTn id="22" dur="1" fill="hold">
                                          <p:stCondLst>
                                            <p:cond delay="0"/>
                                          </p:stCondLst>
                                        </p:cTn>
                                        <p:tgtEl>
                                          <p:spTgt spid="526338">
                                            <p:txEl>
                                              <p:pRg st="6" end="6"/>
                                            </p:txEl>
                                          </p:spTgt>
                                        </p:tgtEl>
                                        <p:attrNameLst>
                                          <p:attrName>style.visibility</p:attrName>
                                        </p:attrNameLst>
                                      </p:cBhvr>
                                      <p:to>
                                        <p:strVal val="visible"/>
                                      </p:to>
                                    </p:set>
                                    <p:animEffect transition="in" filter="checkerboard(across)">
                                      <p:cBhvr>
                                        <p:cTn id="23" dur="500"/>
                                        <p:tgtEl>
                                          <p:spTgt spid="526338">
                                            <p:txEl>
                                              <p:pRg st="6" end="6"/>
                                            </p:txEl>
                                          </p:spTgt>
                                        </p:tgtEl>
                                      </p:cBhvr>
                                    </p:animEffect>
                                  </p:childTnLst>
                                </p:cTn>
                              </p:par>
                            </p:childTnLst>
                          </p:cTn>
                        </p:par>
                        <p:par>
                          <p:cTn id="24" fill="hold" nodeType="afterGroup">
                            <p:stCondLst>
                              <p:cond delay="2500"/>
                            </p:stCondLst>
                            <p:childTnLst>
                              <p:par>
                                <p:cTn id="25" presetID="5" presetClass="entr" presetSubtype="10" fill="hold" grpId="0" nodeType="afterEffect">
                                  <p:stCondLst>
                                    <p:cond delay="0"/>
                                  </p:stCondLst>
                                  <p:childTnLst>
                                    <p:set>
                                      <p:cBhvr>
                                        <p:cTn id="26" dur="1" fill="hold">
                                          <p:stCondLst>
                                            <p:cond delay="0"/>
                                          </p:stCondLst>
                                        </p:cTn>
                                        <p:tgtEl>
                                          <p:spTgt spid="526338">
                                            <p:txEl>
                                              <p:pRg st="8" end="8"/>
                                            </p:txEl>
                                          </p:spTgt>
                                        </p:tgtEl>
                                        <p:attrNameLst>
                                          <p:attrName>style.visibility</p:attrName>
                                        </p:attrNameLst>
                                      </p:cBhvr>
                                      <p:to>
                                        <p:strVal val="visible"/>
                                      </p:to>
                                    </p:set>
                                    <p:animEffect transition="in" filter="checkerboard(across)">
                                      <p:cBhvr>
                                        <p:cTn id="27" dur="500"/>
                                        <p:tgtEl>
                                          <p:spTgt spid="526338">
                                            <p:txEl>
                                              <p:pRg st="8" end="8"/>
                                            </p:txEl>
                                          </p:spTgt>
                                        </p:tgtEl>
                                      </p:cBhvr>
                                    </p:animEffect>
                                  </p:childTnLst>
                                </p:cTn>
                              </p:par>
                            </p:childTnLst>
                          </p:cTn>
                        </p:par>
                        <p:par>
                          <p:cTn id="28" fill="hold" nodeType="afterGroup">
                            <p:stCondLst>
                              <p:cond delay="3000"/>
                            </p:stCondLst>
                            <p:childTnLst>
                              <p:par>
                                <p:cTn id="29" presetID="5" presetClass="entr" presetSubtype="10" fill="hold" grpId="0" nodeType="afterEffect">
                                  <p:stCondLst>
                                    <p:cond delay="0"/>
                                  </p:stCondLst>
                                  <p:childTnLst>
                                    <p:set>
                                      <p:cBhvr>
                                        <p:cTn id="30" dur="1" fill="hold">
                                          <p:stCondLst>
                                            <p:cond delay="0"/>
                                          </p:stCondLst>
                                        </p:cTn>
                                        <p:tgtEl>
                                          <p:spTgt spid="526338">
                                            <p:txEl>
                                              <p:pRg st="10" end="10"/>
                                            </p:txEl>
                                          </p:spTgt>
                                        </p:tgtEl>
                                        <p:attrNameLst>
                                          <p:attrName>style.visibility</p:attrName>
                                        </p:attrNameLst>
                                      </p:cBhvr>
                                      <p:to>
                                        <p:strVal val="visible"/>
                                      </p:to>
                                    </p:set>
                                    <p:animEffect transition="in" filter="checkerboard(across)">
                                      <p:cBhvr>
                                        <p:cTn id="31" dur="500"/>
                                        <p:tgtEl>
                                          <p:spTgt spid="526338">
                                            <p:txEl>
                                              <p:pRg st="10" end="10"/>
                                            </p:txEl>
                                          </p:spTgt>
                                        </p:tgtEl>
                                      </p:cBhvr>
                                    </p:animEffect>
                                  </p:childTnLst>
                                </p:cTn>
                              </p:par>
                            </p:childTnLst>
                          </p:cTn>
                        </p:par>
                        <p:par>
                          <p:cTn id="32" fill="hold" nodeType="afterGroup">
                            <p:stCondLst>
                              <p:cond delay="3500"/>
                            </p:stCondLst>
                            <p:childTnLst>
                              <p:par>
                                <p:cTn id="33" presetID="5" presetClass="entr" presetSubtype="10" fill="hold" grpId="0" nodeType="afterEffect">
                                  <p:stCondLst>
                                    <p:cond delay="0"/>
                                  </p:stCondLst>
                                  <p:childTnLst>
                                    <p:set>
                                      <p:cBhvr>
                                        <p:cTn id="34" dur="1" fill="hold">
                                          <p:stCondLst>
                                            <p:cond delay="0"/>
                                          </p:stCondLst>
                                        </p:cTn>
                                        <p:tgtEl>
                                          <p:spTgt spid="526338">
                                            <p:txEl>
                                              <p:pRg st="12" end="12"/>
                                            </p:txEl>
                                          </p:spTgt>
                                        </p:tgtEl>
                                        <p:attrNameLst>
                                          <p:attrName>style.visibility</p:attrName>
                                        </p:attrNameLst>
                                      </p:cBhvr>
                                      <p:to>
                                        <p:strVal val="visible"/>
                                      </p:to>
                                    </p:set>
                                    <p:animEffect transition="in" filter="checkerboard(across)">
                                      <p:cBhvr>
                                        <p:cTn id="35" dur="500"/>
                                        <p:tgtEl>
                                          <p:spTgt spid="526338">
                                            <p:txEl>
                                              <p:pRg st="12" end="12"/>
                                            </p:txEl>
                                          </p:spTgt>
                                        </p:tgtEl>
                                      </p:cBhvr>
                                    </p:animEffect>
                                  </p:childTnLst>
                                </p:cTn>
                              </p:par>
                            </p:childTnLst>
                          </p:cTn>
                        </p:par>
                        <p:par>
                          <p:cTn id="36" fill="hold" nodeType="afterGroup">
                            <p:stCondLst>
                              <p:cond delay="4000"/>
                            </p:stCondLst>
                            <p:childTnLst>
                              <p:par>
                                <p:cTn id="37" presetID="5" presetClass="entr" presetSubtype="10" fill="hold" grpId="0" nodeType="afterEffect">
                                  <p:stCondLst>
                                    <p:cond delay="0"/>
                                  </p:stCondLst>
                                  <p:childTnLst>
                                    <p:set>
                                      <p:cBhvr>
                                        <p:cTn id="38" dur="1" fill="hold">
                                          <p:stCondLst>
                                            <p:cond delay="0"/>
                                          </p:stCondLst>
                                        </p:cTn>
                                        <p:tgtEl>
                                          <p:spTgt spid="526338">
                                            <p:txEl>
                                              <p:pRg st="14" end="14"/>
                                            </p:txEl>
                                          </p:spTgt>
                                        </p:tgtEl>
                                        <p:attrNameLst>
                                          <p:attrName>style.visibility</p:attrName>
                                        </p:attrNameLst>
                                      </p:cBhvr>
                                      <p:to>
                                        <p:strVal val="visible"/>
                                      </p:to>
                                    </p:set>
                                    <p:animEffect transition="in" filter="checkerboard(across)">
                                      <p:cBhvr>
                                        <p:cTn id="39" dur="500"/>
                                        <p:tgtEl>
                                          <p:spTgt spid="526338">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6338" grpId="0" build="p" autoUpdateAnimBg="0" advAuto="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bwMode="auto">
          <a:xfrm>
            <a:off x="719138" y="290513"/>
            <a:ext cx="11418095" cy="747713"/>
          </a:xfrm>
          <a:noFill/>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a:solidFill>
                  <a:schemeClr val="tx1"/>
                </a:solidFill>
              </a:rPr>
              <a:t>Passos para a criação do PMO</a:t>
            </a:r>
          </a:p>
        </p:txBody>
      </p:sp>
      <p:sp>
        <p:nvSpPr>
          <p:cNvPr id="470019" name="Rectangle 3"/>
          <p:cNvSpPr>
            <a:spLocks noChangeArrowheads="1"/>
          </p:cNvSpPr>
          <p:nvPr/>
        </p:nvSpPr>
        <p:spPr bwMode="auto">
          <a:xfrm>
            <a:off x="183357" y="2336008"/>
            <a:ext cx="2514600" cy="1955006"/>
          </a:xfrm>
          <a:prstGeom prst="rect">
            <a:avLst/>
          </a:prstGeom>
          <a:solidFill>
            <a:schemeClr val="accent2"/>
          </a:solidFill>
          <a:ln w="63500">
            <a:solidFill>
              <a:srgbClr val="333399"/>
            </a:solidFill>
            <a:miter lim="800000"/>
            <a:headEnd/>
            <a:tailEnd/>
          </a:ln>
          <a:effectLst/>
        </p:spPr>
        <p:txBody>
          <a:bodyPr wrap="none" lIns="136145" tIns="68058" rIns="136145" bIns="68058" anchor="ctr"/>
          <a:lstStyle/>
          <a:p>
            <a:pPr>
              <a:spcBef>
                <a:spcPct val="20000"/>
              </a:spcBef>
              <a:buClr>
                <a:srgbClr val="CC0000"/>
              </a:buClr>
              <a:defRPr/>
            </a:pPr>
            <a:r>
              <a:rPr lang="pt-BR" sz="3000">
                <a:solidFill>
                  <a:schemeClr val="bg1"/>
                </a:solidFill>
                <a:effectLst>
                  <a:outerShdw blurRad="38100" dist="38100" dir="2700000" algn="tl">
                    <a:srgbClr val="000000"/>
                  </a:outerShdw>
                </a:effectLst>
              </a:rPr>
              <a:t>Criar</a:t>
            </a:r>
          </a:p>
          <a:p>
            <a:pPr>
              <a:spcBef>
                <a:spcPct val="20000"/>
              </a:spcBef>
              <a:buClr>
                <a:srgbClr val="CC0000"/>
              </a:buClr>
              <a:defRPr/>
            </a:pPr>
            <a:r>
              <a:rPr lang="pt-BR" sz="3000">
                <a:solidFill>
                  <a:schemeClr val="bg1"/>
                </a:solidFill>
                <a:effectLst>
                  <a:outerShdw blurRad="38100" dist="38100" dir="2700000" algn="tl">
                    <a:srgbClr val="000000"/>
                  </a:outerShdw>
                </a:effectLst>
              </a:rPr>
              <a:t>um plano</a:t>
            </a:r>
          </a:p>
          <a:p>
            <a:pPr>
              <a:spcBef>
                <a:spcPct val="20000"/>
              </a:spcBef>
              <a:buClr>
                <a:srgbClr val="CC0000"/>
              </a:buClr>
              <a:defRPr/>
            </a:pPr>
            <a:r>
              <a:rPr lang="pt-BR" sz="3000">
                <a:solidFill>
                  <a:schemeClr val="bg1"/>
                </a:solidFill>
                <a:effectLst>
                  <a:outerShdw blurRad="38100" dist="38100" dir="2700000" algn="tl">
                    <a:srgbClr val="000000"/>
                  </a:outerShdw>
                </a:effectLst>
              </a:rPr>
              <a:t>Estratégico</a:t>
            </a:r>
          </a:p>
        </p:txBody>
      </p:sp>
      <p:sp>
        <p:nvSpPr>
          <p:cNvPr id="470020" name="Rectangle 4"/>
          <p:cNvSpPr>
            <a:spLocks noChangeArrowheads="1"/>
          </p:cNvSpPr>
          <p:nvPr/>
        </p:nvSpPr>
        <p:spPr bwMode="auto">
          <a:xfrm>
            <a:off x="3726657" y="2336008"/>
            <a:ext cx="2514600" cy="1955006"/>
          </a:xfrm>
          <a:prstGeom prst="rect">
            <a:avLst/>
          </a:prstGeom>
          <a:solidFill>
            <a:schemeClr val="accent2"/>
          </a:solidFill>
          <a:ln w="63500">
            <a:solidFill>
              <a:srgbClr val="333399"/>
            </a:solidFill>
            <a:miter lim="800000"/>
            <a:headEnd/>
            <a:tailEnd/>
          </a:ln>
          <a:effectLst/>
        </p:spPr>
        <p:txBody>
          <a:bodyPr wrap="none" lIns="136145" tIns="68058" rIns="136145" bIns="68058" anchor="ctr"/>
          <a:lstStyle/>
          <a:p>
            <a:pPr>
              <a:spcBef>
                <a:spcPct val="20000"/>
              </a:spcBef>
              <a:buClr>
                <a:srgbClr val="CC0000"/>
              </a:buClr>
              <a:defRPr/>
            </a:pPr>
            <a:r>
              <a:rPr lang="pt-BR" sz="3000">
                <a:solidFill>
                  <a:schemeClr val="bg1"/>
                </a:solidFill>
                <a:effectLst>
                  <a:outerShdw blurRad="38100" dist="38100" dir="2700000" algn="tl">
                    <a:srgbClr val="000000"/>
                  </a:outerShdw>
                </a:effectLst>
              </a:rPr>
              <a:t>Vender </a:t>
            </a:r>
          </a:p>
          <a:p>
            <a:pPr>
              <a:spcBef>
                <a:spcPct val="20000"/>
              </a:spcBef>
              <a:buClr>
                <a:srgbClr val="CC0000"/>
              </a:buClr>
              <a:defRPr/>
            </a:pPr>
            <a:r>
              <a:rPr lang="pt-BR" sz="3000">
                <a:solidFill>
                  <a:schemeClr val="bg1"/>
                </a:solidFill>
                <a:effectLst>
                  <a:outerShdw blurRad="38100" dist="38100" dir="2700000" algn="tl">
                    <a:srgbClr val="000000"/>
                  </a:outerShdw>
                </a:effectLst>
              </a:rPr>
              <a:t>A idéia</a:t>
            </a:r>
          </a:p>
        </p:txBody>
      </p:sp>
      <p:sp>
        <p:nvSpPr>
          <p:cNvPr id="470021" name="Rectangle 5"/>
          <p:cNvSpPr>
            <a:spLocks noChangeArrowheads="1"/>
          </p:cNvSpPr>
          <p:nvPr/>
        </p:nvSpPr>
        <p:spPr bwMode="auto">
          <a:xfrm>
            <a:off x="7384257" y="2338388"/>
            <a:ext cx="2514600" cy="1955007"/>
          </a:xfrm>
          <a:prstGeom prst="rect">
            <a:avLst/>
          </a:prstGeom>
          <a:solidFill>
            <a:schemeClr val="accent2"/>
          </a:solidFill>
          <a:ln w="63500">
            <a:solidFill>
              <a:srgbClr val="333399"/>
            </a:solidFill>
            <a:miter lim="800000"/>
            <a:headEnd/>
            <a:tailEnd/>
          </a:ln>
          <a:effectLst/>
        </p:spPr>
        <p:txBody>
          <a:bodyPr wrap="none" lIns="136145" tIns="68058" rIns="136145" bIns="68058" anchor="ctr"/>
          <a:lstStyle/>
          <a:p>
            <a:pPr>
              <a:spcBef>
                <a:spcPct val="20000"/>
              </a:spcBef>
              <a:buClr>
                <a:srgbClr val="CC0000"/>
              </a:buClr>
              <a:defRPr/>
            </a:pPr>
            <a:r>
              <a:rPr lang="pt-BR" sz="3000">
                <a:solidFill>
                  <a:schemeClr val="bg1"/>
                </a:solidFill>
                <a:effectLst>
                  <a:outerShdw blurRad="38100" dist="38100" dir="2700000" algn="tl">
                    <a:srgbClr val="000000"/>
                  </a:outerShdw>
                </a:effectLst>
              </a:rPr>
              <a:t>Implementar</a:t>
            </a:r>
          </a:p>
          <a:p>
            <a:pPr>
              <a:spcBef>
                <a:spcPct val="20000"/>
              </a:spcBef>
              <a:buClr>
                <a:srgbClr val="CC0000"/>
              </a:buClr>
              <a:defRPr/>
            </a:pPr>
            <a:r>
              <a:rPr lang="pt-BR" sz="3000">
                <a:solidFill>
                  <a:schemeClr val="bg1"/>
                </a:solidFill>
                <a:effectLst>
                  <a:outerShdw blurRad="38100" dist="38100" dir="2700000" algn="tl">
                    <a:srgbClr val="000000"/>
                  </a:outerShdw>
                </a:effectLst>
              </a:rPr>
              <a:t>o plano </a:t>
            </a:r>
          </a:p>
        </p:txBody>
      </p:sp>
      <p:sp>
        <p:nvSpPr>
          <p:cNvPr id="470022" name="Rectangle 6"/>
          <p:cNvSpPr>
            <a:spLocks noChangeArrowheads="1"/>
          </p:cNvSpPr>
          <p:nvPr/>
        </p:nvSpPr>
        <p:spPr bwMode="auto">
          <a:xfrm>
            <a:off x="10698957" y="2336008"/>
            <a:ext cx="2514600" cy="1955006"/>
          </a:xfrm>
          <a:prstGeom prst="rect">
            <a:avLst/>
          </a:prstGeom>
          <a:solidFill>
            <a:schemeClr val="accent2"/>
          </a:solidFill>
          <a:ln w="63500">
            <a:solidFill>
              <a:srgbClr val="333399"/>
            </a:solidFill>
            <a:miter lim="800000"/>
            <a:headEnd/>
            <a:tailEnd/>
          </a:ln>
          <a:effectLst/>
        </p:spPr>
        <p:txBody>
          <a:bodyPr wrap="none" lIns="136145" tIns="68058" rIns="136145" bIns="68058" anchor="ctr"/>
          <a:lstStyle/>
          <a:p>
            <a:pPr>
              <a:spcBef>
                <a:spcPct val="20000"/>
              </a:spcBef>
              <a:buClr>
                <a:srgbClr val="CC0000"/>
              </a:buClr>
              <a:defRPr/>
            </a:pPr>
            <a:r>
              <a:rPr lang="pt-BR" sz="3000">
                <a:solidFill>
                  <a:schemeClr val="bg1"/>
                </a:solidFill>
                <a:effectLst>
                  <a:outerShdw blurRad="38100" dist="38100" dir="2700000" algn="tl">
                    <a:srgbClr val="000000"/>
                  </a:outerShdw>
                </a:effectLst>
              </a:rPr>
              <a:t>Avaliar </a:t>
            </a:r>
          </a:p>
          <a:p>
            <a:pPr>
              <a:spcBef>
                <a:spcPct val="20000"/>
              </a:spcBef>
              <a:buClr>
                <a:srgbClr val="CC0000"/>
              </a:buClr>
              <a:defRPr/>
            </a:pPr>
            <a:r>
              <a:rPr lang="pt-BR" sz="3000">
                <a:solidFill>
                  <a:schemeClr val="bg1"/>
                </a:solidFill>
                <a:effectLst>
                  <a:outerShdw blurRad="38100" dist="38100" dir="2700000" algn="tl">
                    <a:srgbClr val="000000"/>
                  </a:outerShdw>
                </a:effectLst>
              </a:rPr>
              <a:t>resultados</a:t>
            </a:r>
          </a:p>
        </p:txBody>
      </p:sp>
      <p:cxnSp>
        <p:nvCxnSpPr>
          <p:cNvPr id="37895" name="AutoShape 8"/>
          <p:cNvCxnSpPr>
            <a:cxnSpLocks noChangeShapeType="1"/>
            <a:stCxn id="470019" idx="3"/>
            <a:endCxn id="470020" idx="0"/>
          </p:cNvCxnSpPr>
          <p:nvPr/>
        </p:nvCxnSpPr>
        <p:spPr bwMode="auto">
          <a:xfrm flipV="1">
            <a:off x="2745582" y="2288382"/>
            <a:ext cx="2238375" cy="1026318"/>
          </a:xfrm>
          <a:prstGeom prst="curvedConnector4">
            <a:avLst>
              <a:gd name="adj1" fmla="val 20852"/>
              <a:gd name="adj2" fmla="val 128769"/>
            </a:avLst>
          </a:prstGeom>
          <a:noFill/>
          <a:ln w="101600">
            <a:solidFill>
              <a:srgbClr val="333399">
                <a:alpha val="50195"/>
              </a:srgbClr>
            </a:solidFill>
            <a:round/>
            <a:headEnd/>
            <a:tailEnd type="triangle" w="med" len="med"/>
          </a:ln>
          <a:extLst>
            <a:ext uri="{909E8E84-426E-40DD-AFC4-6F175D3DCCD1}">
              <a14:hiddenFill xmlns:a14="http://schemas.microsoft.com/office/drawing/2010/main">
                <a:noFill/>
              </a14:hiddenFill>
            </a:ext>
          </a:extLst>
        </p:spPr>
      </p:cxnSp>
      <p:cxnSp>
        <p:nvCxnSpPr>
          <p:cNvPr id="37896" name="AutoShape 10"/>
          <p:cNvCxnSpPr>
            <a:cxnSpLocks noChangeShapeType="1"/>
            <a:stCxn id="470021" idx="0"/>
            <a:endCxn id="470022" idx="0"/>
          </p:cNvCxnSpPr>
          <p:nvPr/>
        </p:nvCxnSpPr>
        <p:spPr bwMode="auto">
          <a:xfrm rot="-5400000">
            <a:off x="10297717" y="632223"/>
            <a:ext cx="2381" cy="3314700"/>
          </a:xfrm>
          <a:prstGeom prst="curvedConnector3">
            <a:avLst>
              <a:gd name="adj1" fmla="val 41099986"/>
            </a:avLst>
          </a:prstGeom>
          <a:noFill/>
          <a:ln w="101600">
            <a:solidFill>
              <a:srgbClr val="333399">
                <a:alpha val="50195"/>
              </a:srgbClr>
            </a:solidFill>
            <a:round/>
            <a:headEnd/>
            <a:tailEnd type="triangle" w="med" len="med"/>
          </a:ln>
          <a:extLst>
            <a:ext uri="{909E8E84-426E-40DD-AFC4-6F175D3DCCD1}">
              <a14:hiddenFill xmlns:a14="http://schemas.microsoft.com/office/drawing/2010/main">
                <a:noFill/>
              </a14:hiddenFill>
            </a:ext>
          </a:extLst>
        </p:spPr>
      </p:cxnSp>
      <p:sp>
        <p:nvSpPr>
          <p:cNvPr id="37897" name="Oval 11"/>
          <p:cNvSpPr>
            <a:spLocks noChangeArrowheads="1"/>
          </p:cNvSpPr>
          <p:nvPr/>
        </p:nvSpPr>
        <p:spPr bwMode="auto">
          <a:xfrm>
            <a:off x="983457" y="1307307"/>
            <a:ext cx="685800" cy="800100"/>
          </a:xfrm>
          <a:prstGeom prst="ellipse">
            <a:avLst/>
          </a:prstGeom>
          <a:solidFill>
            <a:srgbClr val="333399"/>
          </a:solidFill>
          <a:ln w="9525">
            <a:solidFill>
              <a:srgbClr val="000000"/>
            </a:solidFill>
            <a:round/>
            <a:headEnd/>
            <a:tailEnd/>
          </a:ln>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3600">
                <a:solidFill>
                  <a:schemeClr val="bg1"/>
                </a:solidFill>
                <a:latin typeface="Helvetica" panose="020B0500000000000000" pitchFamily="34" charset="0"/>
              </a:rPr>
              <a:t>1</a:t>
            </a:r>
            <a:endParaRPr lang="pt-BR" altLang="pt-BR" sz="3600">
              <a:solidFill>
                <a:schemeClr val="bg1"/>
              </a:solidFill>
              <a:latin typeface="Helvetica" panose="020B0500000000000000" pitchFamily="34" charset="0"/>
            </a:endParaRPr>
          </a:p>
        </p:txBody>
      </p:sp>
      <p:sp>
        <p:nvSpPr>
          <p:cNvPr id="37898" name="Oval 12"/>
          <p:cNvSpPr>
            <a:spLocks noChangeArrowheads="1"/>
          </p:cNvSpPr>
          <p:nvPr/>
        </p:nvSpPr>
        <p:spPr bwMode="auto">
          <a:xfrm>
            <a:off x="4755357" y="1307307"/>
            <a:ext cx="685800" cy="800100"/>
          </a:xfrm>
          <a:prstGeom prst="ellipse">
            <a:avLst/>
          </a:prstGeom>
          <a:solidFill>
            <a:srgbClr val="333399"/>
          </a:solidFill>
          <a:ln w="9525">
            <a:solidFill>
              <a:srgbClr val="000000"/>
            </a:solidFill>
            <a:round/>
            <a:headEnd/>
            <a:tailEnd/>
          </a:ln>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3600">
                <a:solidFill>
                  <a:schemeClr val="bg1"/>
                </a:solidFill>
                <a:latin typeface="Helvetica" panose="020B0500000000000000" pitchFamily="34" charset="0"/>
              </a:rPr>
              <a:t>2</a:t>
            </a:r>
            <a:endParaRPr lang="pt-BR" altLang="pt-BR" sz="3600">
              <a:solidFill>
                <a:schemeClr val="bg1"/>
              </a:solidFill>
              <a:latin typeface="Helvetica" panose="020B0500000000000000" pitchFamily="34" charset="0"/>
            </a:endParaRPr>
          </a:p>
        </p:txBody>
      </p:sp>
      <p:sp>
        <p:nvSpPr>
          <p:cNvPr id="37899" name="Oval 13"/>
          <p:cNvSpPr>
            <a:spLocks noChangeArrowheads="1"/>
          </p:cNvSpPr>
          <p:nvPr/>
        </p:nvSpPr>
        <p:spPr bwMode="auto">
          <a:xfrm>
            <a:off x="8070057" y="1307307"/>
            <a:ext cx="685800" cy="800100"/>
          </a:xfrm>
          <a:prstGeom prst="ellipse">
            <a:avLst/>
          </a:prstGeom>
          <a:solidFill>
            <a:srgbClr val="333399"/>
          </a:solidFill>
          <a:ln w="9525">
            <a:solidFill>
              <a:srgbClr val="000000"/>
            </a:solidFill>
            <a:round/>
            <a:headEnd/>
            <a:tailEnd/>
          </a:ln>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3600">
                <a:solidFill>
                  <a:schemeClr val="bg1"/>
                </a:solidFill>
                <a:latin typeface="Helvetica" panose="020B0500000000000000" pitchFamily="34" charset="0"/>
              </a:rPr>
              <a:t>3</a:t>
            </a:r>
            <a:endParaRPr lang="pt-BR" altLang="pt-BR" sz="3600">
              <a:solidFill>
                <a:schemeClr val="bg1"/>
              </a:solidFill>
              <a:latin typeface="Helvetica" panose="020B0500000000000000" pitchFamily="34" charset="0"/>
            </a:endParaRPr>
          </a:p>
        </p:txBody>
      </p:sp>
      <p:sp>
        <p:nvSpPr>
          <p:cNvPr id="37900" name="Oval 14"/>
          <p:cNvSpPr>
            <a:spLocks noChangeArrowheads="1"/>
          </p:cNvSpPr>
          <p:nvPr/>
        </p:nvSpPr>
        <p:spPr bwMode="auto">
          <a:xfrm>
            <a:off x="12070557" y="1307307"/>
            <a:ext cx="685800" cy="800100"/>
          </a:xfrm>
          <a:prstGeom prst="ellipse">
            <a:avLst/>
          </a:prstGeom>
          <a:solidFill>
            <a:srgbClr val="333399"/>
          </a:solidFill>
          <a:ln w="9525">
            <a:solidFill>
              <a:srgbClr val="000000"/>
            </a:solidFill>
            <a:round/>
            <a:headEnd/>
            <a:tailEnd/>
          </a:ln>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3600">
                <a:solidFill>
                  <a:schemeClr val="bg1"/>
                </a:solidFill>
                <a:latin typeface="Helvetica" panose="020B0500000000000000" pitchFamily="34" charset="0"/>
              </a:rPr>
              <a:t>4</a:t>
            </a:r>
            <a:endParaRPr lang="pt-BR" altLang="pt-BR" sz="3600">
              <a:solidFill>
                <a:schemeClr val="bg1"/>
              </a:solidFill>
              <a:latin typeface="Helvetica" panose="020B0500000000000000" pitchFamily="34" charset="0"/>
            </a:endParaRPr>
          </a:p>
        </p:txBody>
      </p:sp>
      <p:pic>
        <p:nvPicPr>
          <p:cNvPr id="37901" name="Picture 7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5145" y="4700588"/>
            <a:ext cx="8298656" cy="5041107"/>
          </a:xfrm>
          <a:prstGeom prst="rect">
            <a:avLst/>
          </a:prstGeom>
          <a:noFill/>
          <a:ln w="25400">
            <a:solidFill>
              <a:schemeClr val="bg2"/>
            </a:solidFill>
            <a:miter lim="800000"/>
            <a:headEnd/>
            <a:tailEnd/>
          </a:ln>
          <a:effectLst>
            <a:outerShdw dist="107763" dir="2700000" algn="ctr" rotWithShape="0">
              <a:schemeClr val="bg2"/>
            </a:outerShdw>
          </a:effectLst>
          <a:extLst>
            <a:ext uri="{909E8E84-426E-40DD-AFC4-6F175D3DCCD1}">
              <a14:hiddenFill xmlns:a14="http://schemas.microsoft.com/office/drawing/2010/main">
                <a:solidFill>
                  <a:srgbClr val="FFFFFF"/>
                </a:solidFill>
              </a14:hiddenFill>
            </a:ext>
          </a:extLst>
        </p:spPr>
      </p:pic>
      <p:cxnSp>
        <p:nvCxnSpPr>
          <p:cNvPr id="37902" name="AutoShape 9"/>
          <p:cNvCxnSpPr>
            <a:cxnSpLocks noChangeShapeType="1"/>
            <a:stCxn id="470020" idx="2"/>
            <a:endCxn id="470021" idx="2"/>
          </p:cNvCxnSpPr>
          <p:nvPr/>
        </p:nvCxnSpPr>
        <p:spPr bwMode="auto">
          <a:xfrm rot="16200000" flipH="1">
            <a:off x="6811566" y="2511029"/>
            <a:ext cx="2382" cy="3657600"/>
          </a:xfrm>
          <a:prstGeom prst="curvedConnector3">
            <a:avLst>
              <a:gd name="adj1" fmla="val 34999986"/>
            </a:avLst>
          </a:prstGeom>
          <a:noFill/>
          <a:ln w="101600">
            <a:solidFill>
              <a:srgbClr val="333399">
                <a:alpha val="32156"/>
              </a:srgbClr>
            </a:solidFill>
            <a:round/>
            <a:headEnd/>
            <a:tailEnd type="triangle" w="med" len="med"/>
          </a:ln>
          <a:extLst>
            <a:ext uri="{909E8E84-426E-40DD-AFC4-6F175D3DCCD1}">
              <a14:hiddenFill xmlns:a14="http://schemas.microsoft.com/office/drawing/2010/main">
                <a:noFill/>
              </a14:hiddenFill>
            </a:ext>
          </a:extLst>
        </p:spPr>
      </p:cxnSp>
      <p:cxnSp>
        <p:nvCxnSpPr>
          <p:cNvPr id="37903" name="AutoShape 7"/>
          <p:cNvCxnSpPr>
            <a:cxnSpLocks noChangeShapeType="1"/>
            <a:stCxn id="470022" idx="2"/>
            <a:endCxn id="470019" idx="2"/>
          </p:cNvCxnSpPr>
          <p:nvPr/>
        </p:nvCxnSpPr>
        <p:spPr bwMode="auto">
          <a:xfrm rot="5400000">
            <a:off x="6697266" y="-917972"/>
            <a:ext cx="2382" cy="10515600"/>
          </a:xfrm>
          <a:prstGeom prst="curvedConnector3">
            <a:avLst>
              <a:gd name="adj1" fmla="val 134500032"/>
            </a:avLst>
          </a:prstGeom>
          <a:noFill/>
          <a:ln w="101600">
            <a:solidFill>
              <a:srgbClr val="333399">
                <a:alpha val="30196"/>
              </a:srgbClr>
            </a:solidFill>
            <a:round/>
            <a:headEnd/>
            <a:tailEnd type="triangle" w="med" len="med"/>
          </a:ln>
          <a:extLst>
            <a:ext uri="{909E8E84-426E-40DD-AFC4-6F175D3DCCD1}">
              <a14:hiddenFill xmlns:a14="http://schemas.microsoft.com/office/drawing/2010/main">
                <a:noFill/>
              </a14:hiddenFill>
            </a:ext>
          </a:extLst>
        </p:spPr>
      </p:cxnSp>
    </p:spTree>
    <p:custDataLst>
      <p:tags r:id="rId1"/>
    </p:custDataLst>
    <p:extLst>
      <p:ext uri="{BB962C8B-B14F-4D97-AF65-F5344CB8AC3E}">
        <p14:creationId xmlns:p14="http://schemas.microsoft.com/office/powerpoint/2010/main" val="4153428933"/>
      </p:ext>
    </p:extLst>
  </p:cSld>
  <p:clrMapOvr>
    <a:masterClrMapping/>
  </p:clrMapOvr>
  <p:transition>
    <p:strips dir="rd"/>
  </p:transition>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auto">
          <a:xfrm>
            <a:off x="376238" y="0"/>
            <a:ext cx="12799220" cy="9167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300">
                <a:solidFill>
                  <a:schemeClr val="tx1"/>
                </a:solidFill>
              </a:rPr>
              <a:t>O estabelecimento de um </a:t>
            </a:r>
            <a:r>
              <a:rPr lang="pt-BR" altLang="pt-BR" sz="3300" i="1">
                <a:solidFill>
                  <a:schemeClr val="tx1"/>
                </a:solidFill>
              </a:rPr>
              <a:t>Project Office</a:t>
            </a:r>
            <a:r>
              <a:rPr lang="pt-BR" altLang="pt-BR" sz="3300">
                <a:solidFill>
                  <a:schemeClr val="tx1"/>
                </a:solidFill>
              </a:rPr>
              <a:t> tem dois </a:t>
            </a:r>
            <a:br>
              <a:rPr lang="pt-BR" altLang="pt-BR" sz="3300">
                <a:solidFill>
                  <a:schemeClr val="tx1"/>
                </a:solidFill>
              </a:rPr>
            </a:br>
            <a:r>
              <a:rPr lang="pt-BR" altLang="pt-BR" sz="3300">
                <a:solidFill>
                  <a:schemeClr val="tx1"/>
                </a:solidFill>
              </a:rPr>
              <a:t>componentes fundamentais: </a:t>
            </a:r>
            <a:endParaRPr lang="en-US" altLang="pt-BR" sz="3300">
              <a:solidFill>
                <a:schemeClr val="tx1"/>
              </a:solidFill>
            </a:endParaRPr>
          </a:p>
        </p:txBody>
      </p:sp>
      <p:grpSp>
        <p:nvGrpSpPr>
          <p:cNvPr id="38915" name="Group 3"/>
          <p:cNvGrpSpPr>
            <a:grpSpLocks/>
          </p:cNvGrpSpPr>
          <p:nvPr/>
        </p:nvGrpSpPr>
        <p:grpSpPr bwMode="auto">
          <a:xfrm>
            <a:off x="1240632" y="6438901"/>
            <a:ext cx="5941218" cy="2483645"/>
            <a:chOff x="521" y="2795"/>
            <a:chExt cx="2495" cy="1043"/>
          </a:xfrm>
        </p:grpSpPr>
        <p:sp>
          <p:nvSpPr>
            <p:cNvPr id="12" name="Rectangle 4"/>
            <p:cNvSpPr>
              <a:spLocks noChangeArrowheads="1"/>
            </p:cNvSpPr>
            <p:nvPr/>
          </p:nvSpPr>
          <p:spPr bwMode="auto">
            <a:xfrm>
              <a:off x="521" y="2795"/>
              <a:ext cx="2495" cy="1043"/>
            </a:xfrm>
            <a:prstGeom prst="rect">
              <a:avLst/>
            </a:prstGeom>
            <a:solidFill>
              <a:srgbClr val="C0C000"/>
            </a:solidFill>
            <a:ln w="12700">
              <a:solidFill>
                <a:srgbClr val="000000"/>
              </a:solidFill>
              <a:miter lim="800000"/>
              <a:headEnd/>
              <a:tailEnd/>
            </a:ln>
            <a:effectLst/>
          </p:spPr>
          <p:txBody>
            <a:bodyPr wrap="none" anchor="ctr"/>
            <a:lstStyle/>
            <a:p>
              <a:pPr algn="ctr" fontAlgn="auto">
                <a:spcBef>
                  <a:spcPts val="0"/>
                </a:spcBef>
                <a:spcAft>
                  <a:spcPts val="0"/>
                </a:spcAft>
                <a:defRPr/>
              </a:pPr>
              <a:r>
                <a:rPr lang="pt-BR" sz="3600" kern="0">
                  <a:solidFill>
                    <a:srgbClr val="000000"/>
                  </a:solidFill>
                  <a:effectLst>
                    <a:outerShdw blurRad="38100" dist="38100" dir="2700000" algn="tl">
                      <a:srgbClr val="FFFFFF"/>
                    </a:outerShdw>
                  </a:effectLst>
                  <a:latin typeface="Arial" charset="0"/>
                  <a:cs typeface="Times New Roman" pitchFamily="18" charset="0"/>
                </a:rPr>
                <a:t>             Vender o conceito </a:t>
              </a:r>
            </a:p>
            <a:p>
              <a:pPr algn="ctr" fontAlgn="auto">
                <a:spcBef>
                  <a:spcPts val="0"/>
                </a:spcBef>
                <a:spcAft>
                  <a:spcPts val="0"/>
                </a:spcAft>
                <a:defRPr/>
              </a:pPr>
              <a:r>
                <a:rPr lang="pt-BR" sz="3600" kern="0">
                  <a:solidFill>
                    <a:srgbClr val="000000"/>
                  </a:solidFill>
                  <a:effectLst>
                    <a:outerShdw blurRad="38100" dist="38100" dir="2700000" algn="tl">
                      <a:srgbClr val="FFFFFF"/>
                    </a:outerShdw>
                  </a:effectLst>
                  <a:latin typeface="Arial" charset="0"/>
                  <a:cs typeface="Times New Roman" pitchFamily="18" charset="0"/>
                </a:rPr>
                <a:t>para alta gerência</a:t>
              </a:r>
            </a:p>
            <a:p>
              <a:pPr algn="ctr" fontAlgn="auto">
                <a:spcBef>
                  <a:spcPts val="0"/>
                </a:spcBef>
                <a:spcAft>
                  <a:spcPts val="0"/>
                </a:spcAft>
                <a:defRPr/>
              </a:pPr>
              <a:r>
                <a:rPr lang="pt-BR" sz="3600" kern="0">
                  <a:solidFill>
                    <a:srgbClr val="000000"/>
                  </a:solidFill>
                  <a:effectLst>
                    <a:outerShdw blurRad="38100" dist="38100" dir="2700000" algn="tl">
                      <a:srgbClr val="FFFFFF"/>
                    </a:outerShdw>
                  </a:effectLst>
                  <a:latin typeface="Arial" charset="0"/>
                  <a:cs typeface="Times New Roman" pitchFamily="18" charset="0"/>
                </a:rPr>
                <a:t> e profissionais</a:t>
              </a:r>
            </a:p>
          </p:txBody>
        </p:sp>
        <p:sp>
          <p:nvSpPr>
            <p:cNvPr id="13" name="Oval 5"/>
            <p:cNvSpPr>
              <a:spLocks noChangeArrowheads="1"/>
            </p:cNvSpPr>
            <p:nvPr/>
          </p:nvSpPr>
          <p:spPr bwMode="auto">
            <a:xfrm>
              <a:off x="930" y="2931"/>
              <a:ext cx="272" cy="272"/>
            </a:xfrm>
            <a:prstGeom prst="ellipse">
              <a:avLst/>
            </a:prstGeom>
            <a:solidFill>
              <a:srgbClr val="FFFFFF"/>
            </a:solidFill>
            <a:ln w="12700">
              <a:solidFill>
                <a:srgbClr val="FFFFFF"/>
              </a:solidFill>
              <a:round/>
              <a:headEnd/>
              <a:tailEnd/>
            </a:ln>
          </p:spPr>
          <p:txBody>
            <a:bodyPr wrap="none" anchor="ctr"/>
            <a:lstStyle/>
            <a:p>
              <a:pPr algn="ctr" fontAlgn="auto">
                <a:spcBef>
                  <a:spcPts val="0"/>
                </a:spcBef>
                <a:spcAft>
                  <a:spcPts val="0"/>
                </a:spcAft>
                <a:defRPr/>
              </a:pPr>
              <a:r>
                <a:rPr lang="pt-BR" sz="3600" kern="0">
                  <a:solidFill>
                    <a:srgbClr val="000000"/>
                  </a:solidFill>
                  <a:latin typeface="Arial" charset="0"/>
                  <a:cs typeface="Times New Roman" pitchFamily="18" charset="0"/>
                </a:rPr>
                <a:t>1</a:t>
              </a:r>
            </a:p>
          </p:txBody>
        </p:sp>
      </p:grpSp>
      <p:sp>
        <p:nvSpPr>
          <p:cNvPr id="14" name="Rectangle 6"/>
          <p:cNvSpPr>
            <a:spLocks noChangeArrowheads="1"/>
          </p:cNvSpPr>
          <p:nvPr/>
        </p:nvSpPr>
        <p:spPr bwMode="auto">
          <a:xfrm>
            <a:off x="7722395" y="3848101"/>
            <a:ext cx="5076825" cy="2052638"/>
          </a:xfrm>
          <a:prstGeom prst="rect">
            <a:avLst/>
          </a:prstGeom>
          <a:solidFill>
            <a:srgbClr val="C0C000"/>
          </a:solidFill>
          <a:ln w="12700">
            <a:solidFill>
              <a:srgbClr val="000000"/>
            </a:solidFill>
            <a:miter lim="800000"/>
            <a:headEnd/>
            <a:tailEnd/>
          </a:ln>
          <a:effectLst/>
        </p:spPr>
        <p:txBody>
          <a:bodyPr wrap="none" lIns="136145" tIns="68058" rIns="136145" bIns="68058" anchor="ctr"/>
          <a:lstStyle/>
          <a:p>
            <a:pPr fontAlgn="auto">
              <a:spcBef>
                <a:spcPts val="0"/>
              </a:spcBef>
              <a:spcAft>
                <a:spcPts val="0"/>
              </a:spcAft>
              <a:defRPr/>
            </a:pPr>
            <a:r>
              <a:rPr lang="pt-BR" sz="3600" kern="0">
                <a:solidFill>
                  <a:srgbClr val="000000"/>
                </a:solidFill>
                <a:latin typeface="Arial" charset="0"/>
                <a:cs typeface="Times New Roman" pitchFamily="18" charset="0"/>
              </a:rPr>
              <a:t>             </a:t>
            </a:r>
            <a:r>
              <a:rPr lang="pt-BR" sz="3600" kern="0">
                <a:solidFill>
                  <a:srgbClr val="FFFFFF"/>
                </a:solidFill>
                <a:latin typeface="Arial" charset="0"/>
                <a:cs typeface="Times New Roman" pitchFamily="18" charset="0"/>
              </a:rPr>
              <a:t> </a:t>
            </a:r>
            <a:r>
              <a:rPr lang="pt-BR" sz="3600" kern="0">
                <a:solidFill>
                  <a:srgbClr val="000000"/>
                </a:solidFill>
                <a:effectLst>
                  <a:outerShdw blurRad="38100" dist="38100" dir="2700000" algn="tl">
                    <a:srgbClr val="FFFFFF"/>
                  </a:outerShdw>
                </a:effectLst>
                <a:latin typeface="Arial" charset="0"/>
                <a:cs typeface="Times New Roman" pitchFamily="18" charset="0"/>
              </a:rPr>
              <a:t>De fato criar</a:t>
            </a:r>
          </a:p>
          <a:p>
            <a:pPr fontAlgn="auto">
              <a:spcBef>
                <a:spcPts val="0"/>
              </a:spcBef>
              <a:spcAft>
                <a:spcPts val="0"/>
              </a:spcAft>
              <a:defRPr/>
            </a:pPr>
            <a:r>
              <a:rPr lang="pt-BR" sz="3600" kern="0">
                <a:solidFill>
                  <a:srgbClr val="000000"/>
                </a:solidFill>
                <a:effectLst>
                  <a:outerShdw blurRad="38100" dist="38100" dir="2700000" algn="tl">
                    <a:srgbClr val="FFFFFF"/>
                  </a:outerShdw>
                </a:effectLst>
                <a:latin typeface="Arial" charset="0"/>
                <a:cs typeface="Times New Roman" pitchFamily="18" charset="0"/>
              </a:rPr>
              <a:t> um </a:t>
            </a:r>
            <a:r>
              <a:rPr lang="pt-BR" sz="3600" i="1" kern="0">
                <a:solidFill>
                  <a:srgbClr val="000000"/>
                </a:solidFill>
                <a:effectLst>
                  <a:outerShdw blurRad="38100" dist="38100" dir="2700000" algn="tl">
                    <a:srgbClr val="FFFFFF"/>
                  </a:outerShdw>
                </a:effectLst>
                <a:latin typeface="Arial" charset="0"/>
                <a:cs typeface="Times New Roman" pitchFamily="18" charset="0"/>
              </a:rPr>
              <a:t>Project Office</a:t>
            </a:r>
            <a:endParaRPr lang="pt-BR" sz="3600" kern="0">
              <a:solidFill>
                <a:srgbClr val="000000"/>
              </a:solidFill>
              <a:latin typeface="Arial" charset="0"/>
              <a:cs typeface="Times New Roman" pitchFamily="18" charset="0"/>
            </a:endParaRPr>
          </a:p>
        </p:txBody>
      </p:sp>
      <p:sp>
        <p:nvSpPr>
          <p:cNvPr id="15" name="Oval 7"/>
          <p:cNvSpPr>
            <a:spLocks noChangeArrowheads="1"/>
          </p:cNvSpPr>
          <p:nvPr/>
        </p:nvSpPr>
        <p:spPr bwMode="auto">
          <a:xfrm>
            <a:off x="8910638" y="4281488"/>
            <a:ext cx="647700" cy="647700"/>
          </a:xfrm>
          <a:prstGeom prst="ellipse">
            <a:avLst/>
          </a:prstGeom>
          <a:solidFill>
            <a:srgbClr val="FFFFFF"/>
          </a:solidFill>
          <a:ln w="12700">
            <a:solidFill>
              <a:srgbClr val="FFFFFF"/>
            </a:solidFill>
            <a:round/>
            <a:headEnd/>
            <a:tailEnd/>
          </a:ln>
        </p:spPr>
        <p:txBody>
          <a:bodyPr wrap="none" lIns="136145" tIns="68058" rIns="136145" bIns="68058" anchor="ctr"/>
          <a:lstStyle/>
          <a:p>
            <a:pPr algn="ctr" fontAlgn="auto">
              <a:spcBef>
                <a:spcPts val="0"/>
              </a:spcBef>
              <a:spcAft>
                <a:spcPts val="0"/>
              </a:spcAft>
              <a:defRPr/>
            </a:pPr>
            <a:r>
              <a:rPr lang="pt-BR" sz="3600" kern="0">
                <a:solidFill>
                  <a:srgbClr val="000000"/>
                </a:solidFill>
                <a:latin typeface="Arial" charset="0"/>
                <a:cs typeface="Times New Roman" pitchFamily="18" charset="0"/>
              </a:rPr>
              <a:t>2</a:t>
            </a:r>
          </a:p>
        </p:txBody>
      </p:sp>
      <p:sp>
        <p:nvSpPr>
          <p:cNvPr id="16" name="AutoShape 8"/>
          <p:cNvSpPr>
            <a:spLocks noChangeArrowheads="1"/>
          </p:cNvSpPr>
          <p:nvPr/>
        </p:nvSpPr>
        <p:spPr bwMode="auto">
          <a:xfrm>
            <a:off x="4914900" y="4281488"/>
            <a:ext cx="2266950" cy="19431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FFFFCC"/>
          </a:solidFill>
          <a:ln w="12700">
            <a:solidFill>
              <a:srgbClr val="FF0000"/>
            </a:solidFill>
            <a:miter lim="800000"/>
            <a:headEnd/>
            <a:tailEnd/>
          </a:ln>
        </p:spPr>
        <p:txBody>
          <a:bodyPr wrap="none" lIns="136145" tIns="68058" rIns="136145" bIns="68058" anchor="ctr"/>
          <a:lstStyle/>
          <a:p>
            <a:pPr algn="ctr" fontAlgn="auto">
              <a:spcBef>
                <a:spcPts val="0"/>
              </a:spcBef>
              <a:spcAft>
                <a:spcPts val="0"/>
              </a:spcAft>
              <a:defRPr/>
            </a:pPr>
            <a:endParaRPr lang="pt-BR" i="1" kern="0">
              <a:solidFill>
                <a:srgbClr val="000000"/>
              </a:solidFill>
              <a:latin typeface="Arial" charset="0"/>
            </a:endParaRPr>
          </a:p>
        </p:txBody>
      </p:sp>
      <p:pic>
        <p:nvPicPr>
          <p:cNvPr id="38919" name="Picture 13" descr="http://t0.gstatic.com/images?q=tbn:ANd9GcRuz3XQnT4vJAoLRn5U9Jd4wcFcW1d3xZKJ-KyHLuln74Gul6a_A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726" y="1247775"/>
            <a:ext cx="3271838"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746554199"/>
      </p:ext>
    </p:extLst>
  </p:cSld>
  <p:clrMapOvr>
    <a:masterClrMapping/>
  </p:clrMapOvr>
  <p:transition>
    <p:strips dir="rd"/>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bwMode="auto">
          <a:xfrm>
            <a:off x="1674020" y="240507"/>
            <a:ext cx="10703718"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en-US" altLang="pt-BR">
                <a:solidFill>
                  <a:schemeClr val="tx1"/>
                </a:solidFill>
              </a:rPr>
              <a:t>Vendendo o Conceito</a:t>
            </a:r>
          </a:p>
        </p:txBody>
      </p:sp>
      <p:sp>
        <p:nvSpPr>
          <p:cNvPr id="39939" name="Rectangle 3"/>
          <p:cNvSpPr>
            <a:spLocks noGrp="1" noChangeArrowheads="1"/>
          </p:cNvSpPr>
          <p:nvPr>
            <p:ph type="body" idx="4294967295"/>
          </p:nvPr>
        </p:nvSpPr>
        <p:spPr>
          <a:xfrm>
            <a:off x="0" y="1795463"/>
            <a:ext cx="12762656" cy="6788945"/>
          </a:xfrm>
          <a:prstGeom prst="rect">
            <a:avLst/>
          </a:prstGeom>
          <a:noFill/>
        </p:spPr>
        <p:txBody>
          <a:bodyPr/>
          <a:lstStyle/>
          <a:p>
            <a:pPr algn="just">
              <a:buFont typeface="Monotype Sorts" pitchFamily="2" charset="2"/>
              <a:buNone/>
            </a:pPr>
            <a:r>
              <a:rPr lang="pt-BR" altLang="pt-BR" b="1" dirty="0">
                <a:solidFill>
                  <a:srgbClr val="FF0000"/>
                </a:solidFill>
              </a:rPr>
              <a:t>Para alta gerência</a:t>
            </a:r>
            <a:endParaRPr lang="pt-BR" altLang="pt-BR" sz="3000" b="1" dirty="0">
              <a:solidFill>
                <a:srgbClr val="FF0000"/>
              </a:solidFill>
            </a:endParaRPr>
          </a:p>
          <a:p>
            <a:r>
              <a:rPr lang="pt-BR" altLang="pt-BR" sz="3000" dirty="0"/>
              <a:t> </a:t>
            </a:r>
            <a:r>
              <a:rPr lang="pt-BR" altLang="pt-BR" sz="4200" dirty="0"/>
              <a:t>Convencê-los de que um </a:t>
            </a:r>
            <a:r>
              <a:rPr lang="pt-BR" altLang="pt-BR" sz="4200" i="1" dirty="0"/>
              <a:t>Project Office</a:t>
            </a:r>
            <a:r>
              <a:rPr lang="pt-BR" altLang="pt-BR" sz="4200" dirty="0"/>
              <a:t> pode contribuir para o melhoria dos resultados organizacionais em imagem e resultados; </a:t>
            </a:r>
          </a:p>
          <a:p>
            <a:r>
              <a:rPr lang="pt-BR" altLang="pt-BR" sz="4200" dirty="0"/>
              <a:t>Fundamentar bem as necessidades de implementação;</a:t>
            </a:r>
          </a:p>
          <a:p>
            <a:r>
              <a:rPr lang="pt-BR" altLang="pt-BR" sz="4200" dirty="0"/>
              <a:t>Definir adequadamente a estratégia de implementação.</a:t>
            </a:r>
          </a:p>
          <a:p>
            <a:pPr>
              <a:buFont typeface="Monotype Sorts" pitchFamily="2" charset="2"/>
              <a:buNone/>
            </a:pPr>
            <a:endParaRPr lang="en-US" altLang="pt-BR" sz="4200" dirty="0"/>
          </a:p>
        </p:txBody>
      </p:sp>
      <p:pic>
        <p:nvPicPr>
          <p:cNvPr id="39940" name="Picture 4" descr="contra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5363" y="6691313"/>
            <a:ext cx="3781425" cy="250745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75419375"/>
      </p:ext>
    </p:extLst>
  </p:cSld>
  <p:clrMapOvr>
    <a:masterClrMapping/>
  </p:clrMapOvr>
  <p:transition spd="slow">
    <p:strips dir="rd"/>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376238" y="2443163"/>
            <a:ext cx="12853988" cy="1984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kumimoji="1" lang="pt-BR" altLang="pt-BR" sz="3000">
                <a:solidFill>
                  <a:srgbClr val="292929"/>
                </a:solidFill>
                <a:latin typeface="Calibri" panose="020F0502020204030204" pitchFamily="34" charset="0"/>
              </a:rPr>
              <a:t>Quanto custará para estabelecer um PMO?</a:t>
            </a:r>
          </a:p>
          <a:p>
            <a:pPr eaLnBrk="1" hangingPunct="1">
              <a:spcBef>
                <a:spcPct val="0"/>
              </a:spcBef>
              <a:buFontTx/>
              <a:buNone/>
            </a:pPr>
            <a:r>
              <a:rPr kumimoji="1" lang="pt-BR" altLang="pt-BR" sz="3000">
                <a:solidFill>
                  <a:srgbClr val="292929"/>
                </a:solidFill>
                <a:latin typeface="Calibri" panose="020F0502020204030204" pitchFamily="34" charset="0"/>
              </a:rPr>
              <a:t>Quanto custará para mantê-lo funcionando no dia-a-dia?</a:t>
            </a:r>
          </a:p>
          <a:p>
            <a:pPr eaLnBrk="1" hangingPunct="1">
              <a:spcBef>
                <a:spcPct val="0"/>
              </a:spcBef>
              <a:buFontTx/>
              <a:buNone/>
            </a:pPr>
            <a:r>
              <a:rPr kumimoji="1" lang="pt-BR" altLang="pt-BR" sz="3000">
                <a:solidFill>
                  <a:srgbClr val="292929"/>
                </a:solidFill>
                <a:latin typeface="Calibri" panose="020F0502020204030204" pitchFamily="34" charset="0"/>
              </a:rPr>
              <a:t>Como irá um PMO permitir que a empresa atinja suas metas mais efetivamente?</a:t>
            </a:r>
          </a:p>
          <a:p>
            <a:pPr eaLnBrk="1" hangingPunct="1">
              <a:spcBef>
                <a:spcPct val="0"/>
              </a:spcBef>
              <a:buFontTx/>
              <a:buNone/>
            </a:pPr>
            <a:r>
              <a:rPr kumimoji="1" lang="pt-BR" altLang="pt-BR" sz="3000">
                <a:solidFill>
                  <a:srgbClr val="292929"/>
                </a:solidFill>
                <a:latin typeface="Calibri" panose="020F0502020204030204" pitchFamily="34" charset="0"/>
              </a:rPr>
              <a:t>Como a existência de um PMO pode aumentar meus lucros e resultados?</a:t>
            </a:r>
            <a:endParaRPr kumimoji="1" lang="en-US" altLang="pt-BR" sz="3000">
              <a:solidFill>
                <a:srgbClr val="292929"/>
              </a:solidFill>
              <a:latin typeface="Calibri" panose="020F0502020204030204" pitchFamily="34" charset="0"/>
            </a:endParaRPr>
          </a:p>
        </p:txBody>
      </p:sp>
      <p:sp>
        <p:nvSpPr>
          <p:cNvPr id="473091" name="Rectangle 3"/>
          <p:cNvSpPr>
            <a:spLocks noChangeArrowheads="1"/>
          </p:cNvSpPr>
          <p:nvPr/>
        </p:nvSpPr>
        <p:spPr bwMode="auto">
          <a:xfrm>
            <a:off x="571501" y="1714501"/>
            <a:ext cx="5651549" cy="599110"/>
          </a:xfrm>
          <a:prstGeom prst="rect">
            <a:avLst/>
          </a:prstGeom>
          <a:noFill/>
          <a:ln>
            <a:noFill/>
          </a:ln>
          <a:effectLst/>
        </p:spPr>
        <p:txBody>
          <a:bodyPr wrap="none" lIns="136145" tIns="68058" rIns="136145" bIns="68058">
            <a:spAutoFit/>
          </a:bodyPr>
          <a:lstStyle/>
          <a:p>
            <a:pPr eaLnBrk="1" hangingPunct="1">
              <a:defRPr/>
            </a:pPr>
            <a:r>
              <a:rPr lang="en-US" sz="3000" dirty="0" err="1">
                <a:solidFill>
                  <a:srgbClr val="800000"/>
                </a:solidFill>
                <a:effectLst>
                  <a:outerShdw blurRad="38100" dist="38100" dir="2700000" algn="tl">
                    <a:srgbClr val="C0C0C0"/>
                  </a:outerShdw>
                </a:effectLst>
                <a:latin typeface="Calibri" panose="020F0502020204030204" pitchFamily="34" charset="0"/>
              </a:rPr>
              <a:t>Perguntas</a:t>
            </a:r>
            <a:r>
              <a:rPr lang="en-US" sz="3000" dirty="0">
                <a:solidFill>
                  <a:srgbClr val="800000"/>
                </a:solidFill>
                <a:effectLst>
                  <a:outerShdw blurRad="38100" dist="38100" dir="2700000" algn="tl">
                    <a:srgbClr val="C0C0C0"/>
                  </a:outerShdw>
                </a:effectLst>
                <a:latin typeface="Calibri" panose="020F0502020204030204" pitchFamily="34" charset="0"/>
              </a:rPr>
              <a:t> que a </a:t>
            </a:r>
            <a:r>
              <a:rPr lang="en-US" sz="3000" dirty="0" err="1">
                <a:solidFill>
                  <a:srgbClr val="800000"/>
                </a:solidFill>
                <a:effectLst>
                  <a:outerShdw blurRad="38100" dist="38100" dir="2700000" algn="tl">
                    <a:srgbClr val="C0C0C0"/>
                  </a:outerShdw>
                </a:effectLst>
                <a:latin typeface="Calibri" panose="020F0502020204030204" pitchFamily="34" charset="0"/>
              </a:rPr>
              <a:t>alt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gerênci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fará</a:t>
            </a:r>
            <a:r>
              <a:rPr lang="en-US" sz="3000" dirty="0">
                <a:solidFill>
                  <a:srgbClr val="800000"/>
                </a:solidFill>
                <a:effectLst>
                  <a:outerShdw blurRad="38100" dist="38100" dir="2700000" algn="tl">
                    <a:srgbClr val="C0C0C0"/>
                  </a:outerShdw>
                </a:effectLst>
                <a:latin typeface="Calibri" panose="020F0502020204030204" pitchFamily="34" charset="0"/>
              </a:rPr>
              <a:t>:</a:t>
            </a:r>
            <a:endParaRPr lang="pt-BR" sz="3000" dirty="0">
              <a:solidFill>
                <a:srgbClr val="800000"/>
              </a:solidFill>
              <a:effectLst>
                <a:outerShdw blurRad="38100" dist="38100" dir="2700000" algn="tl">
                  <a:srgbClr val="C0C0C0"/>
                </a:outerShdw>
              </a:effectLst>
              <a:latin typeface="Calibri" panose="020F0502020204030204" pitchFamily="34" charset="0"/>
            </a:endParaRPr>
          </a:p>
        </p:txBody>
      </p:sp>
      <p:sp>
        <p:nvSpPr>
          <p:cNvPr id="473092" name="Rectangle 4"/>
          <p:cNvSpPr>
            <a:spLocks noChangeArrowheads="1"/>
          </p:cNvSpPr>
          <p:nvPr/>
        </p:nvSpPr>
        <p:spPr bwMode="auto">
          <a:xfrm>
            <a:off x="376238" y="5467351"/>
            <a:ext cx="12908757" cy="3830764"/>
          </a:xfrm>
          <a:prstGeom prst="rect">
            <a:avLst/>
          </a:prstGeom>
          <a:noFill/>
          <a:ln>
            <a:noFill/>
          </a:ln>
          <a:effectLst/>
        </p:spPr>
        <p:txBody>
          <a:bodyPr lIns="136145" tIns="68058" rIns="136145" bIns="68058">
            <a:spAutoFit/>
          </a:bodyPr>
          <a:lstStyle/>
          <a:p>
            <a:pPr eaLnBrk="1" hangingPunct="1">
              <a:defRPr/>
            </a:pPr>
            <a:r>
              <a:rPr lang="pt-BR" sz="3000" dirty="0">
                <a:solidFill>
                  <a:srgbClr val="800000"/>
                </a:solidFill>
                <a:effectLst>
                  <a:outerShdw blurRad="38100" dist="38100" dir="2700000" algn="tl">
                    <a:srgbClr val="C0C0C0"/>
                  </a:outerShdw>
                </a:effectLst>
                <a:latin typeface="Calibri" panose="020F0502020204030204" pitchFamily="34" charset="0"/>
              </a:rPr>
              <a:t> Perguntas que os gerentes de projetos da empresa farão:</a:t>
            </a:r>
          </a:p>
          <a:p>
            <a:pPr eaLnBrk="1" hangingPunct="1">
              <a:defRPr/>
            </a:pPr>
            <a:endParaRPr lang="pt-BR" sz="3000" dirty="0">
              <a:solidFill>
                <a:schemeClr val="accent2"/>
              </a:solidFill>
              <a:latin typeface="Calibri" panose="020F0502020204030204" pitchFamily="34" charset="0"/>
            </a:endParaRPr>
          </a:p>
          <a:p>
            <a:pPr eaLnBrk="1" hangingPunct="1">
              <a:defRPr/>
            </a:pPr>
            <a:r>
              <a:rPr kumimoji="1" lang="pt-BR" sz="3000" dirty="0">
                <a:solidFill>
                  <a:srgbClr val="292929"/>
                </a:solidFill>
                <a:latin typeface="Calibri" panose="020F0502020204030204" pitchFamily="34" charset="0"/>
              </a:rPr>
              <a:t>Quanto de burocracia vem pela frente?</a:t>
            </a:r>
          </a:p>
          <a:p>
            <a:pPr eaLnBrk="1" hangingPunct="1">
              <a:defRPr/>
            </a:pPr>
            <a:r>
              <a:rPr kumimoji="1" lang="pt-BR" sz="3000" dirty="0">
                <a:solidFill>
                  <a:srgbClr val="292929"/>
                </a:solidFill>
                <a:latin typeface="Calibri" panose="020F0502020204030204" pitchFamily="34" charset="0"/>
              </a:rPr>
              <a:t>Será que isto vai aumentar o prazo dos meus projetos?</a:t>
            </a:r>
          </a:p>
          <a:p>
            <a:pPr eaLnBrk="1" hangingPunct="1">
              <a:defRPr/>
            </a:pPr>
            <a:r>
              <a:rPr kumimoji="1" lang="pt-BR" sz="3000" dirty="0">
                <a:solidFill>
                  <a:srgbClr val="292929"/>
                </a:solidFill>
                <a:latin typeface="Calibri" panose="020F0502020204030204" pitchFamily="34" charset="0"/>
              </a:rPr>
              <a:t>Será que isto vai gerar mais custos para os meus projetos?</a:t>
            </a:r>
          </a:p>
          <a:p>
            <a:pPr eaLnBrk="1" hangingPunct="1">
              <a:defRPr/>
            </a:pPr>
            <a:r>
              <a:rPr kumimoji="1" lang="pt-BR" sz="3000" dirty="0">
                <a:solidFill>
                  <a:srgbClr val="292929"/>
                </a:solidFill>
                <a:latin typeface="Calibri" panose="020F0502020204030204" pitchFamily="34" charset="0"/>
              </a:rPr>
              <a:t>O que mudará na minha vida daqui para frente?</a:t>
            </a:r>
          </a:p>
          <a:p>
            <a:pPr eaLnBrk="1" hangingPunct="1">
              <a:defRPr/>
            </a:pPr>
            <a:r>
              <a:rPr kumimoji="1" lang="pt-BR" sz="3000" dirty="0">
                <a:solidFill>
                  <a:srgbClr val="292929"/>
                </a:solidFill>
                <a:latin typeface="Calibri" panose="020F0502020204030204" pitchFamily="34" charset="0"/>
              </a:rPr>
              <a:t>Será que terei menos liberdade que eu tenho hoje? </a:t>
            </a:r>
          </a:p>
          <a:p>
            <a:pPr eaLnBrk="1" hangingPunct="1">
              <a:defRPr/>
            </a:pPr>
            <a:r>
              <a:rPr kumimoji="1" lang="pt-BR" sz="3000" dirty="0">
                <a:solidFill>
                  <a:srgbClr val="292929"/>
                </a:solidFill>
                <a:latin typeface="Calibri" panose="020F0502020204030204" pitchFamily="34" charset="0"/>
              </a:rPr>
              <a:t>Isto não é somente mais uma nova “onda”...</a:t>
            </a:r>
          </a:p>
        </p:txBody>
      </p:sp>
      <p:sp>
        <p:nvSpPr>
          <p:cNvPr id="40965" name="Rectangle 6"/>
          <p:cNvSpPr>
            <a:spLocks noChangeArrowheads="1"/>
          </p:cNvSpPr>
          <p:nvPr/>
        </p:nvSpPr>
        <p:spPr bwMode="auto">
          <a:xfrm>
            <a:off x="809626" y="0"/>
            <a:ext cx="1070372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4200">
                <a:solidFill>
                  <a:schemeClr val="tx1"/>
                </a:solidFill>
                <a:latin typeface="Calibri" panose="020F0502020204030204" pitchFamily="34" charset="0"/>
              </a:rPr>
              <a:t>Vendendo o Conceito</a:t>
            </a:r>
          </a:p>
        </p:txBody>
      </p:sp>
      <p:pic>
        <p:nvPicPr>
          <p:cNvPr id="40966" name="Imagem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617489" y="6749866"/>
            <a:ext cx="3388152" cy="2525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7" name="CaixaDeTexto 2"/>
          <p:cNvSpPr txBox="1">
            <a:spLocks noChangeArrowheads="1"/>
          </p:cNvSpPr>
          <p:nvPr/>
        </p:nvSpPr>
        <p:spPr bwMode="auto">
          <a:xfrm>
            <a:off x="10918948" y="9032495"/>
            <a:ext cx="1120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200" dirty="0">
                <a:solidFill>
                  <a:schemeClr val="tx1"/>
                </a:solidFill>
                <a:latin typeface="Arial" panose="020B0604020202020204" pitchFamily="34" charset="0"/>
              </a:rPr>
              <a:t>Comunicação</a:t>
            </a:r>
          </a:p>
        </p:txBody>
      </p:sp>
      <p:sp>
        <p:nvSpPr>
          <p:cNvPr id="4" name="Seta para Cima 3"/>
          <p:cNvSpPr/>
          <p:nvPr/>
        </p:nvSpPr>
        <p:spPr bwMode="auto">
          <a:xfrm>
            <a:off x="10890448" y="8743900"/>
            <a:ext cx="214313" cy="266700"/>
          </a:xfrm>
          <a:prstGeom prst="upArrow">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a:lstStyle/>
          <a:p>
            <a:pPr>
              <a:defRPr/>
            </a:pPr>
            <a:endParaRPr lang="pt-BR" sz="1500">
              <a:latin typeface="Helvetica" charset="0"/>
            </a:endParaRPr>
          </a:p>
        </p:txBody>
      </p:sp>
    </p:spTree>
    <p:custDataLst>
      <p:tags r:id="rId1"/>
    </p:custDataLst>
    <p:extLst>
      <p:ext uri="{BB962C8B-B14F-4D97-AF65-F5344CB8AC3E}">
        <p14:creationId xmlns:p14="http://schemas.microsoft.com/office/powerpoint/2010/main" val="2103954749"/>
      </p:ext>
    </p:extLst>
  </p:cSld>
  <p:clrMapOvr>
    <a:masterClrMapping/>
  </p:clrMapOvr>
  <p:transition>
    <p:strips dir="rd"/>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ChangeArrowheads="1"/>
          </p:cNvSpPr>
          <p:nvPr/>
        </p:nvSpPr>
        <p:spPr bwMode="auto">
          <a:xfrm>
            <a:off x="376238" y="2445545"/>
            <a:ext cx="13339763" cy="7062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ntos projetos implementamos por ano em média?</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ntos atrasaram? Quanto tempo? Por quais motivos?</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ntos custaram mais do que tinham sido planejados? Por que custaram mais? Quantos custaram menos?</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ntos clientes ficaram insatisfeitos com o resultado do projeto? Por que ficaram insatisfeitos? </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Houve necessidade de retrabalhos em alguns projetos? Qual motivo?</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ntos projetos realmente trouxeram os benefícios que se propuseram? Quantos não trouxeram?</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Qual o tamanho a duração media de um projeto? Em nossa organização, quanto tempo levamos para nos planejar? Isto é bom?</a:t>
            </a:r>
          </a:p>
          <a:p>
            <a:pPr lvl="1" eaLnBrk="1" hangingPunct="1">
              <a:spcBef>
                <a:spcPct val="0"/>
              </a:spcBef>
              <a:buClr>
                <a:srgbClr val="CD5032"/>
              </a:buClr>
              <a:buFont typeface="Wingdings" panose="05000000000000000000" pitchFamily="2" charset="2"/>
              <a:buChar char="Ø"/>
            </a:pPr>
            <a:r>
              <a:rPr kumimoji="1" lang="pt-BR" altLang="pt-BR" sz="3000">
                <a:solidFill>
                  <a:srgbClr val="292929"/>
                </a:solidFill>
                <a:latin typeface="Calibri" panose="020F0502020204030204" pitchFamily="34" charset="0"/>
              </a:rPr>
              <a:t>Como está o nível de satisfação dos GP’s e recursos que trabalham em projetos, o que almejam e desejam?</a:t>
            </a:r>
          </a:p>
          <a:p>
            <a:pPr eaLnBrk="1" hangingPunct="1">
              <a:spcBef>
                <a:spcPct val="0"/>
              </a:spcBef>
              <a:buFontTx/>
              <a:buNone/>
            </a:pPr>
            <a:endParaRPr kumimoji="1" lang="pt-BR" altLang="pt-BR" sz="3000">
              <a:solidFill>
                <a:srgbClr val="292929"/>
              </a:solidFill>
              <a:latin typeface="Calibri" panose="020F0502020204030204" pitchFamily="34" charset="0"/>
            </a:endParaRPr>
          </a:p>
          <a:p>
            <a:pPr eaLnBrk="1" hangingPunct="1">
              <a:spcBef>
                <a:spcPct val="0"/>
              </a:spcBef>
              <a:buFontTx/>
              <a:buNone/>
            </a:pPr>
            <a:endParaRPr lang="en-US" altLang="pt-BR" sz="3000">
              <a:solidFill>
                <a:schemeClr val="accent2"/>
              </a:solidFill>
              <a:latin typeface="Calibri" panose="020F0502020204030204" pitchFamily="34" charset="0"/>
            </a:endParaRPr>
          </a:p>
        </p:txBody>
      </p:sp>
      <p:sp>
        <p:nvSpPr>
          <p:cNvPr id="471044" name="Rectangle 4"/>
          <p:cNvSpPr>
            <a:spLocks noChangeArrowheads="1"/>
          </p:cNvSpPr>
          <p:nvPr/>
        </p:nvSpPr>
        <p:spPr bwMode="auto">
          <a:xfrm>
            <a:off x="376238" y="1688308"/>
            <a:ext cx="10546287" cy="599110"/>
          </a:xfrm>
          <a:prstGeom prst="rect">
            <a:avLst/>
          </a:prstGeom>
          <a:noFill/>
          <a:ln>
            <a:noFill/>
          </a:ln>
          <a:effectLst/>
        </p:spPr>
        <p:txBody>
          <a:bodyPr wrap="none" lIns="136145" tIns="68058" rIns="136145" bIns="68058">
            <a:spAutoFit/>
          </a:bodyPr>
          <a:lstStyle/>
          <a:p>
            <a:pPr>
              <a:defRPr/>
            </a:pPr>
            <a:r>
              <a:rPr lang="en-US" sz="3000" dirty="0">
                <a:solidFill>
                  <a:srgbClr val="800000"/>
                </a:solidFill>
                <a:effectLst>
                  <a:outerShdw blurRad="38100" dist="38100" dir="2700000" algn="tl">
                    <a:srgbClr val="C0C0C0"/>
                  </a:outerShdw>
                </a:effectLst>
                <a:latin typeface="Calibri" panose="020F0502020204030204" pitchFamily="34" charset="0"/>
              </a:rPr>
              <a:t>Antes de </a:t>
            </a:r>
            <a:r>
              <a:rPr lang="en-US" sz="3000" dirty="0" err="1">
                <a:solidFill>
                  <a:srgbClr val="800000"/>
                </a:solidFill>
                <a:effectLst>
                  <a:outerShdw blurRad="38100" dist="38100" dir="2700000" algn="tl">
                    <a:srgbClr val="C0C0C0"/>
                  </a:outerShdw>
                </a:effectLst>
                <a:latin typeface="Calibri" panose="020F0502020204030204" pitchFamily="34" charset="0"/>
              </a:rPr>
              <a:t>mais</a:t>
            </a:r>
            <a:r>
              <a:rPr lang="en-US" sz="3000" dirty="0">
                <a:solidFill>
                  <a:srgbClr val="800000"/>
                </a:solidFill>
                <a:effectLst>
                  <a:outerShdw blurRad="38100" dist="38100" dir="2700000" algn="tl">
                    <a:srgbClr val="C0C0C0"/>
                  </a:outerShdw>
                </a:effectLst>
                <a:latin typeface="Calibri" panose="020F0502020204030204" pitchFamily="34" charset="0"/>
              </a:rPr>
              <a:t> nada, prepare-se! Tire </a:t>
            </a:r>
            <a:r>
              <a:rPr lang="en-US" sz="3000" dirty="0" err="1">
                <a:solidFill>
                  <a:srgbClr val="800000"/>
                </a:solidFill>
                <a:effectLst>
                  <a:outerShdw blurRad="38100" dist="38100" dir="2700000" algn="tl">
                    <a:srgbClr val="C0C0C0"/>
                  </a:outerShdw>
                </a:effectLst>
                <a:latin typeface="Calibri" panose="020F0502020204030204" pitchFamily="34" charset="0"/>
              </a:rPr>
              <a:t>um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foto</a:t>
            </a:r>
            <a:r>
              <a:rPr lang="en-US" sz="3000" dirty="0">
                <a:solidFill>
                  <a:srgbClr val="800000"/>
                </a:solidFill>
                <a:effectLst>
                  <a:outerShdw blurRad="38100" dist="38100" dir="2700000" algn="tl">
                    <a:srgbClr val="C0C0C0"/>
                  </a:outerShdw>
                </a:effectLst>
                <a:latin typeface="Calibri" panose="020F0502020204030204" pitchFamily="34" charset="0"/>
              </a:rPr>
              <a:t> dos </a:t>
            </a:r>
            <a:r>
              <a:rPr lang="en-US" sz="3000" dirty="0" err="1">
                <a:solidFill>
                  <a:srgbClr val="800000"/>
                </a:solidFill>
                <a:effectLst>
                  <a:outerShdw blurRad="38100" dist="38100" dir="2700000" algn="tl">
                    <a:srgbClr val="C0C0C0"/>
                  </a:outerShdw>
                </a:effectLst>
                <a:latin typeface="Calibri" panose="020F0502020204030204" pitchFamily="34" charset="0"/>
              </a:rPr>
              <a:t>projetos</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atuais</a:t>
            </a:r>
            <a:endParaRPr lang="pt-BR" sz="3000" dirty="0">
              <a:solidFill>
                <a:srgbClr val="800000"/>
              </a:solidFill>
              <a:effectLst>
                <a:outerShdw blurRad="38100" dist="38100" dir="2700000" algn="tl">
                  <a:srgbClr val="C0C0C0"/>
                </a:outerShdw>
              </a:effectLst>
              <a:latin typeface="Calibri" panose="020F0502020204030204" pitchFamily="34" charset="0"/>
            </a:endParaRPr>
          </a:p>
        </p:txBody>
      </p:sp>
      <p:sp>
        <p:nvSpPr>
          <p:cNvPr id="471045" name="Rectangle 5"/>
          <p:cNvSpPr>
            <a:spLocks noChangeArrowheads="1"/>
          </p:cNvSpPr>
          <p:nvPr/>
        </p:nvSpPr>
        <p:spPr bwMode="auto">
          <a:xfrm>
            <a:off x="376238" y="8746333"/>
            <a:ext cx="13716000" cy="1060775"/>
          </a:xfrm>
          <a:prstGeom prst="rect">
            <a:avLst/>
          </a:prstGeom>
          <a:noFill/>
          <a:ln>
            <a:noFill/>
          </a:ln>
          <a:effectLst/>
        </p:spPr>
        <p:txBody>
          <a:bodyPr lIns="136145" tIns="68058" rIns="136145" bIns="68058">
            <a:spAutoFit/>
          </a:bodyPr>
          <a:lstStyle/>
          <a:p>
            <a:pPr>
              <a:defRPr/>
            </a:pPr>
            <a:r>
              <a:rPr lang="en-US" sz="3000" dirty="0">
                <a:solidFill>
                  <a:srgbClr val="800000"/>
                </a:solidFill>
                <a:effectLst>
                  <a:outerShdw blurRad="38100" dist="38100" dir="2700000" algn="tl">
                    <a:srgbClr val="C0C0C0"/>
                  </a:outerShdw>
                </a:effectLst>
                <a:latin typeface="Calibri" panose="020F0502020204030204" pitchFamily="34" charset="0"/>
              </a:rPr>
              <a:t>E a principal quest</a:t>
            </a:r>
            <a:r>
              <a:rPr lang="pt-BR" sz="3000" dirty="0">
                <a:solidFill>
                  <a:srgbClr val="800000"/>
                </a:solidFill>
                <a:effectLst>
                  <a:outerShdw blurRad="38100" dist="38100" dir="2700000" algn="tl">
                    <a:srgbClr val="C0C0C0"/>
                  </a:outerShdw>
                </a:effectLst>
                <a:latin typeface="Calibri" panose="020F0502020204030204" pitchFamily="34" charset="0"/>
              </a:rPr>
              <a:t>ã</a:t>
            </a:r>
            <a:r>
              <a:rPr lang="en-US" sz="3000" dirty="0">
                <a:solidFill>
                  <a:srgbClr val="800000"/>
                </a:solidFill>
                <a:effectLst>
                  <a:outerShdw blurRad="38100" dist="38100" dir="2700000" algn="tl">
                    <a:srgbClr val="C0C0C0"/>
                  </a:outerShdw>
                </a:effectLst>
                <a:latin typeface="Calibri" panose="020F0502020204030204" pitchFamily="34" charset="0"/>
              </a:rPr>
              <a:t>o … </a:t>
            </a:r>
            <a:r>
              <a:rPr lang="en-US" sz="3000" dirty="0" err="1">
                <a:solidFill>
                  <a:srgbClr val="800000"/>
                </a:solidFill>
                <a:effectLst>
                  <a:outerShdw blurRad="38100" dist="38100" dir="2700000" algn="tl">
                    <a:srgbClr val="C0C0C0"/>
                  </a:outerShdw>
                </a:effectLst>
                <a:latin typeface="Calibri" panose="020F0502020204030204" pitchFamily="34" charset="0"/>
              </a:rPr>
              <a:t>quantas</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destas</a:t>
            </a:r>
            <a:r>
              <a:rPr lang="en-US" sz="3000" dirty="0">
                <a:solidFill>
                  <a:srgbClr val="800000"/>
                </a:solidFill>
                <a:effectLst>
                  <a:outerShdw blurRad="38100" dist="38100" dir="2700000" algn="tl">
                    <a:srgbClr val="C0C0C0"/>
                  </a:outerShdw>
                </a:effectLst>
                <a:latin typeface="Calibri" panose="020F0502020204030204" pitchFamily="34" charset="0"/>
              </a:rPr>
              <a:t> quest</a:t>
            </a:r>
            <a:r>
              <a:rPr lang="pt-BR" sz="3000" dirty="0" err="1">
                <a:solidFill>
                  <a:srgbClr val="800000"/>
                </a:solidFill>
                <a:effectLst>
                  <a:outerShdw blurRad="38100" dist="38100" dir="2700000" algn="tl">
                    <a:srgbClr val="C0C0C0"/>
                  </a:outerShdw>
                </a:effectLst>
                <a:latin typeface="Calibri" panose="020F0502020204030204" pitchFamily="34" charset="0"/>
              </a:rPr>
              <a:t>õe</a:t>
            </a:r>
            <a:r>
              <a:rPr lang="en-US" sz="3000" dirty="0">
                <a:solidFill>
                  <a:srgbClr val="800000"/>
                </a:solidFill>
                <a:effectLst>
                  <a:outerShdw blurRad="38100" dist="38100" dir="2700000" algn="tl">
                    <a:srgbClr val="C0C0C0"/>
                  </a:outerShdw>
                </a:effectLst>
                <a:latin typeface="Calibri" panose="020F0502020204030204" pitchFamily="34" charset="0"/>
              </a:rPr>
              <a:t>s </a:t>
            </a:r>
            <a:r>
              <a:rPr lang="en-US" sz="3000" dirty="0" err="1">
                <a:solidFill>
                  <a:srgbClr val="800000"/>
                </a:solidFill>
                <a:effectLst>
                  <a:outerShdw blurRad="38100" dist="38100" dir="2700000" algn="tl">
                    <a:srgbClr val="C0C0C0"/>
                  </a:outerShdw>
                </a:effectLst>
                <a:latin typeface="Calibri" panose="020F0502020204030204" pitchFamily="34" charset="0"/>
              </a:rPr>
              <a:t>acim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su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empresa</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conseguem</a:t>
            </a:r>
            <a:r>
              <a:rPr lang="en-US" sz="3000" dirty="0">
                <a:solidFill>
                  <a:srgbClr val="800000"/>
                </a:solidFill>
                <a:effectLst>
                  <a:outerShdw blurRad="38100" dist="38100" dir="2700000" algn="tl">
                    <a:srgbClr val="C0C0C0"/>
                  </a:outerShdw>
                </a:effectLst>
                <a:latin typeface="Calibri" panose="020F0502020204030204" pitchFamily="34" charset="0"/>
              </a:rPr>
              <a:t> responder?  Se </a:t>
            </a:r>
            <a:r>
              <a:rPr lang="en-US" sz="3000" dirty="0" err="1">
                <a:solidFill>
                  <a:srgbClr val="800000"/>
                </a:solidFill>
                <a:effectLst>
                  <a:outerShdw blurRad="38100" dist="38100" dir="2700000" algn="tl">
                    <a:srgbClr val="C0C0C0"/>
                  </a:outerShdw>
                </a:effectLst>
                <a:latin typeface="Calibri" panose="020F0502020204030204" pitchFamily="34" charset="0"/>
              </a:rPr>
              <a:t>não</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dirty="0" err="1">
                <a:solidFill>
                  <a:srgbClr val="800000"/>
                </a:solidFill>
                <a:effectLst>
                  <a:outerShdw blurRad="38100" dist="38100" dir="2700000" algn="tl">
                    <a:srgbClr val="C0C0C0"/>
                  </a:outerShdw>
                </a:effectLst>
                <a:latin typeface="Calibri" panose="020F0502020204030204" pitchFamily="34" charset="0"/>
              </a:rPr>
              <a:t>consegue</a:t>
            </a:r>
            <a:r>
              <a:rPr lang="en-US" sz="3000" dirty="0">
                <a:solidFill>
                  <a:srgbClr val="800000"/>
                </a:solidFill>
                <a:effectLst>
                  <a:outerShdw blurRad="38100" dist="38100" dir="2700000" algn="tl">
                    <a:srgbClr val="C0C0C0"/>
                  </a:outerShdw>
                </a:effectLst>
                <a:latin typeface="Calibri" panose="020F0502020204030204" pitchFamily="34" charset="0"/>
              </a:rPr>
              <a:t>, </a:t>
            </a:r>
            <a:r>
              <a:rPr lang="en-US" sz="3000" u="sng" dirty="0" err="1">
                <a:solidFill>
                  <a:srgbClr val="800000"/>
                </a:solidFill>
                <a:effectLst>
                  <a:outerShdw blurRad="38100" dist="38100" dir="2700000" algn="tl">
                    <a:srgbClr val="C0C0C0"/>
                  </a:outerShdw>
                </a:effectLst>
                <a:latin typeface="Calibri" panose="020F0502020204030204" pitchFamily="34" charset="0"/>
              </a:rPr>
              <a:t>não</a:t>
            </a:r>
            <a:r>
              <a:rPr lang="en-US" sz="3000" u="sng" dirty="0">
                <a:solidFill>
                  <a:srgbClr val="800000"/>
                </a:solidFill>
                <a:effectLst>
                  <a:outerShdw blurRad="38100" dist="38100" dir="2700000" algn="tl">
                    <a:srgbClr val="C0C0C0"/>
                  </a:outerShdw>
                </a:effectLst>
                <a:latin typeface="Calibri" panose="020F0502020204030204" pitchFamily="34" charset="0"/>
              </a:rPr>
              <a:t> </a:t>
            </a:r>
            <a:r>
              <a:rPr lang="en-US" sz="3000" u="sng" dirty="0" err="1">
                <a:solidFill>
                  <a:srgbClr val="800000"/>
                </a:solidFill>
                <a:effectLst>
                  <a:outerShdw blurRad="38100" dist="38100" dir="2700000" algn="tl">
                    <a:srgbClr val="C0C0C0"/>
                  </a:outerShdw>
                </a:effectLst>
                <a:latin typeface="Calibri" panose="020F0502020204030204" pitchFamily="34" charset="0"/>
              </a:rPr>
              <a:t>existe</a:t>
            </a:r>
            <a:r>
              <a:rPr lang="en-US" sz="3000" u="sng" dirty="0">
                <a:solidFill>
                  <a:srgbClr val="800000"/>
                </a:solidFill>
                <a:effectLst>
                  <a:outerShdw blurRad="38100" dist="38100" dir="2700000" algn="tl">
                    <a:srgbClr val="C0C0C0"/>
                  </a:outerShdw>
                </a:effectLst>
                <a:latin typeface="Calibri" panose="020F0502020204030204" pitchFamily="34" charset="0"/>
              </a:rPr>
              <a:t> </a:t>
            </a:r>
            <a:r>
              <a:rPr lang="en-US" sz="3000" u="sng" dirty="0" err="1">
                <a:solidFill>
                  <a:srgbClr val="800000"/>
                </a:solidFill>
                <a:effectLst>
                  <a:outerShdw blurRad="38100" dist="38100" dir="2700000" algn="tl">
                    <a:srgbClr val="C0C0C0"/>
                  </a:outerShdw>
                </a:effectLst>
                <a:latin typeface="Calibri" panose="020F0502020204030204" pitchFamily="34" charset="0"/>
              </a:rPr>
              <a:t>histórico</a:t>
            </a:r>
            <a:r>
              <a:rPr lang="en-US" sz="3000" u="sng" dirty="0">
                <a:solidFill>
                  <a:srgbClr val="800000"/>
                </a:solidFill>
                <a:effectLst>
                  <a:outerShdw blurRad="38100" dist="38100" dir="2700000" algn="tl">
                    <a:srgbClr val="C0C0C0"/>
                  </a:outerShdw>
                </a:effectLst>
                <a:latin typeface="Calibri" panose="020F0502020204030204" pitchFamily="34" charset="0"/>
              </a:rPr>
              <a:t> dos </a:t>
            </a:r>
            <a:r>
              <a:rPr lang="en-US" sz="3000" u="sng" dirty="0" err="1">
                <a:solidFill>
                  <a:srgbClr val="800000"/>
                </a:solidFill>
                <a:effectLst>
                  <a:outerShdw blurRad="38100" dist="38100" dir="2700000" algn="tl">
                    <a:srgbClr val="C0C0C0"/>
                  </a:outerShdw>
                </a:effectLst>
                <a:latin typeface="Calibri" panose="020F0502020204030204" pitchFamily="34" charset="0"/>
              </a:rPr>
              <a:t>projetos</a:t>
            </a:r>
            <a:r>
              <a:rPr lang="en-US" sz="3000" u="sng" dirty="0">
                <a:solidFill>
                  <a:srgbClr val="800000"/>
                </a:solidFill>
                <a:effectLst>
                  <a:outerShdw blurRad="38100" dist="38100" dir="2700000" algn="tl">
                    <a:srgbClr val="C0C0C0"/>
                  </a:outerShdw>
                </a:effectLst>
                <a:latin typeface="Calibri" panose="020F0502020204030204" pitchFamily="34" charset="0"/>
              </a:rPr>
              <a:t>?</a:t>
            </a:r>
            <a:endParaRPr lang="pt-BR" sz="3000" u="sng" dirty="0">
              <a:solidFill>
                <a:srgbClr val="800000"/>
              </a:solidFill>
              <a:effectLst>
                <a:outerShdw blurRad="38100" dist="38100" dir="2700000" algn="tl">
                  <a:srgbClr val="C0C0C0"/>
                </a:outerShdw>
              </a:effectLst>
              <a:latin typeface="Calibri" panose="020F0502020204030204" pitchFamily="34" charset="0"/>
            </a:endParaRPr>
          </a:p>
        </p:txBody>
      </p:sp>
      <p:sp>
        <p:nvSpPr>
          <p:cNvPr id="43013" name="Rectangle 6"/>
          <p:cNvSpPr>
            <a:spLocks noChangeArrowheads="1"/>
          </p:cNvSpPr>
          <p:nvPr/>
        </p:nvSpPr>
        <p:spPr bwMode="auto">
          <a:xfrm>
            <a:off x="2321720" y="283370"/>
            <a:ext cx="1070371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4200">
                <a:solidFill>
                  <a:schemeClr val="tx1"/>
                </a:solidFill>
                <a:latin typeface="Calibri" panose="020F0502020204030204" pitchFamily="34" charset="0"/>
              </a:rPr>
              <a:t>Vendendo o Conceito</a:t>
            </a:r>
          </a:p>
        </p:txBody>
      </p:sp>
    </p:spTree>
    <p:custDataLst>
      <p:tags r:id="rId1"/>
    </p:custDataLst>
    <p:extLst>
      <p:ext uri="{BB962C8B-B14F-4D97-AF65-F5344CB8AC3E}">
        <p14:creationId xmlns:p14="http://schemas.microsoft.com/office/powerpoint/2010/main" val="571769366"/>
      </p:ext>
    </p:extLst>
  </p:cSld>
  <p:clrMapOvr>
    <a:masterClrMapping/>
  </p:clrMapOvr>
  <p:transition>
    <p:strips dir="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685800" y="28337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latin typeface="+mn-lt"/>
              </a:rPr>
              <a:t>PMO-Definição</a:t>
            </a:r>
          </a:p>
        </p:txBody>
      </p:sp>
      <p:sp>
        <p:nvSpPr>
          <p:cNvPr id="14339" name="Rectangle 3"/>
          <p:cNvSpPr>
            <a:spLocks noGrp="1" noChangeArrowheads="1"/>
          </p:cNvSpPr>
          <p:nvPr>
            <p:ph type="body" idx="4294967295"/>
          </p:nvPr>
        </p:nvSpPr>
        <p:spPr>
          <a:xfrm>
            <a:off x="0" y="1337692"/>
            <a:ext cx="13018293" cy="7467600"/>
          </a:xfrm>
          <a:prstGeom prst="rect">
            <a:avLst/>
          </a:prstGeom>
        </p:spPr>
        <p:txBody>
          <a:bodyPr/>
          <a:lstStyle/>
          <a:p>
            <a:pPr>
              <a:buClr>
                <a:srgbClr val="FF0000"/>
              </a:buClr>
              <a:buFont typeface="Wingdings" panose="05000000000000000000" pitchFamily="2" charset="2"/>
              <a:buChar char="ü"/>
            </a:pPr>
            <a:r>
              <a:rPr lang="pt-BR" altLang="pt-BR" sz="3900" dirty="0"/>
              <a:t>Dar orientação e suporte que permita à organização desenvolver seus projetos da forma mais eficiente e eficaz possível. </a:t>
            </a:r>
          </a:p>
          <a:p>
            <a:pPr>
              <a:spcBef>
                <a:spcPct val="0"/>
              </a:spcBef>
              <a:buClr>
                <a:srgbClr val="FF0000"/>
              </a:buClr>
              <a:buFont typeface="Wingdings" panose="05000000000000000000" pitchFamily="2" charset="2"/>
              <a:buChar char="ü"/>
            </a:pPr>
            <a:r>
              <a:rPr lang="pt-BR" altLang="pt-BR" sz="3900" dirty="0"/>
              <a:t>Unidade organizacional que centraliza e coordena o Gerenciamento de Projetos. Provedor completo de serviços de gerenciamento de projetos servindo a organização</a:t>
            </a:r>
            <a:r>
              <a:rPr lang="pt-BR" altLang="pt-BR" sz="2700" dirty="0"/>
              <a:t>. (</a:t>
            </a:r>
            <a:r>
              <a:rPr lang="pt-BR" altLang="pt-BR" sz="2700" dirty="0" err="1"/>
              <a:t>PMBoK</a:t>
            </a:r>
            <a:r>
              <a:rPr lang="pt-BR" altLang="pt-BR" sz="2700" dirty="0"/>
              <a:t>)</a:t>
            </a:r>
          </a:p>
          <a:p>
            <a:endParaRPr lang="pt-BR" altLang="pt-BR" sz="3000" dirty="0"/>
          </a:p>
        </p:txBody>
      </p:sp>
      <p:pic>
        <p:nvPicPr>
          <p:cNvPr id="14340" name="Imagem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3264" y="5071492"/>
            <a:ext cx="12903993" cy="4993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15797473"/>
      </p:ext>
    </p:extLst>
  </p:cSld>
  <p:clrMapOvr>
    <a:masterClrMapping/>
  </p:clrMapOvr>
  <p:transition spd="slow">
    <p:strips dir="rd"/>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bwMode="auto">
          <a:xfrm>
            <a:off x="1" y="1"/>
            <a:ext cx="11418095"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ja-JP" sz="3200" dirty="0">
                <a:solidFill>
                  <a:schemeClr val="tx1"/>
                </a:solidFill>
                <a:ea typeface="MS PGothic" panose="020B0600070205080204" pitchFamily="34" charset="-128"/>
              </a:rPr>
              <a:t>Passos iniciais da Implementação mais detalhes </a:t>
            </a:r>
            <a:endParaRPr lang="pt-BR" altLang="pt-BR" sz="3200" dirty="0">
              <a:solidFill>
                <a:schemeClr val="tx1"/>
              </a:solidFill>
              <a:ea typeface="MS PGothic" panose="020B0600070205080204" pitchFamily="34" charset="-128"/>
            </a:endParaRPr>
          </a:p>
        </p:txBody>
      </p:sp>
      <p:sp>
        <p:nvSpPr>
          <p:cNvPr id="45059" name="Rectangle 3"/>
          <p:cNvSpPr>
            <a:spLocks noGrp="1" noChangeArrowheads="1"/>
          </p:cNvSpPr>
          <p:nvPr>
            <p:ph type="body" idx="4294967295"/>
          </p:nvPr>
        </p:nvSpPr>
        <p:spPr>
          <a:xfrm>
            <a:off x="161256" y="747714"/>
            <a:ext cx="12816754" cy="8370095"/>
          </a:xfrm>
          <a:prstGeom prst="rect">
            <a:avLst/>
          </a:prstGeom>
        </p:spPr>
        <p:txBody>
          <a:bodyPr/>
          <a:lstStyle/>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Antes de mais nada a criação de um </a:t>
            </a:r>
            <a:r>
              <a:rPr lang="pt-BR" altLang="ja-JP" sz="3150" b="1" dirty="0">
                <a:ea typeface="MS PGothic" panose="020B0600070205080204" pitchFamily="34" charset="-128"/>
              </a:rPr>
              <a:t>PMO é um projeto</a:t>
            </a:r>
            <a:r>
              <a:rPr lang="pt-BR" altLang="ja-JP" sz="3150" dirty="0">
                <a:ea typeface="MS PGothic" panose="020B0600070205080204" pitchFamily="34" charset="-128"/>
              </a:rPr>
              <a:t>, logo encare como tal;</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Oficialize</a:t>
            </a:r>
            <a:r>
              <a:rPr lang="pt-BR" altLang="ja-JP" sz="3150" dirty="0">
                <a:ea typeface="MS PGothic" panose="020B0600070205080204" pitchFamily="34" charset="-128"/>
              </a:rPr>
              <a:t> o comprometimento do </a:t>
            </a:r>
            <a:r>
              <a:rPr lang="pt-BR" altLang="ja-JP" sz="3150" b="1" i="1" u="sng" dirty="0">
                <a:ea typeface="MS PGothic" panose="020B0600070205080204" pitchFamily="34" charset="-128"/>
              </a:rPr>
              <a:t>patrocinador (</a:t>
            </a:r>
            <a:r>
              <a:rPr lang="pt-BR" altLang="ja-JP" sz="3150" b="1" i="1" u="sng" dirty="0" err="1">
                <a:ea typeface="MS PGothic" panose="020B0600070205080204" pitchFamily="34" charset="-128"/>
              </a:rPr>
              <a:t>sponsor</a:t>
            </a:r>
            <a:r>
              <a:rPr lang="pt-BR" altLang="ja-JP" sz="3150" b="1" i="1" u="sng" dirty="0">
                <a:ea typeface="MS PGothic" panose="020B0600070205080204" pitchFamily="34" charset="-128"/>
              </a:rPr>
              <a:t>) </a:t>
            </a:r>
            <a:r>
              <a:rPr lang="pt-BR" altLang="ja-JP" sz="3150" b="1" dirty="0">
                <a:ea typeface="MS PGothic" panose="020B0600070205080204" pitchFamily="34" charset="-128"/>
              </a:rPr>
              <a:t>influente</a:t>
            </a:r>
            <a:r>
              <a:rPr lang="pt-BR" altLang="ja-JP" sz="3150" b="1" i="1" u="sng"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Entenda </a:t>
            </a:r>
            <a:r>
              <a:rPr lang="pt-BR" altLang="ja-JP" sz="3150" b="1" dirty="0">
                <a:ea typeface="MS PGothic" panose="020B0600070205080204" pitchFamily="34" charset="-128"/>
              </a:rPr>
              <a:t>a cultura organizacional, o valor estratégico do projetos para empresa</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Avalie a maturidade </a:t>
            </a:r>
            <a:r>
              <a:rPr lang="pt-BR" altLang="ja-JP" sz="3150" dirty="0">
                <a:ea typeface="MS PGothic" panose="020B0600070205080204" pitchFamily="34" charset="-128"/>
              </a:rPr>
              <a:t>da empresa em gestão de projetos;</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Faça </a:t>
            </a:r>
            <a:r>
              <a:rPr lang="pt-BR" altLang="ja-JP" sz="3150" b="1" dirty="0">
                <a:ea typeface="MS PGothic" panose="020B0600070205080204" pitchFamily="34" charset="-128"/>
              </a:rPr>
              <a:t>um benchmarking </a:t>
            </a:r>
            <a:r>
              <a:rPr lang="pt-BR" altLang="ja-JP" sz="3150" dirty="0">
                <a:ea typeface="MS PGothic" panose="020B0600070205080204" pitchFamily="34" charset="-128"/>
              </a:rPr>
              <a:t>com empresas concorrentes (visite empresas);</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Crie um Project Charter</a:t>
            </a:r>
            <a:r>
              <a:rPr lang="pt-BR" altLang="ja-JP" sz="3150" dirty="0">
                <a:ea typeface="MS PGothic" panose="020B0600070205080204" pitchFamily="34" charset="-128"/>
              </a:rPr>
              <a:t> (termo de abertura do projeto);</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Designe um gerente de projeto</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Determine os </a:t>
            </a:r>
            <a:r>
              <a:rPr lang="pt-BR" altLang="ja-JP" sz="3150" b="1" dirty="0">
                <a:ea typeface="MS PGothic" panose="020B0600070205080204" pitchFamily="34" charset="-128"/>
              </a:rPr>
              <a:t>recursos necessários para o projeto</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Crie um plano de projeto</a:t>
            </a:r>
            <a:r>
              <a:rPr lang="pt-BR" altLang="ja-JP" sz="3150" dirty="0">
                <a:ea typeface="MS PGothic" panose="020B0600070205080204" pitchFamily="34" charset="-128"/>
              </a:rPr>
              <a:t> (cronograma, avaliação de riscos, plano de comunicação, etc.), com </a:t>
            </a:r>
            <a:r>
              <a:rPr lang="pt-BR" altLang="ja-JP" sz="3150" b="1" dirty="0">
                <a:ea typeface="MS PGothic" panose="020B0600070205080204" pitchFamily="34" charset="-128"/>
              </a:rPr>
              <a:t>mapa dos </a:t>
            </a:r>
            <a:r>
              <a:rPr lang="pt-BR" altLang="ja-JP" sz="3150" b="1" dirty="0" err="1">
                <a:ea typeface="MS PGothic" panose="020B0600070205080204" pitchFamily="34" charset="-128"/>
              </a:rPr>
              <a:t>stakeholders</a:t>
            </a:r>
            <a:r>
              <a:rPr lang="pt-BR" altLang="ja-JP" sz="3150" b="1" dirty="0">
                <a:ea typeface="MS PGothic" panose="020B0600070205080204" pitchFamily="34" charset="-128"/>
              </a:rPr>
              <a:t> e suas influências</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Defina estratégias para </a:t>
            </a:r>
            <a:r>
              <a:rPr lang="pt-BR" altLang="ja-JP" sz="3150" b="1" dirty="0">
                <a:ea typeface="MS PGothic" panose="020B0600070205080204" pitchFamily="34" charset="-128"/>
              </a:rPr>
              <a:t>mitigar resistências, envolva a todos os futuros usuários</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Defina </a:t>
            </a:r>
            <a:r>
              <a:rPr lang="pt-BR" altLang="ja-JP" sz="3150" b="1" dirty="0">
                <a:ea typeface="MS PGothic" panose="020B0600070205080204" pitchFamily="34" charset="-128"/>
              </a:rPr>
              <a:t>canais de comunicação</a:t>
            </a:r>
            <a:r>
              <a:rPr lang="pt-BR" altLang="ja-JP" sz="3150" dirty="0">
                <a:ea typeface="MS PGothic" panose="020B0600070205080204" pitchFamily="34" charset="-128"/>
              </a:rPr>
              <a:t> e comunique a ideia sempre;</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Crie métricas para controlar o progresso e o sucesso do projeto</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dirty="0">
                <a:ea typeface="MS PGothic" panose="020B0600070205080204" pitchFamily="34" charset="-128"/>
              </a:rPr>
              <a:t>Não faça com que projetos que já estão em execução tenham que fazer documentação retroativa. </a:t>
            </a:r>
            <a:r>
              <a:rPr lang="pt-BR" altLang="ja-JP" sz="3150" b="1" dirty="0">
                <a:ea typeface="MS PGothic" panose="020B0600070205080204" pitchFamily="34" charset="-128"/>
              </a:rPr>
              <a:t>Comece a implementação com novos projetos</a:t>
            </a:r>
            <a:r>
              <a:rPr lang="pt-BR" altLang="ja-JP" sz="3150" dirty="0">
                <a:ea typeface="MS PGothic" panose="020B0600070205080204" pitchFamily="34" charset="-128"/>
              </a:rPr>
              <a:t>;</a:t>
            </a:r>
          </a:p>
          <a:p>
            <a:pPr>
              <a:lnSpc>
                <a:spcPct val="85000"/>
              </a:lnSpc>
              <a:buClr>
                <a:srgbClr val="FF0000"/>
              </a:buClr>
              <a:buFont typeface="Wingdings" panose="05000000000000000000" pitchFamily="2" charset="2"/>
              <a:buChar char="ü"/>
            </a:pPr>
            <a:r>
              <a:rPr lang="pt-BR" altLang="ja-JP" sz="3150" b="1" dirty="0">
                <a:ea typeface="MS PGothic" panose="020B0600070205080204" pitchFamily="34" charset="-128"/>
              </a:rPr>
              <a:t>Conduza um piloto (mostrar o antes e o depois)</a:t>
            </a:r>
            <a:endParaRPr lang="pt-BR" altLang="ja-JP" sz="3150" dirty="0">
              <a:ea typeface="MS PGothic" panose="020B0600070205080204" pitchFamily="34" charset="-128"/>
            </a:endParaRPr>
          </a:p>
          <a:p>
            <a:pPr>
              <a:lnSpc>
                <a:spcPct val="85000"/>
              </a:lnSpc>
              <a:buClr>
                <a:srgbClr val="FF0000"/>
              </a:buClr>
              <a:buFont typeface="Wingdings" panose="05000000000000000000" pitchFamily="2" charset="2"/>
              <a:buChar char="ü"/>
            </a:pPr>
            <a:r>
              <a:rPr lang="pt-BR" altLang="pt-BR" sz="3150" b="1" dirty="0">
                <a:solidFill>
                  <a:srgbClr val="FF0000"/>
                </a:solidFill>
                <a:ea typeface="MS PGothic" panose="020B0600070205080204" pitchFamily="34" charset="-128"/>
              </a:rPr>
              <a:t>Importante: </a:t>
            </a:r>
            <a:r>
              <a:rPr lang="pt-BR" altLang="pt-BR" sz="2700" b="1" dirty="0">
                <a:solidFill>
                  <a:srgbClr val="FF0000"/>
                </a:solidFill>
              </a:rPr>
              <a:t>Visibilidade de custos para manutenção do mesmo operacional</a:t>
            </a:r>
            <a:r>
              <a:rPr lang="pt-BR" altLang="pt-BR" sz="2700" dirty="0"/>
              <a:t>.</a:t>
            </a:r>
          </a:p>
          <a:p>
            <a:pPr>
              <a:lnSpc>
                <a:spcPct val="85000"/>
              </a:lnSpc>
              <a:buClr>
                <a:srgbClr val="FF0000"/>
              </a:buClr>
              <a:buFont typeface="Wingdings" panose="05000000000000000000" pitchFamily="2" charset="2"/>
              <a:buChar char="ü"/>
            </a:pPr>
            <a:endParaRPr lang="pt-BR" altLang="pt-BR" sz="3150" dirty="0"/>
          </a:p>
        </p:txBody>
      </p:sp>
    </p:spTree>
    <p:custDataLst>
      <p:tags r:id="rId1"/>
    </p:custDataLst>
    <p:extLst>
      <p:ext uri="{BB962C8B-B14F-4D97-AF65-F5344CB8AC3E}">
        <p14:creationId xmlns:p14="http://schemas.microsoft.com/office/powerpoint/2010/main" val="1573744572"/>
      </p:ext>
    </p:extLst>
  </p:cSld>
  <p:clrMapOvr>
    <a:masterClrMapping/>
  </p:clrMapOvr>
  <p:transition spd="slow">
    <p:strips dir="rd"/>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bwMode="auto">
          <a:xfrm>
            <a:off x="592932" y="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a:solidFill>
                  <a:schemeClr val="tx1"/>
                </a:solidFill>
              </a:rPr>
              <a:t>PMO - Gestão de carreiras</a:t>
            </a:r>
          </a:p>
        </p:txBody>
      </p:sp>
      <p:sp>
        <p:nvSpPr>
          <p:cNvPr id="46083" name="Rectangle 3"/>
          <p:cNvSpPr>
            <a:spLocks noGrp="1" noChangeArrowheads="1"/>
          </p:cNvSpPr>
          <p:nvPr>
            <p:ph type="body" idx="4294967295"/>
          </p:nvPr>
        </p:nvSpPr>
        <p:spPr>
          <a:xfrm>
            <a:off x="816770" y="2107407"/>
            <a:ext cx="11915775" cy="6743700"/>
          </a:xfrm>
          <a:prstGeom prst="rect">
            <a:avLst/>
          </a:prstGeom>
        </p:spPr>
        <p:txBody>
          <a:bodyPr/>
          <a:lstStyle/>
          <a:p>
            <a:pPr>
              <a:lnSpc>
                <a:spcPct val="80000"/>
              </a:lnSpc>
              <a:buClr>
                <a:srgbClr val="FF0000"/>
              </a:buClr>
              <a:buFont typeface="Wingdings" panose="05000000000000000000" pitchFamily="2" charset="2"/>
              <a:buChar char="ü"/>
            </a:pPr>
            <a:r>
              <a:rPr lang="pt-BR" altLang="pt-BR" sz="3000"/>
              <a:t> Gerente de PMO (CPO);</a:t>
            </a:r>
          </a:p>
          <a:p>
            <a:pPr>
              <a:lnSpc>
                <a:spcPct val="80000"/>
              </a:lnSpc>
              <a:buClr>
                <a:srgbClr val="FF0000"/>
              </a:buClr>
              <a:buFont typeface="Wingdings" panose="05000000000000000000" pitchFamily="2" charset="2"/>
              <a:buChar char="ü"/>
            </a:pPr>
            <a:r>
              <a:rPr lang="pt-BR" altLang="pt-BR" sz="3000"/>
              <a:t> Gerente de Portfólio de projetos;</a:t>
            </a:r>
          </a:p>
          <a:p>
            <a:pPr>
              <a:lnSpc>
                <a:spcPct val="80000"/>
              </a:lnSpc>
              <a:buClr>
                <a:srgbClr val="FF0000"/>
              </a:buClr>
              <a:buFont typeface="Wingdings" panose="05000000000000000000" pitchFamily="2" charset="2"/>
              <a:buChar char="ü"/>
            </a:pPr>
            <a:r>
              <a:rPr lang="pt-BR" altLang="pt-BR" sz="3000"/>
              <a:t> Gerente de Programas com experiência (mentor);</a:t>
            </a:r>
          </a:p>
          <a:p>
            <a:pPr>
              <a:lnSpc>
                <a:spcPct val="80000"/>
              </a:lnSpc>
              <a:buClr>
                <a:srgbClr val="FF0000"/>
              </a:buClr>
              <a:buFont typeface="Wingdings" panose="05000000000000000000" pitchFamily="2" charset="2"/>
              <a:buChar char="ü"/>
            </a:pPr>
            <a:r>
              <a:rPr lang="pt-BR" altLang="pt-BR" sz="3000"/>
              <a:t> Gerentes de Projetos com experiência (mentor);</a:t>
            </a:r>
          </a:p>
          <a:p>
            <a:pPr>
              <a:lnSpc>
                <a:spcPct val="80000"/>
              </a:lnSpc>
              <a:buClr>
                <a:srgbClr val="FF0000"/>
              </a:buClr>
              <a:buFont typeface="Wingdings" panose="05000000000000000000" pitchFamily="2" charset="2"/>
              <a:buChar char="ü"/>
            </a:pPr>
            <a:r>
              <a:rPr lang="pt-BR" altLang="pt-BR" sz="3000"/>
              <a:t>Experts em Processos e Controle de Qualidade (GB, BB);</a:t>
            </a:r>
          </a:p>
          <a:p>
            <a:pPr>
              <a:lnSpc>
                <a:spcPct val="80000"/>
              </a:lnSpc>
              <a:buClr>
                <a:srgbClr val="FF0000"/>
              </a:buClr>
              <a:buFont typeface="Wingdings" panose="05000000000000000000" pitchFamily="2" charset="2"/>
              <a:buChar char="ü"/>
            </a:pPr>
            <a:r>
              <a:rPr lang="pt-BR" altLang="pt-BR" sz="3000"/>
              <a:t> Experts em Organização e Métodos;</a:t>
            </a:r>
          </a:p>
          <a:p>
            <a:pPr>
              <a:lnSpc>
                <a:spcPct val="80000"/>
              </a:lnSpc>
              <a:buClr>
                <a:srgbClr val="FF0000"/>
              </a:buClr>
              <a:buFont typeface="Wingdings" panose="05000000000000000000" pitchFamily="2" charset="2"/>
              <a:buChar char="ü"/>
            </a:pPr>
            <a:r>
              <a:rPr lang="pt-BR" altLang="pt-BR" sz="3000"/>
              <a:t> Experts em Treinamento;</a:t>
            </a:r>
          </a:p>
          <a:p>
            <a:pPr>
              <a:lnSpc>
                <a:spcPct val="80000"/>
              </a:lnSpc>
              <a:buClr>
                <a:srgbClr val="FF0000"/>
              </a:buClr>
              <a:buFont typeface="Wingdings" panose="05000000000000000000" pitchFamily="2" charset="2"/>
              <a:buChar char="ü"/>
            </a:pPr>
            <a:r>
              <a:rPr lang="pt-BR" altLang="pt-BR" sz="3000"/>
              <a:t> Especialistas em Padronização de Documentos;</a:t>
            </a:r>
          </a:p>
          <a:p>
            <a:pPr>
              <a:lnSpc>
                <a:spcPct val="80000"/>
              </a:lnSpc>
              <a:buClr>
                <a:srgbClr val="FF0000"/>
              </a:buClr>
              <a:buFont typeface="Wingdings" panose="05000000000000000000" pitchFamily="2" charset="2"/>
              <a:buChar char="ü"/>
            </a:pPr>
            <a:r>
              <a:rPr lang="pt-BR" altLang="pt-BR" sz="3000"/>
              <a:t> Especialistas em riscos;</a:t>
            </a:r>
          </a:p>
          <a:p>
            <a:pPr>
              <a:lnSpc>
                <a:spcPct val="80000"/>
              </a:lnSpc>
              <a:buClr>
                <a:srgbClr val="FF0000"/>
              </a:buClr>
              <a:buFont typeface="Wingdings" panose="05000000000000000000" pitchFamily="2" charset="2"/>
              <a:buChar char="ü"/>
            </a:pPr>
            <a:r>
              <a:rPr lang="pt-BR" altLang="pt-BR" sz="3000"/>
              <a:t> Coordenador de Comunicação;</a:t>
            </a:r>
          </a:p>
          <a:p>
            <a:pPr>
              <a:lnSpc>
                <a:spcPct val="80000"/>
              </a:lnSpc>
              <a:buClr>
                <a:srgbClr val="FF0000"/>
              </a:buClr>
              <a:buFont typeface="Wingdings" panose="05000000000000000000" pitchFamily="2" charset="2"/>
              <a:buChar char="ü"/>
            </a:pPr>
            <a:r>
              <a:rPr lang="pt-BR" altLang="pt-BR" sz="3000"/>
              <a:t> Coordenador de Controle de Mudanças ;</a:t>
            </a:r>
          </a:p>
          <a:p>
            <a:pPr>
              <a:lnSpc>
                <a:spcPct val="80000"/>
              </a:lnSpc>
              <a:buClr>
                <a:srgbClr val="FF0000"/>
              </a:buClr>
              <a:buFont typeface="Wingdings" panose="05000000000000000000" pitchFamily="2" charset="2"/>
              <a:buChar char="ü"/>
            </a:pPr>
            <a:r>
              <a:rPr lang="pt-BR" altLang="pt-BR" sz="3000"/>
              <a:t> Especialistas em administração de base de conhecimento;</a:t>
            </a:r>
          </a:p>
          <a:p>
            <a:pPr>
              <a:lnSpc>
                <a:spcPct val="80000"/>
              </a:lnSpc>
              <a:buClr>
                <a:srgbClr val="FF0000"/>
              </a:buClr>
              <a:buFont typeface="Wingdings" panose="05000000000000000000" pitchFamily="2" charset="2"/>
              <a:buChar char="ü"/>
            </a:pPr>
            <a:r>
              <a:rPr lang="pt-BR" altLang="pt-BR" sz="3000"/>
              <a:t> Gestor de contratos;</a:t>
            </a:r>
          </a:p>
          <a:p>
            <a:pPr>
              <a:lnSpc>
                <a:spcPct val="80000"/>
              </a:lnSpc>
              <a:buClr>
                <a:srgbClr val="FF0000"/>
              </a:buClr>
              <a:buFont typeface="Wingdings" panose="05000000000000000000" pitchFamily="2" charset="2"/>
              <a:buChar char="ü"/>
            </a:pPr>
            <a:r>
              <a:rPr lang="pt-BR" altLang="pt-BR" sz="3000"/>
              <a:t>Recursos de Apoio Administrativo;</a:t>
            </a:r>
          </a:p>
          <a:p>
            <a:pPr>
              <a:lnSpc>
                <a:spcPct val="80000"/>
              </a:lnSpc>
              <a:buClr>
                <a:srgbClr val="FF0000"/>
              </a:buClr>
              <a:buFont typeface="Wingdings" panose="05000000000000000000" pitchFamily="2" charset="2"/>
              <a:buChar char="ü"/>
            </a:pPr>
            <a:r>
              <a:rPr lang="pt-BR" altLang="pt-BR" sz="3000"/>
              <a:t>Consultores de TI;</a:t>
            </a:r>
          </a:p>
          <a:p>
            <a:pPr>
              <a:lnSpc>
                <a:spcPct val="80000"/>
              </a:lnSpc>
              <a:buClr>
                <a:srgbClr val="FF0000"/>
              </a:buClr>
              <a:buFont typeface="Wingdings" panose="05000000000000000000" pitchFamily="2" charset="2"/>
              <a:buChar char="ü"/>
            </a:pPr>
            <a:r>
              <a:rPr lang="pt-BR" altLang="pt-BR" sz="3000"/>
              <a:t>Experts em desenvolvimento de propostas.</a:t>
            </a:r>
          </a:p>
          <a:p>
            <a:pPr>
              <a:lnSpc>
                <a:spcPct val="80000"/>
              </a:lnSpc>
            </a:pPr>
            <a:endParaRPr lang="pt-BR" altLang="pt-BR" sz="3000">
              <a:solidFill>
                <a:schemeClr val="bg1"/>
              </a:solidFill>
            </a:endParaRPr>
          </a:p>
        </p:txBody>
      </p:sp>
      <p:sp>
        <p:nvSpPr>
          <p:cNvPr id="497668" name="Rectangle 4"/>
          <p:cNvSpPr>
            <a:spLocks noChangeArrowheads="1"/>
          </p:cNvSpPr>
          <p:nvPr/>
        </p:nvSpPr>
        <p:spPr bwMode="auto">
          <a:xfrm>
            <a:off x="592932" y="1416845"/>
            <a:ext cx="10077313" cy="599110"/>
          </a:xfrm>
          <a:prstGeom prst="rect">
            <a:avLst/>
          </a:prstGeom>
          <a:noFill/>
          <a:ln>
            <a:noFill/>
          </a:ln>
          <a:effectLst/>
        </p:spPr>
        <p:txBody>
          <a:bodyPr wrap="none" lIns="136145" tIns="68058" rIns="136145" bIns="68058">
            <a:spAutoFit/>
          </a:bodyPr>
          <a:lstStyle/>
          <a:p>
            <a:pPr>
              <a:defRPr/>
            </a:pPr>
            <a:r>
              <a:rPr lang="pt-BR" sz="3000" dirty="0">
                <a:solidFill>
                  <a:srgbClr val="800000"/>
                </a:solidFill>
                <a:effectLst>
                  <a:outerShdw blurRad="38100" dist="38100" dir="2700000" algn="tl">
                    <a:srgbClr val="C0C0C0"/>
                  </a:outerShdw>
                </a:effectLst>
              </a:rPr>
              <a:t>Cargos comuns em um escritório de projetos estruturado:</a:t>
            </a:r>
          </a:p>
        </p:txBody>
      </p:sp>
      <p:pic>
        <p:nvPicPr>
          <p:cNvPr id="497669" name="Picture 5" descr="blup_aviao_pe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89369" y="2767236"/>
            <a:ext cx="2747963" cy="421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11656624"/>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497669"/>
                                        </p:tgtEl>
                                        <p:attrNameLst>
                                          <p:attrName>style.visibility</p:attrName>
                                        </p:attrNameLst>
                                      </p:cBhvr>
                                      <p:to>
                                        <p:strVal val="visible"/>
                                      </p:to>
                                    </p:set>
                                    <p:anim calcmode="lin" valueType="num">
                                      <p:cBhvr additive="base">
                                        <p:cTn id="7" dur="500" fill="hold"/>
                                        <p:tgtEl>
                                          <p:spTgt spid="497669"/>
                                        </p:tgtEl>
                                        <p:attrNameLst>
                                          <p:attrName>ppt_x</p:attrName>
                                        </p:attrNameLst>
                                      </p:cBhvr>
                                      <p:tavLst>
                                        <p:tav tm="0">
                                          <p:val>
                                            <p:strVal val="0-#ppt_w/2"/>
                                          </p:val>
                                        </p:tav>
                                        <p:tav tm="100000">
                                          <p:val>
                                            <p:strVal val="#ppt_x"/>
                                          </p:val>
                                        </p:tav>
                                      </p:tavLst>
                                    </p:anim>
                                    <p:anim calcmode="lin" valueType="num">
                                      <p:cBhvr additive="base">
                                        <p:cTn id="8" dur="500" fill="hold"/>
                                        <p:tgtEl>
                                          <p:spTgt spid="4976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Imagem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903140"/>
            <a:ext cx="12766063" cy="774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41"/>
          <p:cNvSpPr txBox="1">
            <a:spLocks noChangeArrowheads="1"/>
          </p:cNvSpPr>
          <p:nvPr/>
        </p:nvSpPr>
        <p:spPr bwMode="auto">
          <a:xfrm>
            <a:off x="0" y="0"/>
            <a:ext cx="13363575" cy="800100"/>
          </a:xfrm>
          <a:prstGeom prst="rect">
            <a:avLst/>
          </a:prstGeom>
          <a:noFill/>
        </p:spPr>
        <p:txBody>
          <a:bodyPr lIns="136145" tIns="68058" rIns="136145" bIns="68058"/>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a:defRPr/>
            </a:pPr>
            <a:r>
              <a:rPr lang="pt-BR" sz="4200" kern="0" dirty="0">
                <a:solidFill>
                  <a:schemeClr val="tx1"/>
                </a:solidFill>
                <a:latin typeface="Calibri" panose="020F0502020204030204" pitchFamily="34" charset="0"/>
              </a:rPr>
              <a:t>Exemplo de um PMO estruturado - TI</a:t>
            </a:r>
            <a:endParaRPr lang="en-US" sz="4200" kern="0" dirty="0">
              <a:solidFill>
                <a:schemeClr val="tx1"/>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1508467475"/>
      </p:ext>
    </p:extLst>
  </p:cSld>
  <p:clrMapOvr>
    <a:masterClrMapping/>
  </p:clrMapOvr>
  <p:transition>
    <p:strips dir="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bwMode="auto">
          <a:xfrm>
            <a:off x="376238" y="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dirty="0">
                <a:solidFill>
                  <a:schemeClr val="tx1"/>
                </a:solidFill>
              </a:rPr>
              <a:t>Métricas: principais atributos</a:t>
            </a:r>
          </a:p>
        </p:txBody>
      </p:sp>
      <p:sp>
        <p:nvSpPr>
          <p:cNvPr id="48131" name="Rectangle 3"/>
          <p:cNvSpPr>
            <a:spLocks noGrp="1" noChangeArrowheads="1"/>
          </p:cNvSpPr>
          <p:nvPr>
            <p:ph type="body" idx="4294967295"/>
          </p:nvPr>
        </p:nvSpPr>
        <p:spPr>
          <a:xfrm>
            <a:off x="557213" y="1466851"/>
            <a:ext cx="12782550" cy="6788945"/>
          </a:xfrm>
          <a:prstGeom prst="rect">
            <a:avLst/>
          </a:prstGeom>
        </p:spPr>
        <p:txBody>
          <a:bodyPr/>
          <a:lstStyle/>
          <a:p>
            <a:pPr>
              <a:buClr>
                <a:srgbClr val="FF0000"/>
              </a:buClr>
              <a:buFont typeface="Wingdings" panose="05000000000000000000" pitchFamily="2" charset="2"/>
              <a:buChar char="ü"/>
            </a:pPr>
            <a:r>
              <a:rPr lang="pt-BR" altLang="pt-BR"/>
              <a:t>Aderentes ao perfil dos projetos da organização; </a:t>
            </a:r>
          </a:p>
          <a:p>
            <a:pPr>
              <a:buClr>
                <a:srgbClr val="FF0000"/>
              </a:buClr>
              <a:buFont typeface="Wingdings" panose="05000000000000000000" pitchFamily="2" charset="2"/>
              <a:buChar char="ü"/>
            </a:pPr>
            <a:r>
              <a:rPr lang="pt-BR" altLang="pt-BR"/>
              <a:t>Que reflitam realismo;</a:t>
            </a:r>
          </a:p>
          <a:p>
            <a:pPr>
              <a:buClr>
                <a:srgbClr val="FF0000"/>
              </a:buClr>
              <a:buFont typeface="Wingdings" panose="05000000000000000000" pitchFamily="2" charset="2"/>
              <a:buChar char="ü"/>
            </a:pPr>
            <a:r>
              <a:rPr lang="pt-BR" altLang="pt-BR"/>
              <a:t>Simplicidade de coleta;</a:t>
            </a:r>
          </a:p>
          <a:p>
            <a:pPr>
              <a:buClr>
                <a:srgbClr val="FF0000"/>
              </a:buClr>
              <a:buFont typeface="Wingdings" panose="05000000000000000000" pitchFamily="2" charset="2"/>
              <a:buChar char="ü"/>
            </a:pPr>
            <a:r>
              <a:rPr lang="pt-BR" altLang="pt-BR"/>
              <a:t>Uso inteligente de técnicas (Curva S, Valor Agregado);</a:t>
            </a:r>
          </a:p>
          <a:p>
            <a:pPr>
              <a:buClr>
                <a:srgbClr val="FF0000"/>
              </a:buClr>
              <a:buFont typeface="Wingdings" panose="05000000000000000000" pitchFamily="2" charset="2"/>
              <a:buChar char="ü"/>
            </a:pPr>
            <a:r>
              <a:rPr lang="pt-BR" altLang="pt-BR"/>
              <a:t>Revisão sistemática das mesmas;</a:t>
            </a:r>
          </a:p>
          <a:p>
            <a:pPr>
              <a:buClr>
                <a:srgbClr val="FF0000"/>
              </a:buClr>
              <a:buFont typeface="Wingdings" panose="05000000000000000000" pitchFamily="2" charset="2"/>
              <a:buChar char="ü"/>
            </a:pPr>
            <a:r>
              <a:rPr lang="pt-BR" altLang="pt-BR"/>
              <a:t>Divulgação ampla na organização;</a:t>
            </a:r>
          </a:p>
          <a:p>
            <a:pPr>
              <a:buClr>
                <a:srgbClr val="FF0000"/>
              </a:buClr>
              <a:buFont typeface="Wingdings" panose="05000000000000000000" pitchFamily="2" charset="2"/>
              <a:buChar char="ü"/>
            </a:pPr>
            <a:r>
              <a:rPr lang="pt-BR" altLang="pt-BR" b="1"/>
              <a:t>Metodologia: com instruções referentes a coleta das informações</a:t>
            </a:r>
            <a:r>
              <a:rPr lang="pt-BR" altLang="pt-BR"/>
              <a:t>.</a:t>
            </a:r>
          </a:p>
        </p:txBody>
      </p:sp>
      <p:grpSp>
        <p:nvGrpSpPr>
          <p:cNvPr id="48132" name="Group 5"/>
          <p:cNvGrpSpPr>
            <a:grpSpLocks noChangeAspect="1"/>
          </p:cNvGrpSpPr>
          <p:nvPr/>
        </p:nvGrpSpPr>
        <p:grpSpPr bwMode="auto">
          <a:xfrm>
            <a:off x="10367963" y="6655595"/>
            <a:ext cx="2790825" cy="2705100"/>
            <a:chOff x="4797" y="2885"/>
            <a:chExt cx="832" cy="744"/>
          </a:xfrm>
        </p:grpSpPr>
        <p:sp>
          <p:nvSpPr>
            <p:cNvPr id="48133" name="AutoShape 6"/>
            <p:cNvSpPr>
              <a:spLocks noChangeAspect="1" noChangeArrowheads="1" noTextEdit="1"/>
            </p:cNvSpPr>
            <p:nvPr/>
          </p:nvSpPr>
          <p:spPr bwMode="auto">
            <a:xfrm>
              <a:off x="4797" y="2885"/>
              <a:ext cx="832" cy="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nvGrpSpPr>
            <p:cNvPr id="48134" name="Group 7"/>
            <p:cNvGrpSpPr>
              <a:grpSpLocks/>
            </p:cNvGrpSpPr>
            <p:nvPr/>
          </p:nvGrpSpPr>
          <p:grpSpPr bwMode="auto">
            <a:xfrm>
              <a:off x="4801" y="2885"/>
              <a:ext cx="824" cy="425"/>
              <a:chOff x="4801" y="2885"/>
              <a:chExt cx="824" cy="425"/>
            </a:xfrm>
          </p:grpSpPr>
          <p:sp>
            <p:nvSpPr>
              <p:cNvPr id="48172" name="Freeform 8"/>
              <p:cNvSpPr>
                <a:spLocks/>
              </p:cNvSpPr>
              <p:nvPr/>
            </p:nvSpPr>
            <p:spPr bwMode="auto">
              <a:xfrm>
                <a:off x="4801" y="2906"/>
                <a:ext cx="21" cy="402"/>
              </a:xfrm>
              <a:custGeom>
                <a:avLst/>
                <a:gdLst>
                  <a:gd name="T0" fmla="*/ 0 w 62"/>
                  <a:gd name="T1" fmla="*/ 0 h 1208"/>
                  <a:gd name="T2" fmla="*/ 0 w 62"/>
                  <a:gd name="T3" fmla="*/ 0 h 1208"/>
                  <a:gd name="T4" fmla="*/ 0 w 62"/>
                  <a:gd name="T5" fmla="*/ 0 h 1208"/>
                  <a:gd name="T6" fmla="*/ 0 w 62"/>
                  <a:gd name="T7" fmla="*/ 0 h 1208"/>
                  <a:gd name="T8" fmla="*/ 0 w 62"/>
                  <a:gd name="T9" fmla="*/ 0 h 1208"/>
                  <a:gd name="T10" fmla="*/ 0 w 62"/>
                  <a:gd name="T11" fmla="*/ 0 h 1208"/>
                  <a:gd name="T12" fmla="*/ 0 w 62"/>
                  <a:gd name="T13" fmla="*/ 0 h 1208"/>
                  <a:gd name="T14" fmla="*/ 0 w 62"/>
                  <a:gd name="T15" fmla="*/ 0 h 1208"/>
                  <a:gd name="T16" fmla="*/ 0 w 62"/>
                  <a:gd name="T17" fmla="*/ 0 h 1208"/>
                  <a:gd name="T18" fmla="*/ 0 w 62"/>
                  <a:gd name="T19" fmla="*/ 0 h 1208"/>
                  <a:gd name="T20" fmla="*/ 0 w 62"/>
                  <a:gd name="T21" fmla="*/ 0 h 1208"/>
                  <a:gd name="T22" fmla="*/ 0 w 62"/>
                  <a:gd name="T23" fmla="*/ 0 h 1208"/>
                  <a:gd name="T24" fmla="*/ 0 w 62"/>
                  <a:gd name="T25" fmla="*/ 0 h 12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1208"/>
                  <a:gd name="T41" fmla="*/ 62 w 62"/>
                  <a:gd name="T42" fmla="*/ 1208 h 12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1208">
                    <a:moveTo>
                      <a:pt x="21" y="1178"/>
                    </a:moveTo>
                    <a:lnTo>
                      <a:pt x="0" y="452"/>
                    </a:lnTo>
                    <a:lnTo>
                      <a:pt x="0" y="0"/>
                    </a:lnTo>
                    <a:lnTo>
                      <a:pt x="25" y="0"/>
                    </a:lnTo>
                    <a:lnTo>
                      <a:pt x="38" y="23"/>
                    </a:lnTo>
                    <a:lnTo>
                      <a:pt x="25" y="187"/>
                    </a:lnTo>
                    <a:lnTo>
                      <a:pt x="29" y="359"/>
                    </a:lnTo>
                    <a:lnTo>
                      <a:pt x="42" y="569"/>
                    </a:lnTo>
                    <a:lnTo>
                      <a:pt x="50" y="826"/>
                    </a:lnTo>
                    <a:lnTo>
                      <a:pt x="50" y="1067"/>
                    </a:lnTo>
                    <a:lnTo>
                      <a:pt x="62" y="1185"/>
                    </a:lnTo>
                    <a:lnTo>
                      <a:pt x="38" y="1208"/>
                    </a:lnTo>
                    <a:lnTo>
                      <a:pt x="21" y="117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3" name="Freeform 9"/>
              <p:cNvSpPr>
                <a:spLocks/>
              </p:cNvSpPr>
              <p:nvPr/>
            </p:nvSpPr>
            <p:spPr bwMode="auto">
              <a:xfrm>
                <a:off x="4922" y="2901"/>
                <a:ext cx="21" cy="403"/>
              </a:xfrm>
              <a:custGeom>
                <a:avLst/>
                <a:gdLst>
                  <a:gd name="T0" fmla="*/ 0 w 62"/>
                  <a:gd name="T1" fmla="*/ 0 h 1209"/>
                  <a:gd name="T2" fmla="*/ 0 w 62"/>
                  <a:gd name="T3" fmla="*/ 0 h 1209"/>
                  <a:gd name="T4" fmla="*/ 0 w 62"/>
                  <a:gd name="T5" fmla="*/ 0 h 1209"/>
                  <a:gd name="T6" fmla="*/ 0 w 62"/>
                  <a:gd name="T7" fmla="*/ 0 h 1209"/>
                  <a:gd name="T8" fmla="*/ 0 w 62"/>
                  <a:gd name="T9" fmla="*/ 0 h 1209"/>
                  <a:gd name="T10" fmla="*/ 0 w 62"/>
                  <a:gd name="T11" fmla="*/ 0 h 1209"/>
                  <a:gd name="T12" fmla="*/ 0 w 62"/>
                  <a:gd name="T13" fmla="*/ 0 h 1209"/>
                  <a:gd name="T14" fmla="*/ 0 w 62"/>
                  <a:gd name="T15" fmla="*/ 0 h 1209"/>
                  <a:gd name="T16" fmla="*/ 0 w 62"/>
                  <a:gd name="T17" fmla="*/ 0 h 1209"/>
                  <a:gd name="T18" fmla="*/ 0 w 62"/>
                  <a:gd name="T19" fmla="*/ 0 h 1209"/>
                  <a:gd name="T20" fmla="*/ 0 w 62"/>
                  <a:gd name="T21" fmla="*/ 0 h 1209"/>
                  <a:gd name="T22" fmla="*/ 0 w 62"/>
                  <a:gd name="T23" fmla="*/ 0 h 1209"/>
                  <a:gd name="T24" fmla="*/ 0 w 62"/>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1209"/>
                  <a:gd name="T41" fmla="*/ 62 w 62"/>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1209">
                    <a:moveTo>
                      <a:pt x="20" y="1179"/>
                    </a:moveTo>
                    <a:lnTo>
                      <a:pt x="0" y="451"/>
                    </a:lnTo>
                    <a:lnTo>
                      <a:pt x="0" y="0"/>
                    </a:lnTo>
                    <a:lnTo>
                      <a:pt x="24" y="0"/>
                    </a:lnTo>
                    <a:lnTo>
                      <a:pt x="37" y="22"/>
                    </a:lnTo>
                    <a:lnTo>
                      <a:pt x="24" y="187"/>
                    </a:lnTo>
                    <a:lnTo>
                      <a:pt x="28" y="358"/>
                    </a:lnTo>
                    <a:lnTo>
                      <a:pt x="41" y="568"/>
                    </a:lnTo>
                    <a:lnTo>
                      <a:pt x="49" y="827"/>
                    </a:lnTo>
                    <a:lnTo>
                      <a:pt x="49" y="1068"/>
                    </a:lnTo>
                    <a:lnTo>
                      <a:pt x="62" y="1186"/>
                    </a:lnTo>
                    <a:lnTo>
                      <a:pt x="37"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4" name="Freeform 10"/>
              <p:cNvSpPr>
                <a:spLocks/>
              </p:cNvSpPr>
              <p:nvPr/>
            </p:nvSpPr>
            <p:spPr bwMode="auto">
              <a:xfrm>
                <a:off x="5042" y="2890"/>
                <a:ext cx="20" cy="403"/>
              </a:xfrm>
              <a:custGeom>
                <a:avLst/>
                <a:gdLst>
                  <a:gd name="T0" fmla="*/ 0 w 61"/>
                  <a:gd name="T1" fmla="*/ 0 h 1209"/>
                  <a:gd name="T2" fmla="*/ 0 w 61"/>
                  <a:gd name="T3" fmla="*/ 0 h 1209"/>
                  <a:gd name="T4" fmla="*/ 0 w 61"/>
                  <a:gd name="T5" fmla="*/ 0 h 1209"/>
                  <a:gd name="T6" fmla="*/ 0 w 61"/>
                  <a:gd name="T7" fmla="*/ 0 h 1209"/>
                  <a:gd name="T8" fmla="*/ 0 w 61"/>
                  <a:gd name="T9" fmla="*/ 0 h 1209"/>
                  <a:gd name="T10" fmla="*/ 0 w 61"/>
                  <a:gd name="T11" fmla="*/ 0 h 1209"/>
                  <a:gd name="T12" fmla="*/ 0 w 61"/>
                  <a:gd name="T13" fmla="*/ 0 h 1209"/>
                  <a:gd name="T14" fmla="*/ 0 w 61"/>
                  <a:gd name="T15" fmla="*/ 0 h 1209"/>
                  <a:gd name="T16" fmla="*/ 0 w 61"/>
                  <a:gd name="T17" fmla="*/ 0 h 1209"/>
                  <a:gd name="T18" fmla="*/ 0 w 61"/>
                  <a:gd name="T19" fmla="*/ 0 h 1209"/>
                  <a:gd name="T20" fmla="*/ 0 w 61"/>
                  <a:gd name="T21" fmla="*/ 0 h 1209"/>
                  <a:gd name="T22" fmla="*/ 0 w 61"/>
                  <a:gd name="T23" fmla="*/ 0 h 1209"/>
                  <a:gd name="T24" fmla="*/ 0 w 61"/>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209"/>
                  <a:gd name="T41" fmla="*/ 61 w 61"/>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209">
                    <a:moveTo>
                      <a:pt x="20" y="1179"/>
                    </a:moveTo>
                    <a:lnTo>
                      <a:pt x="0" y="451"/>
                    </a:lnTo>
                    <a:lnTo>
                      <a:pt x="0" y="0"/>
                    </a:lnTo>
                    <a:lnTo>
                      <a:pt x="24" y="0"/>
                    </a:lnTo>
                    <a:lnTo>
                      <a:pt x="36" y="23"/>
                    </a:lnTo>
                    <a:lnTo>
                      <a:pt x="24" y="187"/>
                    </a:lnTo>
                    <a:lnTo>
                      <a:pt x="28" y="358"/>
                    </a:lnTo>
                    <a:lnTo>
                      <a:pt x="40" y="569"/>
                    </a:lnTo>
                    <a:lnTo>
                      <a:pt x="49" y="827"/>
                    </a:lnTo>
                    <a:lnTo>
                      <a:pt x="49" y="1069"/>
                    </a:lnTo>
                    <a:lnTo>
                      <a:pt x="61" y="1186"/>
                    </a:lnTo>
                    <a:lnTo>
                      <a:pt x="36"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5" name="Freeform 11"/>
              <p:cNvSpPr>
                <a:spLocks/>
              </p:cNvSpPr>
              <p:nvPr/>
            </p:nvSpPr>
            <p:spPr bwMode="auto">
              <a:xfrm>
                <a:off x="5160" y="2885"/>
                <a:ext cx="21" cy="403"/>
              </a:xfrm>
              <a:custGeom>
                <a:avLst/>
                <a:gdLst>
                  <a:gd name="T0" fmla="*/ 0 w 61"/>
                  <a:gd name="T1" fmla="*/ 0 h 1209"/>
                  <a:gd name="T2" fmla="*/ 0 w 61"/>
                  <a:gd name="T3" fmla="*/ 0 h 1209"/>
                  <a:gd name="T4" fmla="*/ 0 w 61"/>
                  <a:gd name="T5" fmla="*/ 0 h 1209"/>
                  <a:gd name="T6" fmla="*/ 0 w 61"/>
                  <a:gd name="T7" fmla="*/ 0 h 1209"/>
                  <a:gd name="T8" fmla="*/ 0 w 61"/>
                  <a:gd name="T9" fmla="*/ 0 h 1209"/>
                  <a:gd name="T10" fmla="*/ 0 w 61"/>
                  <a:gd name="T11" fmla="*/ 0 h 1209"/>
                  <a:gd name="T12" fmla="*/ 0 w 61"/>
                  <a:gd name="T13" fmla="*/ 0 h 1209"/>
                  <a:gd name="T14" fmla="*/ 0 w 61"/>
                  <a:gd name="T15" fmla="*/ 0 h 1209"/>
                  <a:gd name="T16" fmla="*/ 0 w 61"/>
                  <a:gd name="T17" fmla="*/ 0 h 1209"/>
                  <a:gd name="T18" fmla="*/ 0 w 61"/>
                  <a:gd name="T19" fmla="*/ 0 h 1209"/>
                  <a:gd name="T20" fmla="*/ 0 w 61"/>
                  <a:gd name="T21" fmla="*/ 0 h 1209"/>
                  <a:gd name="T22" fmla="*/ 0 w 61"/>
                  <a:gd name="T23" fmla="*/ 0 h 1209"/>
                  <a:gd name="T24" fmla="*/ 0 w 61"/>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209"/>
                  <a:gd name="T41" fmla="*/ 61 w 61"/>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209">
                    <a:moveTo>
                      <a:pt x="21" y="1180"/>
                    </a:moveTo>
                    <a:lnTo>
                      <a:pt x="0" y="452"/>
                    </a:lnTo>
                    <a:lnTo>
                      <a:pt x="0" y="0"/>
                    </a:lnTo>
                    <a:lnTo>
                      <a:pt x="25" y="0"/>
                    </a:lnTo>
                    <a:lnTo>
                      <a:pt x="37" y="23"/>
                    </a:lnTo>
                    <a:lnTo>
                      <a:pt x="25" y="188"/>
                    </a:lnTo>
                    <a:lnTo>
                      <a:pt x="29" y="359"/>
                    </a:lnTo>
                    <a:lnTo>
                      <a:pt x="41" y="569"/>
                    </a:lnTo>
                    <a:lnTo>
                      <a:pt x="49" y="828"/>
                    </a:lnTo>
                    <a:lnTo>
                      <a:pt x="49" y="1069"/>
                    </a:lnTo>
                    <a:lnTo>
                      <a:pt x="61" y="1186"/>
                    </a:lnTo>
                    <a:lnTo>
                      <a:pt x="37" y="1209"/>
                    </a:lnTo>
                    <a:lnTo>
                      <a:pt x="21" y="118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6" name="Freeform 12"/>
              <p:cNvSpPr>
                <a:spLocks/>
              </p:cNvSpPr>
              <p:nvPr/>
            </p:nvSpPr>
            <p:spPr bwMode="auto">
              <a:xfrm>
                <a:off x="5271" y="2895"/>
                <a:ext cx="21" cy="403"/>
              </a:xfrm>
              <a:custGeom>
                <a:avLst/>
                <a:gdLst>
                  <a:gd name="T0" fmla="*/ 0 w 61"/>
                  <a:gd name="T1" fmla="*/ 0 h 1209"/>
                  <a:gd name="T2" fmla="*/ 0 w 61"/>
                  <a:gd name="T3" fmla="*/ 0 h 1209"/>
                  <a:gd name="T4" fmla="*/ 0 w 61"/>
                  <a:gd name="T5" fmla="*/ 0 h 1209"/>
                  <a:gd name="T6" fmla="*/ 0 w 61"/>
                  <a:gd name="T7" fmla="*/ 0 h 1209"/>
                  <a:gd name="T8" fmla="*/ 0 w 61"/>
                  <a:gd name="T9" fmla="*/ 0 h 1209"/>
                  <a:gd name="T10" fmla="*/ 0 w 61"/>
                  <a:gd name="T11" fmla="*/ 0 h 1209"/>
                  <a:gd name="T12" fmla="*/ 0 w 61"/>
                  <a:gd name="T13" fmla="*/ 0 h 1209"/>
                  <a:gd name="T14" fmla="*/ 0 w 61"/>
                  <a:gd name="T15" fmla="*/ 0 h 1209"/>
                  <a:gd name="T16" fmla="*/ 0 w 61"/>
                  <a:gd name="T17" fmla="*/ 0 h 1209"/>
                  <a:gd name="T18" fmla="*/ 0 w 61"/>
                  <a:gd name="T19" fmla="*/ 0 h 1209"/>
                  <a:gd name="T20" fmla="*/ 0 w 61"/>
                  <a:gd name="T21" fmla="*/ 0 h 1209"/>
                  <a:gd name="T22" fmla="*/ 0 w 61"/>
                  <a:gd name="T23" fmla="*/ 0 h 1209"/>
                  <a:gd name="T24" fmla="*/ 0 w 61"/>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209"/>
                  <a:gd name="T41" fmla="*/ 61 w 61"/>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209">
                    <a:moveTo>
                      <a:pt x="20" y="1179"/>
                    </a:moveTo>
                    <a:lnTo>
                      <a:pt x="0" y="452"/>
                    </a:lnTo>
                    <a:lnTo>
                      <a:pt x="0" y="0"/>
                    </a:lnTo>
                    <a:lnTo>
                      <a:pt x="24" y="0"/>
                    </a:lnTo>
                    <a:lnTo>
                      <a:pt x="36" y="23"/>
                    </a:lnTo>
                    <a:lnTo>
                      <a:pt x="24" y="187"/>
                    </a:lnTo>
                    <a:lnTo>
                      <a:pt x="28" y="359"/>
                    </a:lnTo>
                    <a:lnTo>
                      <a:pt x="40" y="569"/>
                    </a:lnTo>
                    <a:lnTo>
                      <a:pt x="48" y="828"/>
                    </a:lnTo>
                    <a:lnTo>
                      <a:pt x="48" y="1069"/>
                    </a:lnTo>
                    <a:lnTo>
                      <a:pt x="61" y="1186"/>
                    </a:lnTo>
                    <a:lnTo>
                      <a:pt x="36"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7" name="Freeform 13"/>
              <p:cNvSpPr>
                <a:spLocks/>
              </p:cNvSpPr>
              <p:nvPr/>
            </p:nvSpPr>
            <p:spPr bwMode="auto">
              <a:xfrm>
                <a:off x="5372" y="2898"/>
                <a:ext cx="21" cy="403"/>
              </a:xfrm>
              <a:custGeom>
                <a:avLst/>
                <a:gdLst>
                  <a:gd name="T0" fmla="*/ 0 w 61"/>
                  <a:gd name="T1" fmla="*/ 0 h 1209"/>
                  <a:gd name="T2" fmla="*/ 0 w 61"/>
                  <a:gd name="T3" fmla="*/ 0 h 1209"/>
                  <a:gd name="T4" fmla="*/ 0 w 61"/>
                  <a:gd name="T5" fmla="*/ 0 h 1209"/>
                  <a:gd name="T6" fmla="*/ 0 w 61"/>
                  <a:gd name="T7" fmla="*/ 0 h 1209"/>
                  <a:gd name="T8" fmla="*/ 0 w 61"/>
                  <a:gd name="T9" fmla="*/ 0 h 1209"/>
                  <a:gd name="T10" fmla="*/ 0 w 61"/>
                  <a:gd name="T11" fmla="*/ 0 h 1209"/>
                  <a:gd name="T12" fmla="*/ 0 w 61"/>
                  <a:gd name="T13" fmla="*/ 0 h 1209"/>
                  <a:gd name="T14" fmla="*/ 0 w 61"/>
                  <a:gd name="T15" fmla="*/ 0 h 1209"/>
                  <a:gd name="T16" fmla="*/ 0 w 61"/>
                  <a:gd name="T17" fmla="*/ 0 h 1209"/>
                  <a:gd name="T18" fmla="*/ 0 w 61"/>
                  <a:gd name="T19" fmla="*/ 0 h 1209"/>
                  <a:gd name="T20" fmla="*/ 0 w 61"/>
                  <a:gd name="T21" fmla="*/ 0 h 1209"/>
                  <a:gd name="T22" fmla="*/ 0 w 61"/>
                  <a:gd name="T23" fmla="*/ 0 h 1209"/>
                  <a:gd name="T24" fmla="*/ 0 w 61"/>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209"/>
                  <a:gd name="T41" fmla="*/ 61 w 61"/>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209">
                    <a:moveTo>
                      <a:pt x="20" y="1179"/>
                    </a:moveTo>
                    <a:lnTo>
                      <a:pt x="0" y="451"/>
                    </a:lnTo>
                    <a:lnTo>
                      <a:pt x="0" y="0"/>
                    </a:lnTo>
                    <a:lnTo>
                      <a:pt x="24" y="0"/>
                    </a:lnTo>
                    <a:lnTo>
                      <a:pt x="36" y="23"/>
                    </a:lnTo>
                    <a:lnTo>
                      <a:pt x="24" y="187"/>
                    </a:lnTo>
                    <a:lnTo>
                      <a:pt x="28" y="358"/>
                    </a:lnTo>
                    <a:lnTo>
                      <a:pt x="40" y="569"/>
                    </a:lnTo>
                    <a:lnTo>
                      <a:pt x="48" y="827"/>
                    </a:lnTo>
                    <a:lnTo>
                      <a:pt x="48" y="1069"/>
                    </a:lnTo>
                    <a:lnTo>
                      <a:pt x="61" y="1186"/>
                    </a:lnTo>
                    <a:lnTo>
                      <a:pt x="36"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8" name="Freeform 14"/>
              <p:cNvSpPr>
                <a:spLocks/>
              </p:cNvSpPr>
              <p:nvPr/>
            </p:nvSpPr>
            <p:spPr bwMode="auto">
              <a:xfrm>
                <a:off x="5478" y="2898"/>
                <a:ext cx="20" cy="403"/>
              </a:xfrm>
              <a:custGeom>
                <a:avLst/>
                <a:gdLst>
                  <a:gd name="T0" fmla="*/ 0 w 60"/>
                  <a:gd name="T1" fmla="*/ 0 h 1209"/>
                  <a:gd name="T2" fmla="*/ 0 w 60"/>
                  <a:gd name="T3" fmla="*/ 0 h 1209"/>
                  <a:gd name="T4" fmla="*/ 0 w 60"/>
                  <a:gd name="T5" fmla="*/ 0 h 1209"/>
                  <a:gd name="T6" fmla="*/ 0 w 60"/>
                  <a:gd name="T7" fmla="*/ 0 h 1209"/>
                  <a:gd name="T8" fmla="*/ 0 w 60"/>
                  <a:gd name="T9" fmla="*/ 0 h 1209"/>
                  <a:gd name="T10" fmla="*/ 0 w 60"/>
                  <a:gd name="T11" fmla="*/ 0 h 1209"/>
                  <a:gd name="T12" fmla="*/ 0 w 60"/>
                  <a:gd name="T13" fmla="*/ 0 h 1209"/>
                  <a:gd name="T14" fmla="*/ 0 w 60"/>
                  <a:gd name="T15" fmla="*/ 0 h 1209"/>
                  <a:gd name="T16" fmla="*/ 0 w 60"/>
                  <a:gd name="T17" fmla="*/ 0 h 1209"/>
                  <a:gd name="T18" fmla="*/ 0 w 60"/>
                  <a:gd name="T19" fmla="*/ 0 h 1209"/>
                  <a:gd name="T20" fmla="*/ 0 w 60"/>
                  <a:gd name="T21" fmla="*/ 0 h 1209"/>
                  <a:gd name="T22" fmla="*/ 0 w 60"/>
                  <a:gd name="T23" fmla="*/ 0 h 1209"/>
                  <a:gd name="T24" fmla="*/ 0 w 60"/>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1209"/>
                  <a:gd name="T41" fmla="*/ 60 w 60"/>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1209">
                    <a:moveTo>
                      <a:pt x="20" y="1179"/>
                    </a:moveTo>
                    <a:lnTo>
                      <a:pt x="0" y="451"/>
                    </a:lnTo>
                    <a:lnTo>
                      <a:pt x="0" y="0"/>
                    </a:lnTo>
                    <a:lnTo>
                      <a:pt x="24" y="0"/>
                    </a:lnTo>
                    <a:lnTo>
                      <a:pt x="36" y="23"/>
                    </a:lnTo>
                    <a:lnTo>
                      <a:pt x="24" y="187"/>
                    </a:lnTo>
                    <a:lnTo>
                      <a:pt x="28" y="358"/>
                    </a:lnTo>
                    <a:lnTo>
                      <a:pt x="40" y="569"/>
                    </a:lnTo>
                    <a:lnTo>
                      <a:pt x="48" y="827"/>
                    </a:lnTo>
                    <a:lnTo>
                      <a:pt x="48" y="1069"/>
                    </a:lnTo>
                    <a:lnTo>
                      <a:pt x="60" y="1186"/>
                    </a:lnTo>
                    <a:lnTo>
                      <a:pt x="36"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9" name="Freeform 15"/>
              <p:cNvSpPr>
                <a:spLocks/>
              </p:cNvSpPr>
              <p:nvPr/>
            </p:nvSpPr>
            <p:spPr bwMode="auto">
              <a:xfrm>
                <a:off x="5605" y="2907"/>
                <a:ext cx="20" cy="403"/>
              </a:xfrm>
              <a:custGeom>
                <a:avLst/>
                <a:gdLst>
                  <a:gd name="T0" fmla="*/ 0 w 61"/>
                  <a:gd name="T1" fmla="*/ 0 h 1209"/>
                  <a:gd name="T2" fmla="*/ 0 w 61"/>
                  <a:gd name="T3" fmla="*/ 0 h 1209"/>
                  <a:gd name="T4" fmla="*/ 0 w 61"/>
                  <a:gd name="T5" fmla="*/ 0 h 1209"/>
                  <a:gd name="T6" fmla="*/ 0 w 61"/>
                  <a:gd name="T7" fmla="*/ 0 h 1209"/>
                  <a:gd name="T8" fmla="*/ 0 w 61"/>
                  <a:gd name="T9" fmla="*/ 0 h 1209"/>
                  <a:gd name="T10" fmla="*/ 0 w 61"/>
                  <a:gd name="T11" fmla="*/ 0 h 1209"/>
                  <a:gd name="T12" fmla="*/ 0 w 61"/>
                  <a:gd name="T13" fmla="*/ 0 h 1209"/>
                  <a:gd name="T14" fmla="*/ 0 w 61"/>
                  <a:gd name="T15" fmla="*/ 0 h 1209"/>
                  <a:gd name="T16" fmla="*/ 0 w 61"/>
                  <a:gd name="T17" fmla="*/ 0 h 1209"/>
                  <a:gd name="T18" fmla="*/ 0 w 61"/>
                  <a:gd name="T19" fmla="*/ 0 h 1209"/>
                  <a:gd name="T20" fmla="*/ 0 w 61"/>
                  <a:gd name="T21" fmla="*/ 0 h 1209"/>
                  <a:gd name="T22" fmla="*/ 0 w 61"/>
                  <a:gd name="T23" fmla="*/ 0 h 1209"/>
                  <a:gd name="T24" fmla="*/ 0 w 61"/>
                  <a:gd name="T25" fmla="*/ 0 h 1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209"/>
                  <a:gd name="T41" fmla="*/ 61 w 61"/>
                  <a:gd name="T42" fmla="*/ 1209 h 1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209">
                    <a:moveTo>
                      <a:pt x="20" y="1179"/>
                    </a:moveTo>
                    <a:lnTo>
                      <a:pt x="0" y="451"/>
                    </a:lnTo>
                    <a:lnTo>
                      <a:pt x="0" y="0"/>
                    </a:lnTo>
                    <a:lnTo>
                      <a:pt x="25" y="0"/>
                    </a:lnTo>
                    <a:lnTo>
                      <a:pt x="37" y="23"/>
                    </a:lnTo>
                    <a:lnTo>
                      <a:pt x="25" y="187"/>
                    </a:lnTo>
                    <a:lnTo>
                      <a:pt x="29" y="358"/>
                    </a:lnTo>
                    <a:lnTo>
                      <a:pt x="41" y="568"/>
                    </a:lnTo>
                    <a:lnTo>
                      <a:pt x="49" y="827"/>
                    </a:lnTo>
                    <a:lnTo>
                      <a:pt x="49" y="1069"/>
                    </a:lnTo>
                    <a:lnTo>
                      <a:pt x="61" y="1186"/>
                    </a:lnTo>
                    <a:lnTo>
                      <a:pt x="37" y="1209"/>
                    </a:lnTo>
                    <a:lnTo>
                      <a:pt x="20" y="117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grpSp>
        <p:sp>
          <p:nvSpPr>
            <p:cNvPr id="48135" name="Freeform 16"/>
            <p:cNvSpPr>
              <a:spLocks/>
            </p:cNvSpPr>
            <p:nvPr/>
          </p:nvSpPr>
          <p:spPr bwMode="auto">
            <a:xfrm>
              <a:off x="4805" y="2984"/>
              <a:ext cx="212" cy="69"/>
            </a:xfrm>
            <a:custGeom>
              <a:avLst/>
              <a:gdLst>
                <a:gd name="T0" fmla="*/ 0 w 638"/>
                <a:gd name="T1" fmla="*/ 0 h 206"/>
                <a:gd name="T2" fmla="*/ 0 w 638"/>
                <a:gd name="T3" fmla="*/ 0 h 206"/>
                <a:gd name="T4" fmla="*/ 0 w 638"/>
                <a:gd name="T5" fmla="*/ 0 h 206"/>
                <a:gd name="T6" fmla="*/ 0 w 638"/>
                <a:gd name="T7" fmla="*/ 0 h 206"/>
                <a:gd name="T8" fmla="*/ 0 w 638"/>
                <a:gd name="T9" fmla="*/ 0 h 206"/>
                <a:gd name="T10" fmla="*/ 0 w 638"/>
                <a:gd name="T11" fmla="*/ 0 h 206"/>
                <a:gd name="T12" fmla="*/ 0 w 638"/>
                <a:gd name="T13" fmla="*/ 0 h 206"/>
                <a:gd name="T14" fmla="*/ 0 w 638"/>
                <a:gd name="T15" fmla="*/ 0 h 206"/>
                <a:gd name="T16" fmla="*/ 0 w 638"/>
                <a:gd name="T17" fmla="*/ 0 h 206"/>
                <a:gd name="T18" fmla="*/ 0 w 638"/>
                <a:gd name="T19" fmla="*/ 0 h 2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8"/>
                <a:gd name="T31" fmla="*/ 0 h 206"/>
                <a:gd name="T32" fmla="*/ 638 w 638"/>
                <a:gd name="T33" fmla="*/ 206 h 2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8" h="206">
                  <a:moveTo>
                    <a:pt x="0" y="36"/>
                  </a:moveTo>
                  <a:lnTo>
                    <a:pt x="359" y="10"/>
                  </a:lnTo>
                  <a:lnTo>
                    <a:pt x="614" y="0"/>
                  </a:lnTo>
                  <a:lnTo>
                    <a:pt x="634" y="47"/>
                  </a:lnTo>
                  <a:lnTo>
                    <a:pt x="638" y="153"/>
                  </a:lnTo>
                  <a:lnTo>
                    <a:pt x="630" y="179"/>
                  </a:lnTo>
                  <a:lnTo>
                    <a:pt x="397" y="190"/>
                  </a:lnTo>
                  <a:lnTo>
                    <a:pt x="118" y="206"/>
                  </a:lnTo>
                  <a:lnTo>
                    <a:pt x="1" y="204"/>
                  </a:lnTo>
                  <a:lnTo>
                    <a:pt x="0" y="36"/>
                  </a:lnTo>
                  <a:close/>
                </a:path>
              </a:pathLst>
            </a:custGeom>
            <a:solidFill>
              <a:srgbClr val="A7E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36" name="Freeform 17"/>
            <p:cNvSpPr>
              <a:spLocks/>
            </p:cNvSpPr>
            <p:nvPr/>
          </p:nvSpPr>
          <p:spPr bwMode="auto">
            <a:xfrm>
              <a:off x="4798" y="2979"/>
              <a:ext cx="224" cy="78"/>
            </a:xfrm>
            <a:custGeom>
              <a:avLst/>
              <a:gdLst>
                <a:gd name="T0" fmla="*/ 0 w 672"/>
                <a:gd name="T1" fmla="*/ 0 h 234"/>
                <a:gd name="T2" fmla="*/ 0 w 672"/>
                <a:gd name="T3" fmla="*/ 0 h 234"/>
                <a:gd name="T4" fmla="*/ 0 w 672"/>
                <a:gd name="T5" fmla="*/ 0 h 234"/>
                <a:gd name="T6" fmla="*/ 0 w 672"/>
                <a:gd name="T7" fmla="*/ 0 h 234"/>
                <a:gd name="T8" fmla="*/ 0 w 672"/>
                <a:gd name="T9" fmla="*/ 0 h 234"/>
                <a:gd name="T10" fmla="*/ 0 w 672"/>
                <a:gd name="T11" fmla="*/ 0 h 234"/>
                <a:gd name="T12" fmla="*/ 0 w 672"/>
                <a:gd name="T13" fmla="*/ 0 h 234"/>
                <a:gd name="T14" fmla="*/ 0 w 672"/>
                <a:gd name="T15" fmla="*/ 0 h 234"/>
                <a:gd name="T16" fmla="*/ 0 w 672"/>
                <a:gd name="T17" fmla="*/ 0 h 234"/>
                <a:gd name="T18" fmla="*/ 0 w 672"/>
                <a:gd name="T19" fmla="*/ 0 h 234"/>
                <a:gd name="T20" fmla="*/ 0 w 672"/>
                <a:gd name="T21" fmla="*/ 0 h 234"/>
                <a:gd name="T22" fmla="*/ 0 w 672"/>
                <a:gd name="T23" fmla="*/ 0 h 234"/>
                <a:gd name="T24" fmla="*/ 0 w 672"/>
                <a:gd name="T25" fmla="*/ 0 h 234"/>
                <a:gd name="T26" fmla="*/ 0 w 672"/>
                <a:gd name="T27" fmla="*/ 0 h 234"/>
                <a:gd name="T28" fmla="*/ 0 w 672"/>
                <a:gd name="T29" fmla="*/ 0 h 234"/>
                <a:gd name="T30" fmla="*/ 0 w 672"/>
                <a:gd name="T31" fmla="*/ 0 h 234"/>
                <a:gd name="T32" fmla="*/ 0 w 672"/>
                <a:gd name="T33" fmla="*/ 0 h 234"/>
                <a:gd name="T34" fmla="*/ 0 w 672"/>
                <a:gd name="T35" fmla="*/ 0 h 234"/>
                <a:gd name="T36" fmla="*/ 0 w 672"/>
                <a:gd name="T37" fmla="*/ 0 h 234"/>
                <a:gd name="T38" fmla="*/ 0 w 672"/>
                <a:gd name="T39" fmla="*/ 0 h 234"/>
                <a:gd name="T40" fmla="*/ 0 w 672"/>
                <a:gd name="T41" fmla="*/ 0 h 234"/>
                <a:gd name="T42" fmla="*/ 0 w 672"/>
                <a:gd name="T43" fmla="*/ 0 h 234"/>
                <a:gd name="T44" fmla="*/ 0 w 672"/>
                <a:gd name="T45" fmla="*/ 0 h 234"/>
                <a:gd name="T46" fmla="*/ 0 w 672"/>
                <a:gd name="T47" fmla="*/ 0 h 234"/>
                <a:gd name="T48" fmla="*/ 0 w 672"/>
                <a:gd name="T49" fmla="*/ 0 h 234"/>
                <a:gd name="T50" fmla="*/ 0 w 672"/>
                <a:gd name="T51" fmla="*/ 0 h 234"/>
                <a:gd name="T52" fmla="*/ 0 w 672"/>
                <a:gd name="T53" fmla="*/ 0 h 234"/>
                <a:gd name="T54" fmla="*/ 0 w 672"/>
                <a:gd name="T55" fmla="*/ 0 h 234"/>
                <a:gd name="T56" fmla="*/ 0 w 672"/>
                <a:gd name="T57" fmla="*/ 0 h 2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2"/>
                <a:gd name="T88" fmla="*/ 0 h 234"/>
                <a:gd name="T89" fmla="*/ 672 w 672"/>
                <a:gd name="T90" fmla="*/ 234 h 23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2" h="234">
                  <a:moveTo>
                    <a:pt x="28" y="36"/>
                  </a:moveTo>
                  <a:lnTo>
                    <a:pt x="434" y="8"/>
                  </a:lnTo>
                  <a:lnTo>
                    <a:pt x="648" y="0"/>
                  </a:lnTo>
                  <a:lnTo>
                    <a:pt x="648" y="29"/>
                  </a:lnTo>
                  <a:lnTo>
                    <a:pt x="272" y="46"/>
                  </a:lnTo>
                  <a:lnTo>
                    <a:pt x="39" y="67"/>
                  </a:lnTo>
                  <a:lnTo>
                    <a:pt x="35" y="196"/>
                  </a:lnTo>
                  <a:lnTo>
                    <a:pt x="59" y="203"/>
                  </a:lnTo>
                  <a:lnTo>
                    <a:pt x="253" y="202"/>
                  </a:lnTo>
                  <a:lnTo>
                    <a:pt x="481" y="182"/>
                  </a:lnTo>
                  <a:lnTo>
                    <a:pt x="641" y="175"/>
                  </a:lnTo>
                  <a:lnTo>
                    <a:pt x="638" y="125"/>
                  </a:lnTo>
                  <a:lnTo>
                    <a:pt x="627" y="36"/>
                  </a:lnTo>
                  <a:lnTo>
                    <a:pt x="633" y="29"/>
                  </a:lnTo>
                  <a:lnTo>
                    <a:pt x="652" y="35"/>
                  </a:lnTo>
                  <a:lnTo>
                    <a:pt x="664" y="52"/>
                  </a:lnTo>
                  <a:lnTo>
                    <a:pt x="672" y="128"/>
                  </a:lnTo>
                  <a:lnTo>
                    <a:pt x="666" y="191"/>
                  </a:lnTo>
                  <a:lnTo>
                    <a:pt x="657" y="203"/>
                  </a:lnTo>
                  <a:lnTo>
                    <a:pt x="613" y="209"/>
                  </a:lnTo>
                  <a:lnTo>
                    <a:pt x="460" y="209"/>
                  </a:lnTo>
                  <a:lnTo>
                    <a:pt x="299" y="217"/>
                  </a:lnTo>
                  <a:lnTo>
                    <a:pt x="100" y="233"/>
                  </a:lnTo>
                  <a:lnTo>
                    <a:pt x="14" y="234"/>
                  </a:lnTo>
                  <a:lnTo>
                    <a:pt x="0" y="223"/>
                  </a:lnTo>
                  <a:lnTo>
                    <a:pt x="4" y="172"/>
                  </a:lnTo>
                  <a:lnTo>
                    <a:pt x="0" y="82"/>
                  </a:lnTo>
                  <a:lnTo>
                    <a:pt x="5" y="47"/>
                  </a:lnTo>
                  <a:lnTo>
                    <a:pt x="2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37" name="Freeform 18"/>
            <p:cNvSpPr>
              <a:spLocks/>
            </p:cNvSpPr>
            <p:nvPr/>
          </p:nvSpPr>
          <p:spPr bwMode="auto">
            <a:xfrm>
              <a:off x="4908" y="3085"/>
              <a:ext cx="251" cy="65"/>
            </a:xfrm>
            <a:custGeom>
              <a:avLst/>
              <a:gdLst>
                <a:gd name="T0" fmla="*/ 0 w 752"/>
                <a:gd name="T1" fmla="*/ 0 h 195"/>
                <a:gd name="T2" fmla="*/ 0 w 752"/>
                <a:gd name="T3" fmla="*/ 0 h 195"/>
                <a:gd name="T4" fmla="*/ 0 w 752"/>
                <a:gd name="T5" fmla="*/ 0 h 195"/>
                <a:gd name="T6" fmla="*/ 0 w 752"/>
                <a:gd name="T7" fmla="*/ 0 h 195"/>
                <a:gd name="T8" fmla="*/ 0 w 752"/>
                <a:gd name="T9" fmla="*/ 0 h 195"/>
                <a:gd name="T10" fmla="*/ 0 w 752"/>
                <a:gd name="T11" fmla="*/ 0 h 195"/>
                <a:gd name="T12" fmla="*/ 0 w 752"/>
                <a:gd name="T13" fmla="*/ 0 h 195"/>
                <a:gd name="T14" fmla="*/ 0 w 752"/>
                <a:gd name="T15" fmla="*/ 0 h 195"/>
                <a:gd name="T16" fmla="*/ 0 w 752"/>
                <a:gd name="T17" fmla="*/ 0 h 195"/>
                <a:gd name="T18" fmla="*/ 0 w 752"/>
                <a:gd name="T19" fmla="*/ 0 h 195"/>
                <a:gd name="T20" fmla="*/ 0 w 752"/>
                <a:gd name="T21" fmla="*/ 0 h 195"/>
                <a:gd name="T22" fmla="*/ 0 w 752"/>
                <a:gd name="T23" fmla="*/ 0 h 1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2"/>
                <a:gd name="T37" fmla="*/ 0 h 195"/>
                <a:gd name="T38" fmla="*/ 752 w 752"/>
                <a:gd name="T39" fmla="*/ 195 h 1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2" h="195">
                  <a:moveTo>
                    <a:pt x="13" y="17"/>
                  </a:moveTo>
                  <a:lnTo>
                    <a:pt x="85" y="11"/>
                  </a:lnTo>
                  <a:lnTo>
                    <a:pt x="277" y="0"/>
                  </a:lnTo>
                  <a:lnTo>
                    <a:pt x="564" y="1"/>
                  </a:lnTo>
                  <a:lnTo>
                    <a:pt x="742" y="11"/>
                  </a:lnTo>
                  <a:lnTo>
                    <a:pt x="752" y="75"/>
                  </a:lnTo>
                  <a:lnTo>
                    <a:pt x="747" y="170"/>
                  </a:lnTo>
                  <a:lnTo>
                    <a:pt x="392" y="179"/>
                  </a:lnTo>
                  <a:lnTo>
                    <a:pt x="210" y="188"/>
                  </a:lnTo>
                  <a:lnTo>
                    <a:pt x="20" y="195"/>
                  </a:lnTo>
                  <a:lnTo>
                    <a:pt x="0" y="179"/>
                  </a:lnTo>
                  <a:lnTo>
                    <a:pt x="13" y="17"/>
                  </a:lnTo>
                  <a:close/>
                </a:path>
              </a:pathLst>
            </a:custGeom>
            <a:solidFill>
              <a:srgbClr val="A7E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38" name="Freeform 19"/>
            <p:cNvSpPr>
              <a:spLocks/>
            </p:cNvSpPr>
            <p:nvPr/>
          </p:nvSpPr>
          <p:spPr bwMode="auto">
            <a:xfrm>
              <a:off x="4903" y="3081"/>
              <a:ext cx="260" cy="72"/>
            </a:xfrm>
            <a:custGeom>
              <a:avLst/>
              <a:gdLst>
                <a:gd name="T0" fmla="*/ 0 w 779"/>
                <a:gd name="T1" fmla="*/ 0 h 214"/>
                <a:gd name="T2" fmla="*/ 0 w 779"/>
                <a:gd name="T3" fmla="*/ 0 h 214"/>
                <a:gd name="T4" fmla="*/ 0 w 779"/>
                <a:gd name="T5" fmla="*/ 0 h 214"/>
                <a:gd name="T6" fmla="*/ 0 w 779"/>
                <a:gd name="T7" fmla="*/ 0 h 214"/>
                <a:gd name="T8" fmla="*/ 0 w 779"/>
                <a:gd name="T9" fmla="*/ 0 h 214"/>
                <a:gd name="T10" fmla="*/ 0 w 779"/>
                <a:gd name="T11" fmla="*/ 0 h 214"/>
                <a:gd name="T12" fmla="*/ 0 w 779"/>
                <a:gd name="T13" fmla="*/ 0 h 214"/>
                <a:gd name="T14" fmla="*/ 0 w 779"/>
                <a:gd name="T15" fmla="*/ 0 h 214"/>
                <a:gd name="T16" fmla="*/ 0 w 779"/>
                <a:gd name="T17" fmla="*/ 0 h 214"/>
                <a:gd name="T18" fmla="*/ 0 w 779"/>
                <a:gd name="T19" fmla="*/ 0 h 214"/>
                <a:gd name="T20" fmla="*/ 0 w 779"/>
                <a:gd name="T21" fmla="*/ 0 h 214"/>
                <a:gd name="T22" fmla="*/ 0 w 779"/>
                <a:gd name="T23" fmla="*/ 0 h 214"/>
                <a:gd name="T24" fmla="*/ 0 w 779"/>
                <a:gd name="T25" fmla="*/ 0 h 214"/>
                <a:gd name="T26" fmla="*/ 0 w 779"/>
                <a:gd name="T27" fmla="*/ 0 h 214"/>
                <a:gd name="T28" fmla="*/ 0 w 779"/>
                <a:gd name="T29" fmla="*/ 0 h 214"/>
                <a:gd name="T30" fmla="*/ 0 w 779"/>
                <a:gd name="T31" fmla="*/ 0 h 214"/>
                <a:gd name="T32" fmla="*/ 0 w 779"/>
                <a:gd name="T33" fmla="*/ 0 h 214"/>
                <a:gd name="T34" fmla="*/ 0 w 779"/>
                <a:gd name="T35" fmla="*/ 0 h 214"/>
                <a:gd name="T36" fmla="*/ 0 w 779"/>
                <a:gd name="T37" fmla="*/ 0 h 214"/>
                <a:gd name="T38" fmla="*/ 0 w 779"/>
                <a:gd name="T39" fmla="*/ 0 h 214"/>
                <a:gd name="T40" fmla="*/ 0 w 779"/>
                <a:gd name="T41" fmla="*/ 0 h 214"/>
                <a:gd name="T42" fmla="*/ 0 w 779"/>
                <a:gd name="T43" fmla="*/ 0 h 214"/>
                <a:gd name="T44" fmla="*/ 0 w 779"/>
                <a:gd name="T45" fmla="*/ 0 h 214"/>
                <a:gd name="T46" fmla="*/ 0 w 779"/>
                <a:gd name="T47" fmla="*/ 0 h 214"/>
                <a:gd name="T48" fmla="*/ 0 w 779"/>
                <a:gd name="T49" fmla="*/ 0 h 214"/>
                <a:gd name="T50" fmla="*/ 0 w 779"/>
                <a:gd name="T51" fmla="*/ 0 h 214"/>
                <a:gd name="T52" fmla="*/ 0 w 779"/>
                <a:gd name="T53" fmla="*/ 0 h 214"/>
                <a:gd name="T54" fmla="*/ 0 w 779"/>
                <a:gd name="T55" fmla="*/ 0 h 214"/>
                <a:gd name="T56" fmla="*/ 0 w 779"/>
                <a:gd name="T57" fmla="*/ 0 h 214"/>
                <a:gd name="T58" fmla="*/ 0 w 779"/>
                <a:gd name="T59" fmla="*/ 0 h 214"/>
                <a:gd name="T60" fmla="*/ 0 w 779"/>
                <a:gd name="T61" fmla="*/ 0 h 214"/>
                <a:gd name="T62" fmla="*/ 0 w 779"/>
                <a:gd name="T63" fmla="*/ 0 h 214"/>
                <a:gd name="T64" fmla="*/ 0 w 779"/>
                <a:gd name="T65" fmla="*/ 0 h 214"/>
                <a:gd name="T66" fmla="*/ 0 w 779"/>
                <a:gd name="T67" fmla="*/ 0 h 214"/>
                <a:gd name="T68" fmla="*/ 0 w 779"/>
                <a:gd name="T69" fmla="*/ 0 h 2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9"/>
                <a:gd name="T106" fmla="*/ 0 h 214"/>
                <a:gd name="T107" fmla="*/ 779 w 779"/>
                <a:gd name="T108" fmla="*/ 214 h 2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9" h="214">
                  <a:moveTo>
                    <a:pt x="31" y="12"/>
                  </a:moveTo>
                  <a:lnTo>
                    <a:pt x="242" y="5"/>
                  </a:lnTo>
                  <a:lnTo>
                    <a:pt x="471" y="1"/>
                  </a:lnTo>
                  <a:lnTo>
                    <a:pt x="764" y="0"/>
                  </a:lnTo>
                  <a:lnTo>
                    <a:pt x="779" y="11"/>
                  </a:lnTo>
                  <a:lnTo>
                    <a:pt x="768" y="42"/>
                  </a:lnTo>
                  <a:lnTo>
                    <a:pt x="661" y="31"/>
                  </a:lnTo>
                  <a:lnTo>
                    <a:pt x="515" y="22"/>
                  </a:lnTo>
                  <a:lnTo>
                    <a:pt x="327" y="23"/>
                  </a:lnTo>
                  <a:lnTo>
                    <a:pt x="75" y="36"/>
                  </a:lnTo>
                  <a:lnTo>
                    <a:pt x="40" y="49"/>
                  </a:lnTo>
                  <a:lnTo>
                    <a:pt x="40" y="109"/>
                  </a:lnTo>
                  <a:lnTo>
                    <a:pt x="44" y="178"/>
                  </a:lnTo>
                  <a:lnTo>
                    <a:pt x="55" y="185"/>
                  </a:lnTo>
                  <a:lnTo>
                    <a:pt x="152" y="193"/>
                  </a:lnTo>
                  <a:lnTo>
                    <a:pt x="348" y="174"/>
                  </a:lnTo>
                  <a:lnTo>
                    <a:pt x="638" y="168"/>
                  </a:lnTo>
                  <a:lnTo>
                    <a:pt x="744" y="159"/>
                  </a:lnTo>
                  <a:lnTo>
                    <a:pt x="758" y="151"/>
                  </a:lnTo>
                  <a:lnTo>
                    <a:pt x="758" y="85"/>
                  </a:lnTo>
                  <a:lnTo>
                    <a:pt x="752" y="42"/>
                  </a:lnTo>
                  <a:lnTo>
                    <a:pt x="767" y="38"/>
                  </a:lnTo>
                  <a:lnTo>
                    <a:pt x="779" y="59"/>
                  </a:lnTo>
                  <a:lnTo>
                    <a:pt x="778" y="162"/>
                  </a:lnTo>
                  <a:lnTo>
                    <a:pt x="768" y="190"/>
                  </a:lnTo>
                  <a:lnTo>
                    <a:pt x="657" y="195"/>
                  </a:lnTo>
                  <a:lnTo>
                    <a:pt x="445" y="201"/>
                  </a:lnTo>
                  <a:lnTo>
                    <a:pt x="288" y="204"/>
                  </a:lnTo>
                  <a:lnTo>
                    <a:pt x="94" y="214"/>
                  </a:lnTo>
                  <a:lnTo>
                    <a:pt x="10" y="214"/>
                  </a:lnTo>
                  <a:lnTo>
                    <a:pt x="0" y="190"/>
                  </a:lnTo>
                  <a:lnTo>
                    <a:pt x="5" y="132"/>
                  </a:lnTo>
                  <a:lnTo>
                    <a:pt x="8" y="63"/>
                  </a:lnTo>
                  <a:lnTo>
                    <a:pt x="8" y="23"/>
                  </a:lnTo>
                  <a:lnTo>
                    <a:pt x="3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39" name="Freeform 20"/>
            <p:cNvSpPr>
              <a:spLocks/>
            </p:cNvSpPr>
            <p:nvPr/>
          </p:nvSpPr>
          <p:spPr bwMode="auto">
            <a:xfrm>
              <a:off x="4991" y="3167"/>
              <a:ext cx="635" cy="96"/>
            </a:xfrm>
            <a:custGeom>
              <a:avLst/>
              <a:gdLst>
                <a:gd name="T0" fmla="*/ 0 w 1905"/>
                <a:gd name="T1" fmla="*/ 0 h 289"/>
                <a:gd name="T2" fmla="*/ 0 w 1905"/>
                <a:gd name="T3" fmla="*/ 0 h 289"/>
                <a:gd name="T4" fmla="*/ 0 w 1905"/>
                <a:gd name="T5" fmla="*/ 0 h 289"/>
                <a:gd name="T6" fmla="*/ 0 w 1905"/>
                <a:gd name="T7" fmla="*/ 0 h 289"/>
                <a:gd name="T8" fmla="*/ 0 w 1905"/>
                <a:gd name="T9" fmla="*/ 0 h 289"/>
                <a:gd name="T10" fmla="*/ 0 w 1905"/>
                <a:gd name="T11" fmla="*/ 0 h 289"/>
                <a:gd name="T12" fmla="*/ 0 w 1905"/>
                <a:gd name="T13" fmla="*/ 0 h 289"/>
                <a:gd name="T14" fmla="*/ 0 w 1905"/>
                <a:gd name="T15" fmla="*/ 0 h 289"/>
                <a:gd name="T16" fmla="*/ 0 w 1905"/>
                <a:gd name="T17" fmla="*/ 0 h 289"/>
                <a:gd name="T18" fmla="*/ 0 w 1905"/>
                <a:gd name="T19" fmla="*/ 0 h 289"/>
                <a:gd name="T20" fmla="*/ 0 w 1905"/>
                <a:gd name="T21" fmla="*/ 0 h 289"/>
                <a:gd name="T22" fmla="*/ 0 w 1905"/>
                <a:gd name="T23" fmla="*/ 0 h 289"/>
                <a:gd name="T24" fmla="*/ 0 w 1905"/>
                <a:gd name="T25" fmla="*/ 0 h 289"/>
                <a:gd name="T26" fmla="*/ 0 w 1905"/>
                <a:gd name="T27" fmla="*/ 0 h 289"/>
                <a:gd name="T28" fmla="*/ 0 w 1905"/>
                <a:gd name="T29" fmla="*/ 0 h 289"/>
                <a:gd name="T30" fmla="*/ 0 w 1905"/>
                <a:gd name="T31" fmla="*/ 0 h 289"/>
                <a:gd name="T32" fmla="*/ 0 w 1905"/>
                <a:gd name="T33" fmla="*/ 0 h 289"/>
                <a:gd name="T34" fmla="*/ 0 w 1905"/>
                <a:gd name="T35" fmla="*/ 0 h 289"/>
                <a:gd name="T36" fmla="*/ 0 w 1905"/>
                <a:gd name="T37" fmla="*/ 0 h 289"/>
                <a:gd name="T38" fmla="*/ 0 w 1905"/>
                <a:gd name="T39" fmla="*/ 0 h 289"/>
                <a:gd name="T40" fmla="*/ 0 w 1905"/>
                <a:gd name="T41" fmla="*/ 0 h 2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05"/>
                <a:gd name="T64" fmla="*/ 0 h 289"/>
                <a:gd name="T65" fmla="*/ 1905 w 1905"/>
                <a:gd name="T66" fmla="*/ 289 h 28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05" h="289">
                  <a:moveTo>
                    <a:pt x="2" y="62"/>
                  </a:moveTo>
                  <a:lnTo>
                    <a:pt x="97" y="55"/>
                  </a:lnTo>
                  <a:lnTo>
                    <a:pt x="417" y="51"/>
                  </a:lnTo>
                  <a:lnTo>
                    <a:pt x="712" y="42"/>
                  </a:lnTo>
                  <a:lnTo>
                    <a:pt x="953" y="38"/>
                  </a:lnTo>
                  <a:lnTo>
                    <a:pt x="1129" y="24"/>
                  </a:lnTo>
                  <a:lnTo>
                    <a:pt x="1397" y="14"/>
                  </a:lnTo>
                  <a:lnTo>
                    <a:pt x="1598" y="4"/>
                  </a:lnTo>
                  <a:lnTo>
                    <a:pt x="1888" y="0"/>
                  </a:lnTo>
                  <a:lnTo>
                    <a:pt x="1905" y="120"/>
                  </a:lnTo>
                  <a:lnTo>
                    <a:pt x="1895" y="244"/>
                  </a:lnTo>
                  <a:lnTo>
                    <a:pt x="1684" y="244"/>
                  </a:lnTo>
                  <a:lnTo>
                    <a:pt x="1553" y="247"/>
                  </a:lnTo>
                  <a:lnTo>
                    <a:pt x="1334" y="262"/>
                  </a:lnTo>
                  <a:lnTo>
                    <a:pt x="1113" y="264"/>
                  </a:lnTo>
                  <a:lnTo>
                    <a:pt x="845" y="262"/>
                  </a:lnTo>
                  <a:lnTo>
                    <a:pt x="642" y="275"/>
                  </a:lnTo>
                  <a:lnTo>
                    <a:pt x="455" y="275"/>
                  </a:lnTo>
                  <a:lnTo>
                    <a:pt x="241" y="282"/>
                  </a:lnTo>
                  <a:lnTo>
                    <a:pt x="0" y="289"/>
                  </a:lnTo>
                  <a:lnTo>
                    <a:pt x="2" y="62"/>
                  </a:lnTo>
                  <a:close/>
                </a:path>
              </a:pathLst>
            </a:custGeom>
            <a:solidFill>
              <a:srgbClr val="A7E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grpSp>
          <p:nvGrpSpPr>
            <p:cNvPr id="48140" name="Group 21"/>
            <p:cNvGrpSpPr>
              <a:grpSpLocks/>
            </p:cNvGrpSpPr>
            <p:nvPr/>
          </p:nvGrpSpPr>
          <p:grpSpPr bwMode="auto">
            <a:xfrm>
              <a:off x="4985" y="3161"/>
              <a:ext cx="645" cy="106"/>
              <a:chOff x="4985" y="3161"/>
              <a:chExt cx="645" cy="106"/>
            </a:xfrm>
          </p:grpSpPr>
          <p:sp>
            <p:nvSpPr>
              <p:cNvPr id="48169" name="Freeform 22"/>
              <p:cNvSpPr>
                <a:spLocks/>
              </p:cNvSpPr>
              <p:nvPr/>
            </p:nvSpPr>
            <p:spPr bwMode="auto">
              <a:xfrm>
                <a:off x="4985" y="3179"/>
                <a:ext cx="580" cy="88"/>
              </a:xfrm>
              <a:custGeom>
                <a:avLst/>
                <a:gdLst>
                  <a:gd name="T0" fmla="*/ 0 w 1740"/>
                  <a:gd name="T1" fmla="*/ 0 h 263"/>
                  <a:gd name="T2" fmla="*/ 0 w 1740"/>
                  <a:gd name="T3" fmla="*/ 0 h 263"/>
                  <a:gd name="T4" fmla="*/ 0 w 1740"/>
                  <a:gd name="T5" fmla="*/ 0 h 263"/>
                  <a:gd name="T6" fmla="*/ 0 w 1740"/>
                  <a:gd name="T7" fmla="*/ 0 h 263"/>
                  <a:gd name="T8" fmla="*/ 0 w 1740"/>
                  <a:gd name="T9" fmla="*/ 0 h 263"/>
                  <a:gd name="T10" fmla="*/ 0 w 1740"/>
                  <a:gd name="T11" fmla="*/ 0 h 263"/>
                  <a:gd name="T12" fmla="*/ 0 w 1740"/>
                  <a:gd name="T13" fmla="*/ 0 h 263"/>
                  <a:gd name="T14" fmla="*/ 0 w 1740"/>
                  <a:gd name="T15" fmla="*/ 0 h 263"/>
                  <a:gd name="T16" fmla="*/ 0 w 1740"/>
                  <a:gd name="T17" fmla="*/ 0 h 263"/>
                  <a:gd name="T18" fmla="*/ 0 w 1740"/>
                  <a:gd name="T19" fmla="*/ 0 h 263"/>
                  <a:gd name="T20" fmla="*/ 0 w 1740"/>
                  <a:gd name="T21" fmla="*/ 0 h 263"/>
                  <a:gd name="T22" fmla="*/ 0 w 1740"/>
                  <a:gd name="T23" fmla="*/ 0 h 263"/>
                  <a:gd name="T24" fmla="*/ 0 w 1740"/>
                  <a:gd name="T25" fmla="*/ 0 h 263"/>
                  <a:gd name="T26" fmla="*/ 0 w 1740"/>
                  <a:gd name="T27" fmla="*/ 0 h 263"/>
                  <a:gd name="T28" fmla="*/ 0 w 1740"/>
                  <a:gd name="T29" fmla="*/ 0 h 263"/>
                  <a:gd name="T30" fmla="*/ 0 w 1740"/>
                  <a:gd name="T31" fmla="*/ 0 h 263"/>
                  <a:gd name="T32" fmla="*/ 0 w 1740"/>
                  <a:gd name="T33" fmla="*/ 0 h 263"/>
                  <a:gd name="T34" fmla="*/ 0 w 1740"/>
                  <a:gd name="T35" fmla="*/ 0 h 263"/>
                  <a:gd name="T36" fmla="*/ 0 w 1740"/>
                  <a:gd name="T37" fmla="*/ 0 h 263"/>
                  <a:gd name="T38" fmla="*/ 0 w 1740"/>
                  <a:gd name="T39" fmla="*/ 0 h 263"/>
                  <a:gd name="T40" fmla="*/ 0 w 1740"/>
                  <a:gd name="T41" fmla="*/ 0 h 2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40"/>
                  <a:gd name="T64" fmla="*/ 0 h 263"/>
                  <a:gd name="T65" fmla="*/ 1740 w 1740"/>
                  <a:gd name="T66" fmla="*/ 263 h 2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40" h="263">
                    <a:moveTo>
                      <a:pt x="0" y="259"/>
                    </a:moveTo>
                    <a:lnTo>
                      <a:pt x="2" y="36"/>
                    </a:lnTo>
                    <a:lnTo>
                      <a:pt x="2" y="16"/>
                    </a:lnTo>
                    <a:lnTo>
                      <a:pt x="22" y="0"/>
                    </a:lnTo>
                    <a:lnTo>
                      <a:pt x="33" y="32"/>
                    </a:lnTo>
                    <a:lnTo>
                      <a:pt x="33" y="151"/>
                    </a:lnTo>
                    <a:lnTo>
                      <a:pt x="33" y="233"/>
                    </a:lnTo>
                    <a:lnTo>
                      <a:pt x="157" y="228"/>
                    </a:lnTo>
                    <a:lnTo>
                      <a:pt x="408" y="226"/>
                    </a:lnTo>
                    <a:lnTo>
                      <a:pt x="653" y="218"/>
                    </a:lnTo>
                    <a:lnTo>
                      <a:pt x="989" y="207"/>
                    </a:lnTo>
                    <a:lnTo>
                      <a:pt x="1314" y="201"/>
                    </a:lnTo>
                    <a:lnTo>
                      <a:pt x="1607" y="191"/>
                    </a:lnTo>
                    <a:lnTo>
                      <a:pt x="1740" y="211"/>
                    </a:lnTo>
                    <a:lnTo>
                      <a:pt x="1293" y="232"/>
                    </a:lnTo>
                    <a:lnTo>
                      <a:pt x="967" y="233"/>
                    </a:lnTo>
                    <a:lnTo>
                      <a:pt x="670" y="244"/>
                    </a:lnTo>
                    <a:lnTo>
                      <a:pt x="407" y="255"/>
                    </a:lnTo>
                    <a:lnTo>
                      <a:pt x="163" y="255"/>
                    </a:lnTo>
                    <a:lnTo>
                      <a:pt x="27" y="263"/>
                    </a:lnTo>
                    <a:lnTo>
                      <a:pt x="0" y="2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0" name="Freeform 23"/>
              <p:cNvSpPr>
                <a:spLocks/>
              </p:cNvSpPr>
              <p:nvPr/>
            </p:nvSpPr>
            <p:spPr bwMode="auto">
              <a:xfrm>
                <a:off x="4988" y="3164"/>
                <a:ext cx="567" cy="33"/>
              </a:xfrm>
              <a:custGeom>
                <a:avLst/>
                <a:gdLst>
                  <a:gd name="T0" fmla="*/ 0 w 1702"/>
                  <a:gd name="T1" fmla="*/ 0 h 97"/>
                  <a:gd name="T2" fmla="*/ 0 w 1702"/>
                  <a:gd name="T3" fmla="*/ 0 h 97"/>
                  <a:gd name="T4" fmla="*/ 0 w 1702"/>
                  <a:gd name="T5" fmla="*/ 0 h 97"/>
                  <a:gd name="T6" fmla="*/ 0 w 1702"/>
                  <a:gd name="T7" fmla="*/ 0 h 97"/>
                  <a:gd name="T8" fmla="*/ 0 w 1702"/>
                  <a:gd name="T9" fmla="*/ 0 h 97"/>
                  <a:gd name="T10" fmla="*/ 0 w 1702"/>
                  <a:gd name="T11" fmla="*/ 0 h 97"/>
                  <a:gd name="T12" fmla="*/ 0 w 1702"/>
                  <a:gd name="T13" fmla="*/ 0 h 97"/>
                  <a:gd name="T14" fmla="*/ 0 w 1702"/>
                  <a:gd name="T15" fmla="*/ 0 h 97"/>
                  <a:gd name="T16" fmla="*/ 0 w 1702"/>
                  <a:gd name="T17" fmla="*/ 0 h 97"/>
                  <a:gd name="T18" fmla="*/ 0 w 1702"/>
                  <a:gd name="T19" fmla="*/ 0 h 97"/>
                  <a:gd name="T20" fmla="*/ 0 w 1702"/>
                  <a:gd name="T21" fmla="*/ 0 h 97"/>
                  <a:gd name="T22" fmla="*/ 0 w 1702"/>
                  <a:gd name="T23" fmla="*/ 0 h 97"/>
                  <a:gd name="T24" fmla="*/ 0 w 1702"/>
                  <a:gd name="T25" fmla="*/ 0 h 97"/>
                  <a:gd name="T26" fmla="*/ 0 w 1702"/>
                  <a:gd name="T27" fmla="*/ 0 h 97"/>
                  <a:gd name="T28" fmla="*/ 0 w 1702"/>
                  <a:gd name="T29" fmla="*/ 0 h 97"/>
                  <a:gd name="T30" fmla="*/ 0 w 1702"/>
                  <a:gd name="T31" fmla="*/ 0 h 97"/>
                  <a:gd name="T32" fmla="*/ 0 w 1702"/>
                  <a:gd name="T33" fmla="*/ 0 h 97"/>
                  <a:gd name="T34" fmla="*/ 0 w 1702"/>
                  <a:gd name="T35" fmla="*/ 0 h 97"/>
                  <a:gd name="T36" fmla="*/ 0 w 1702"/>
                  <a:gd name="T37" fmla="*/ 0 h 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02"/>
                  <a:gd name="T58" fmla="*/ 0 h 97"/>
                  <a:gd name="T59" fmla="*/ 1702 w 1702"/>
                  <a:gd name="T60" fmla="*/ 97 h 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02" h="97">
                    <a:moveTo>
                      <a:pt x="0" y="64"/>
                    </a:moveTo>
                    <a:lnTo>
                      <a:pt x="30" y="50"/>
                    </a:lnTo>
                    <a:lnTo>
                      <a:pt x="346" y="50"/>
                    </a:lnTo>
                    <a:lnTo>
                      <a:pt x="630" y="45"/>
                    </a:lnTo>
                    <a:lnTo>
                      <a:pt x="964" y="34"/>
                    </a:lnTo>
                    <a:lnTo>
                      <a:pt x="1216" y="17"/>
                    </a:lnTo>
                    <a:lnTo>
                      <a:pt x="1416" y="6"/>
                    </a:lnTo>
                    <a:lnTo>
                      <a:pt x="1628" y="0"/>
                    </a:lnTo>
                    <a:lnTo>
                      <a:pt x="1702" y="14"/>
                    </a:lnTo>
                    <a:lnTo>
                      <a:pt x="1604" y="30"/>
                    </a:lnTo>
                    <a:lnTo>
                      <a:pt x="1412" y="34"/>
                    </a:lnTo>
                    <a:lnTo>
                      <a:pt x="1182" y="45"/>
                    </a:lnTo>
                    <a:lnTo>
                      <a:pt x="936" y="64"/>
                    </a:lnTo>
                    <a:lnTo>
                      <a:pt x="672" y="69"/>
                    </a:lnTo>
                    <a:lnTo>
                      <a:pt x="381" y="73"/>
                    </a:lnTo>
                    <a:lnTo>
                      <a:pt x="160" y="79"/>
                    </a:lnTo>
                    <a:lnTo>
                      <a:pt x="28" y="87"/>
                    </a:lnTo>
                    <a:lnTo>
                      <a:pt x="3" y="97"/>
                    </a:lnTo>
                    <a:lnTo>
                      <a:pt x="0"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71" name="Freeform 24"/>
              <p:cNvSpPr>
                <a:spLocks/>
              </p:cNvSpPr>
              <p:nvPr/>
            </p:nvSpPr>
            <p:spPr bwMode="auto">
              <a:xfrm>
                <a:off x="5487" y="3161"/>
                <a:ext cx="143" cy="95"/>
              </a:xfrm>
              <a:custGeom>
                <a:avLst/>
                <a:gdLst>
                  <a:gd name="T0" fmla="*/ 0 w 428"/>
                  <a:gd name="T1" fmla="*/ 0 h 283"/>
                  <a:gd name="T2" fmla="*/ 0 w 428"/>
                  <a:gd name="T3" fmla="*/ 0 h 283"/>
                  <a:gd name="T4" fmla="*/ 0 w 428"/>
                  <a:gd name="T5" fmla="*/ 0 h 283"/>
                  <a:gd name="T6" fmla="*/ 0 w 428"/>
                  <a:gd name="T7" fmla="*/ 0 h 283"/>
                  <a:gd name="T8" fmla="*/ 0 w 428"/>
                  <a:gd name="T9" fmla="*/ 0 h 283"/>
                  <a:gd name="T10" fmla="*/ 0 w 428"/>
                  <a:gd name="T11" fmla="*/ 0 h 283"/>
                  <a:gd name="T12" fmla="*/ 0 w 428"/>
                  <a:gd name="T13" fmla="*/ 0 h 283"/>
                  <a:gd name="T14" fmla="*/ 0 w 428"/>
                  <a:gd name="T15" fmla="*/ 0 h 283"/>
                  <a:gd name="T16" fmla="*/ 0 w 428"/>
                  <a:gd name="T17" fmla="*/ 0 h 283"/>
                  <a:gd name="T18" fmla="*/ 0 w 428"/>
                  <a:gd name="T19" fmla="*/ 0 h 283"/>
                  <a:gd name="T20" fmla="*/ 0 w 428"/>
                  <a:gd name="T21" fmla="*/ 0 h 283"/>
                  <a:gd name="T22" fmla="*/ 0 w 428"/>
                  <a:gd name="T23" fmla="*/ 0 h 283"/>
                  <a:gd name="T24" fmla="*/ 0 w 428"/>
                  <a:gd name="T25" fmla="*/ 0 h 283"/>
                  <a:gd name="T26" fmla="*/ 0 w 428"/>
                  <a:gd name="T27" fmla="*/ 0 h 283"/>
                  <a:gd name="T28" fmla="*/ 0 w 428"/>
                  <a:gd name="T29" fmla="*/ 0 h 283"/>
                  <a:gd name="T30" fmla="*/ 0 w 428"/>
                  <a:gd name="T31" fmla="*/ 0 h 283"/>
                  <a:gd name="T32" fmla="*/ 0 w 428"/>
                  <a:gd name="T33" fmla="*/ 0 h 283"/>
                  <a:gd name="T34" fmla="*/ 0 w 428"/>
                  <a:gd name="T35" fmla="*/ 0 h 283"/>
                  <a:gd name="T36" fmla="*/ 0 w 428"/>
                  <a:gd name="T37" fmla="*/ 0 h 283"/>
                  <a:gd name="T38" fmla="*/ 0 w 428"/>
                  <a:gd name="T39" fmla="*/ 0 h 283"/>
                  <a:gd name="T40" fmla="*/ 0 w 428"/>
                  <a:gd name="T41" fmla="*/ 0 h 2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8"/>
                  <a:gd name="T64" fmla="*/ 0 h 283"/>
                  <a:gd name="T65" fmla="*/ 428 w 428"/>
                  <a:gd name="T66" fmla="*/ 283 h 2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8" h="283">
                    <a:moveTo>
                      <a:pt x="51" y="24"/>
                    </a:moveTo>
                    <a:lnTo>
                      <a:pt x="95" y="8"/>
                    </a:lnTo>
                    <a:lnTo>
                      <a:pt x="269" y="5"/>
                    </a:lnTo>
                    <a:lnTo>
                      <a:pt x="403" y="0"/>
                    </a:lnTo>
                    <a:lnTo>
                      <a:pt x="420" y="16"/>
                    </a:lnTo>
                    <a:lnTo>
                      <a:pt x="424" y="129"/>
                    </a:lnTo>
                    <a:lnTo>
                      <a:pt x="428" y="272"/>
                    </a:lnTo>
                    <a:lnTo>
                      <a:pt x="407" y="283"/>
                    </a:lnTo>
                    <a:lnTo>
                      <a:pt x="301" y="278"/>
                    </a:lnTo>
                    <a:lnTo>
                      <a:pt x="127" y="271"/>
                    </a:lnTo>
                    <a:lnTo>
                      <a:pt x="0" y="263"/>
                    </a:lnTo>
                    <a:lnTo>
                      <a:pt x="75" y="247"/>
                    </a:lnTo>
                    <a:lnTo>
                      <a:pt x="179" y="244"/>
                    </a:lnTo>
                    <a:lnTo>
                      <a:pt x="347" y="241"/>
                    </a:lnTo>
                    <a:lnTo>
                      <a:pt x="394" y="244"/>
                    </a:lnTo>
                    <a:lnTo>
                      <a:pt x="391" y="222"/>
                    </a:lnTo>
                    <a:lnTo>
                      <a:pt x="398" y="117"/>
                    </a:lnTo>
                    <a:lnTo>
                      <a:pt x="383" y="35"/>
                    </a:lnTo>
                    <a:lnTo>
                      <a:pt x="346" y="26"/>
                    </a:lnTo>
                    <a:lnTo>
                      <a:pt x="76" y="36"/>
                    </a:lnTo>
                    <a:lnTo>
                      <a:pt x="5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grpSp>
        <p:sp>
          <p:nvSpPr>
            <p:cNvPr id="48141" name="Freeform 25"/>
            <p:cNvSpPr>
              <a:spLocks/>
            </p:cNvSpPr>
            <p:nvPr/>
          </p:nvSpPr>
          <p:spPr bwMode="auto">
            <a:xfrm>
              <a:off x="4871" y="3310"/>
              <a:ext cx="559" cy="222"/>
            </a:xfrm>
            <a:custGeom>
              <a:avLst/>
              <a:gdLst>
                <a:gd name="T0" fmla="*/ 0 w 1675"/>
                <a:gd name="T1" fmla="*/ 0 h 666"/>
                <a:gd name="T2" fmla="*/ 0 w 1675"/>
                <a:gd name="T3" fmla="*/ 0 h 666"/>
                <a:gd name="T4" fmla="*/ 0 w 1675"/>
                <a:gd name="T5" fmla="*/ 0 h 666"/>
                <a:gd name="T6" fmla="*/ 0 w 1675"/>
                <a:gd name="T7" fmla="*/ 0 h 666"/>
                <a:gd name="T8" fmla="*/ 0 w 1675"/>
                <a:gd name="T9" fmla="*/ 0 h 666"/>
                <a:gd name="T10" fmla="*/ 0 w 1675"/>
                <a:gd name="T11" fmla="*/ 0 h 666"/>
                <a:gd name="T12" fmla="*/ 0 w 1675"/>
                <a:gd name="T13" fmla="*/ 0 h 666"/>
                <a:gd name="T14" fmla="*/ 0 w 1675"/>
                <a:gd name="T15" fmla="*/ 0 h 666"/>
                <a:gd name="T16" fmla="*/ 0 w 1675"/>
                <a:gd name="T17" fmla="*/ 0 h 666"/>
                <a:gd name="T18" fmla="*/ 0 w 1675"/>
                <a:gd name="T19" fmla="*/ 0 h 666"/>
                <a:gd name="T20" fmla="*/ 0 w 1675"/>
                <a:gd name="T21" fmla="*/ 0 h 666"/>
                <a:gd name="T22" fmla="*/ 0 w 1675"/>
                <a:gd name="T23" fmla="*/ 0 h 666"/>
                <a:gd name="T24" fmla="*/ 0 w 1675"/>
                <a:gd name="T25" fmla="*/ 0 h 666"/>
                <a:gd name="T26" fmla="*/ 0 w 1675"/>
                <a:gd name="T27" fmla="*/ 0 h 666"/>
                <a:gd name="T28" fmla="*/ 0 w 1675"/>
                <a:gd name="T29" fmla="*/ 0 h 666"/>
                <a:gd name="T30" fmla="*/ 0 w 1675"/>
                <a:gd name="T31" fmla="*/ 0 h 666"/>
                <a:gd name="T32" fmla="*/ 0 w 1675"/>
                <a:gd name="T33" fmla="*/ 0 h 666"/>
                <a:gd name="T34" fmla="*/ 0 w 1675"/>
                <a:gd name="T35" fmla="*/ 0 h 666"/>
                <a:gd name="T36" fmla="*/ 0 w 1675"/>
                <a:gd name="T37" fmla="*/ 0 h 666"/>
                <a:gd name="T38" fmla="*/ 0 w 1675"/>
                <a:gd name="T39" fmla="*/ 0 h 666"/>
                <a:gd name="T40" fmla="*/ 0 w 1675"/>
                <a:gd name="T41" fmla="*/ 0 h 666"/>
                <a:gd name="T42" fmla="*/ 0 w 1675"/>
                <a:gd name="T43" fmla="*/ 0 h 666"/>
                <a:gd name="T44" fmla="*/ 0 w 1675"/>
                <a:gd name="T45" fmla="*/ 0 h 666"/>
                <a:gd name="T46" fmla="*/ 0 w 1675"/>
                <a:gd name="T47" fmla="*/ 0 h 666"/>
                <a:gd name="T48" fmla="*/ 0 w 1675"/>
                <a:gd name="T49" fmla="*/ 0 h 666"/>
                <a:gd name="T50" fmla="*/ 0 w 1675"/>
                <a:gd name="T51" fmla="*/ 0 h 666"/>
                <a:gd name="T52" fmla="*/ 0 w 1675"/>
                <a:gd name="T53" fmla="*/ 0 h 666"/>
                <a:gd name="T54" fmla="*/ 0 w 1675"/>
                <a:gd name="T55" fmla="*/ 0 h 666"/>
                <a:gd name="T56" fmla="*/ 0 w 1675"/>
                <a:gd name="T57" fmla="*/ 0 h 666"/>
                <a:gd name="T58" fmla="*/ 0 w 1675"/>
                <a:gd name="T59" fmla="*/ 0 h 666"/>
                <a:gd name="T60" fmla="*/ 0 w 1675"/>
                <a:gd name="T61" fmla="*/ 0 h 666"/>
                <a:gd name="T62" fmla="*/ 0 w 1675"/>
                <a:gd name="T63" fmla="*/ 0 h 666"/>
                <a:gd name="T64" fmla="*/ 0 w 1675"/>
                <a:gd name="T65" fmla="*/ 0 h 666"/>
                <a:gd name="T66" fmla="*/ 0 w 1675"/>
                <a:gd name="T67" fmla="*/ 0 h 666"/>
                <a:gd name="T68" fmla="*/ 0 w 1675"/>
                <a:gd name="T69" fmla="*/ 0 h 666"/>
                <a:gd name="T70" fmla="*/ 0 w 1675"/>
                <a:gd name="T71" fmla="*/ 0 h 666"/>
                <a:gd name="T72" fmla="*/ 0 w 1675"/>
                <a:gd name="T73" fmla="*/ 0 h 666"/>
                <a:gd name="T74" fmla="*/ 0 w 1675"/>
                <a:gd name="T75" fmla="*/ 0 h 666"/>
                <a:gd name="T76" fmla="*/ 0 w 1675"/>
                <a:gd name="T77" fmla="*/ 0 h 666"/>
                <a:gd name="T78" fmla="*/ 0 w 1675"/>
                <a:gd name="T79" fmla="*/ 0 h 666"/>
                <a:gd name="T80" fmla="*/ 0 w 1675"/>
                <a:gd name="T81" fmla="*/ 0 h 666"/>
                <a:gd name="T82" fmla="*/ 0 w 1675"/>
                <a:gd name="T83" fmla="*/ 0 h 666"/>
                <a:gd name="T84" fmla="*/ 0 w 1675"/>
                <a:gd name="T85" fmla="*/ 0 h 6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75"/>
                <a:gd name="T130" fmla="*/ 0 h 666"/>
                <a:gd name="T131" fmla="*/ 1675 w 1675"/>
                <a:gd name="T132" fmla="*/ 666 h 6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75" h="666">
                  <a:moveTo>
                    <a:pt x="10" y="122"/>
                  </a:moveTo>
                  <a:lnTo>
                    <a:pt x="0" y="14"/>
                  </a:lnTo>
                  <a:lnTo>
                    <a:pt x="212" y="15"/>
                  </a:lnTo>
                  <a:lnTo>
                    <a:pt x="491" y="11"/>
                  </a:lnTo>
                  <a:lnTo>
                    <a:pt x="733" y="4"/>
                  </a:lnTo>
                  <a:lnTo>
                    <a:pt x="1033" y="0"/>
                  </a:lnTo>
                  <a:lnTo>
                    <a:pt x="1274" y="4"/>
                  </a:lnTo>
                  <a:lnTo>
                    <a:pt x="1488" y="4"/>
                  </a:lnTo>
                  <a:lnTo>
                    <a:pt x="1529" y="21"/>
                  </a:lnTo>
                  <a:lnTo>
                    <a:pt x="1553" y="75"/>
                  </a:lnTo>
                  <a:lnTo>
                    <a:pt x="1570" y="115"/>
                  </a:lnTo>
                  <a:lnTo>
                    <a:pt x="1619" y="137"/>
                  </a:lnTo>
                  <a:lnTo>
                    <a:pt x="1615" y="193"/>
                  </a:lnTo>
                  <a:lnTo>
                    <a:pt x="1604" y="242"/>
                  </a:lnTo>
                  <a:lnTo>
                    <a:pt x="1600" y="323"/>
                  </a:lnTo>
                  <a:lnTo>
                    <a:pt x="1599" y="363"/>
                  </a:lnTo>
                  <a:lnTo>
                    <a:pt x="1590" y="405"/>
                  </a:lnTo>
                  <a:lnTo>
                    <a:pt x="1604" y="456"/>
                  </a:lnTo>
                  <a:lnTo>
                    <a:pt x="1650" y="517"/>
                  </a:lnTo>
                  <a:lnTo>
                    <a:pt x="1675" y="566"/>
                  </a:lnTo>
                  <a:lnTo>
                    <a:pt x="1669" y="666"/>
                  </a:lnTo>
                  <a:lnTo>
                    <a:pt x="1564" y="627"/>
                  </a:lnTo>
                  <a:lnTo>
                    <a:pt x="1549" y="611"/>
                  </a:lnTo>
                  <a:lnTo>
                    <a:pt x="1538" y="585"/>
                  </a:lnTo>
                  <a:lnTo>
                    <a:pt x="1545" y="511"/>
                  </a:lnTo>
                  <a:lnTo>
                    <a:pt x="1535" y="473"/>
                  </a:lnTo>
                  <a:lnTo>
                    <a:pt x="1500" y="409"/>
                  </a:lnTo>
                  <a:lnTo>
                    <a:pt x="1484" y="349"/>
                  </a:lnTo>
                  <a:lnTo>
                    <a:pt x="1483" y="309"/>
                  </a:lnTo>
                  <a:lnTo>
                    <a:pt x="1488" y="282"/>
                  </a:lnTo>
                  <a:lnTo>
                    <a:pt x="1504" y="223"/>
                  </a:lnTo>
                  <a:lnTo>
                    <a:pt x="1512" y="173"/>
                  </a:lnTo>
                  <a:lnTo>
                    <a:pt x="1500" y="137"/>
                  </a:lnTo>
                  <a:lnTo>
                    <a:pt x="1477" y="106"/>
                  </a:lnTo>
                  <a:lnTo>
                    <a:pt x="1277" y="112"/>
                  </a:lnTo>
                  <a:lnTo>
                    <a:pt x="1099" y="116"/>
                  </a:lnTo>
                  <a:lnTo>
                    <a:pt x="888" y="115"/>
                  </a:lnTo>
                  <a:lnTo>
                    <a:pt x="717" y="107"/>
                  </a:lnTo>
                  <a:lnTo>
                    <a:pt x="616" y="112"/>
                  </a:lnTo>
                  <a:lnTo>
                    <a:pt x="485" y="127"/>
                  </a:lnTo>
                  <a:lnTo>
                    <a:pt x="201" y="122"/>
                  </a:lnTo>
                  <a:lnTo>
                    <a:pt x="26" y="120"/>
                  </a:lnTo>
                  <a:lnTo>
                    <a:pt x="10" y="122"/>
                  </a:lnTo>
                  <a:close/>
                </a:path>
              </a:pathLst>
            </a:custGeom>
            <a:solidFill>
              <a:srgbClr val="FDEE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2" name="Freeform 26"/>
            <p:cNvSpPr>
              <a:spLocks/>
            </p:cNvSpPr>
            <p:nvPr/>
          </p:nvSpPr>
          <p:spPr bwMode="auto">
            <a:xfrm>
              <a:off x="4916" y="3315"/>
              <a:ext cx="11" cy="26"/>
            </a:xfrm>
            <a:custGeom>
              <a:avLst/>
              <a:gdLst>
                <a:gd name="T0" fmla="*/ 0 w 31"/>
                <a:gd name="T1" fmla="*/ 0 h 79"/>
                <a:gd name="T2" fmla="*/ 0 w 31"/>
                <a:gd name="T3" fmla="*/ 0 h 79"/>
                <a:gd name="T4" fmla="*/ 0 w 31"/>
                <a:gd name="T5" fmla="*/ 0 h 79"/>
                <a:gd name="T6" fmla="*/ 0 w 31"/>
                <a:gd name="T7" fmla="*/ 0 h 79"/>
                <a:gd name="T8" fmla="*/ 0 w 31"/>
                <a:gd name="T9" fmla="*/ 0 h 79"/>
                <a:gd name="T10" fmla="*/ 0 60000 65536"/>
                <a:gd name="T11" fmla="*/ 0 60000 65536"/>
                <a:gd name="T12" fmla="*/ 0 60000 65536"/>
                <a:gd name="T13" fmla="*/ 0 60000 65536"/>
                <a:gd name="T14" fmla="*/ 0 60000 65536"/>
                <a:gd name="T15" fmla="*/ 0 w 31"/>
                <a:gd name="T16" fmla="*/ 0 h 79"/>
                <a:gd name="T17" fmla="*/ 31 w 31"/>
                <a:gd name="T18" fmla="*/ 79 h 79"/>
              </a:gdLst>
              <a:ahLst/>
              <a:cxnLst>
                <a:cxn ang="T10">
                  <a:pos x="T0" y="T1"/>
                </a:cxn>
                <a:cxn ang="T11">
                  <a:pos x="T2" y="T3"/>
                </a:cxn>
                <a:cxn ang="T12">
                  <a:pos x="T4" y="T5"/>
                </a:cxn>
                <a:cxn ang="T13">
                  <a:pos x="T6" y="T7"/>
                </a:cxn>
                <a:cxn ang="T14">
                  <a:pos x="T8" y="T9"/>
                </a:cxn>
              </a:cxnLst>
              <a:rect l="T15" t="T16" r="T17" b="T18"/>
              <a:pathLst>
                <a:path w="31" h="79">
                  <a:moveTo>
                    <a:pt x="0" y="5"/>
                  </a:moveTo>
                  <a:lnTo>
                    <a:pt x="5" y="79"/>
                  </a:lnTo>
                  <a:lnTo>
                    <a:pt x="31" y="79"/>
                  </a:lnTo>
                  <a:lnTo>
                    <a:pt x="31"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3" name="Freeform 27"/>
            <p:cNvSpPr>
              <a:spLocks/>
            </p:cNvSpPr>
            <p:nvPr/>
          </p:nvSpPr>
          <p:spPr bwMode="auto">
            <a:xfrm>
              <a:off x="4953" y="3315"/>
              <a:ext cx="11" cy="27"/>
            </a:xfrm>
            <a:custGeom>
              <a:avLst/>
              <a:gdLst>
                <a:gd name="T0" fmla="*/ 0 w 32"/>
                <a:gd name="T1" fmla="*/ 0 h 81"/>
                <a:gd name="T2" fmla="*/ 0 w 32"/>
                <a:gd name="T3" fmla="*/ 0 h 81"/>
                <a:gd name="T4" fmla="*/ 0 w 32"/>
                <a:gd name="T5" fmla="*/ 0 h 81"/>
                <a:gd name="T6" fmla="*/ 0 w 32"/>
                <a:gd name="T7" fmla="*/ 0 h 81"/>
                <a:gd name="T8" fmla="*/ 0 w 32"/>
                <a:gd name="T9" fmla="*/ 0 h 81"/>
                <a:gd name="T10" fmla="*/ 0 60000 65536"/>
                <a:gd name="T11" fmla="*/ 0 60000 65536"/>
                <a:gd name="T12" fmla="*/ 0 60000 65536"/>
                <a:gd name="T13" fmla="*/ 0 60000 65536"/>
                <a:gd name="T14" fmla="*/ 0 60000 65536"/>
                <a:gd name="T15" fmla="*/ 0 w 32"/>
                <a:gd name="T16" fmla="*/ 0 h 81"/>
                <a:gd name="T17" fmla="*/ 32 w 32"/>
                <a:gd name="T18" fmla="*/ 81 h 81"/>
              </a:gdLst>
              <a:ahLst/>
              <a:cxnLst>
                <a:cxn ang="T10">
                  <a:pos x="T0" y="T1"/>
                </a:cxn>
                <a:cxn ang="T11">
                  <a:pos x="T2" y="T3"/>
                </a:cxn>
                <a:cxn ang="T12">
                  <a:pos x="T4" y="T5"/>
                </a:cxn>
                <a:cxn ang="T13">
                  <a:pos x="T6" y="T7"/>
                </a:cxn>
                <a:cxn ang="T14">
                  <a:pos x="T8" y="T9"/>
                </a:cxn>
              </a:cxnLst>
              <a:rect l="T15" t="T16" r="T17" b="T18"/>
              <a:pathLst>
                <a:path w="32" h="81">
                  <a:moveTo>
                    <a:pt x="0" y="6"/>
                  </a:moveTo>
                  <a:lnTo>
                    <a:pt x="5" y="81"/>
                  </a:lnTo>
                  <a:lnTo>
                    <a:pt x="32" y="81"/>
                  </a:lnTo>
                  <a:lnTo>
                    <a:pt x="32"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4" name="Freeform 28"/>
            <p:cNvSpPr>
              <a:spLocks/>
            </p:cNvSpPr>
            <p:nvPr/>
          </p:nvSpPr>
          <p:spPr bwMode="auto">
            <a:xfrm>
              <a:off x="4989" y="3315"/>
              <a:ext cx="10" cy="27"/>
            </a:xfrm>
            <a:custGeom>
              <a:avLst/>
              <a:gdLst>
                <a:gd name="T0" fmla="*/ 0 w 30"/>
                <a:gd name="T1" fmla="*/ 0 h 81"/>
                <a:gd name="T2" fmla="*/ 0 w 30"/>
                <a:gd name="T3" fmla="*/ 0 h 81"/>
                <a:gd name="T4" fmla="*/ 0 w 30"/>
                <a:gd name="T5" fmla="*/ 0 h 81"/>
                <a:gd name="T6" fmla="*/ 0 w 30"/>
                <a:gd name="T7" fmla="*/ 0 h 81"/>
                <a:gd name="T8" fmla="*/ 0 w 30"/>
                <a:gd name="T9" fmla="*/ 0 h 81"/>
                <a:gd name="T10" fmla="*/ 0 60000 65536"/>
                <a:gd name="T11" fmla="*/ 0 60000 65536"/>
                <a:gd name="T12" fmla="*/ 0 60000 65536"/>
                <a:gd name="T13" fmla="*/ 0 60000 65536"/>
                <a:gd name="T14" fmla="*/ 0 60000 65536"/>
                <a:gd name="T15" fmla="*/ 0 w 30"/>
                <a:gd name="T16" fmla="*/ 0 h 81"/>
                <a:gd name="T17" fmla="*/ 30 w 30"/>
                <a:gd name="T18" fmla="*/ 81 h 81"/>
              </a:gdLst>
              <a:ahLst/>
              <a:cxnLst>
                <a:cxn ang="T10">
                  <a:pos x="T0" y="T1"/>
                </a:cxn>
                <a:cxn ang="T11">
                  <a:pos x="T2" y="T3"/>
                </a:cxn>
                <a:cxn ang="T12">
                  <a:pos x="T4" y="T5"/>
                </a:cxn>
                <a:cxn ang="T13">
                  <a:pos x="T6" y="T7"/>
                </a:cxn>
                <a:cxn ang="T14">
                  <a:pos x="T8" y="T9"/>
                </a:cxn>
              </a:cxnLst>
              <a:rect l="T15" t="T16" r="T17" b="T18"/>
              <a:pathLst>
                <a:path w="30" h="81">
                  <a:moveTo>
                    <a:pt x="0" y="6"/>
                  </a:moveTo>
                  <a:lnTo>
                    <a:pt x="6" y="81"/>
                  </a:lnTo>
                  <a:lnTo>
                    <a:pt x="30" y="81"/>
                  </a:lnTo>
                  <a:lnTo>
                    <a:pt x="30"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5" name="Freeform 29"/>
            <p:cNvSpPr>
              <a:spLocks/>
            </p:cNvSpPr>
            <p:nvPr/>
          </p:nvSpPr>
          <p:spPr bwMode="auto">
            <a:xfrm>
              <a:off x="5024" y="3313"/>
              <a:ext cx="11" cy="27"/>
            </a:xfrm>
            <a:custGeom>
              <a:avLst/>
              <a:gdLst>
                <a:gd name="T0" fmla="*/ 0 w 33"/>
                <a:gd name="T1" fmla="*/ 0 h 81"/>
                <a:gd name="T2" fmla="*/ 0 w 33"/>
                <a:gd name="T3" fmla="*/ 0 h 81"/>
                <a:gd name="T4" fmla="*/ 0 w 33"/>
                <a:gd name="T5" fmla="*/ 0 h 81"/>
                <a:gd name="T6" fmla="*/ 0 w 33"/>
                <a:gd name="T7" fmla="*/ 0 h 81"/>
                <a:gd name="T8" fmla="*/ 0 w 33"/>
                <a:gd name="T9" fmla="*/ 0 h 81"/>
                <a:gd name="T10" fmla="*/ 0 60000 65536"/>
                <a:gd name="T11" fmla="*/ 0 60000 65536"/>
                <a:gd name="T12" fmla="*/ 0 60000 65536"/>
                <a:gd name="T13" fmla="*/ 0 60000 65536"/>
                <a:gd name="T14" fmla="*/ 0 60000 65536"/>
                <a:gd name="T15" fmla="*/ 0 w 33"/>
                <a:gd name="T16" fmla="*/ 0 h 81"/>
                <a:gd name="T17" fmla="*/ 33 w 33"/>
                <a:gd name="T18" fmla="*/ 81 h 81"/>
              </a:gdLst>
              <a:ahLst/>
              <a:cxnLst>
                <a:cxn ang="T10">
                  <a:pos x="T0" y="T1"/>
                </a:cxn>
                <a:cxn ang="T11">
                  <a:pos x="T2" y="T3"/>
                </a:cxn>
                <a:cxn ang="T12">
                  <a:pos x="T4" y="T5"/>
                </a:cxn>
                <a:cxn ang="T13">
                  <a:pos x="T6" y="T7"/>
                </a:cxn>
                <a:cxn ang="T14">
                  <a:pos x="T8" y="T9"/>
                </a:cxn>
              </a:cxnLst>
              <a:rect l="T15" t="T16" r="T17" b="T18"/>
              <a:pathLst>
                <a:path w="33" h="81">
                  <a:moveTo>
                    <a:pt x="0" y="6"/>
                  </a:moveTo>
                  <a:lnTo>
                    <a:pt x="6" y="81"/>
                  </a:lnTo>
                  <a:lnTo>
                    <a:pt x="33" y="81"/>
                  </a:lnTo>
                  <a:lnTo>
                    <a:pt x="33"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6" name="Freeform 30"/>
            <p:cNvSpPr>
              <a:spLocks/>
            </p:cNvSpPr>
            <p:nvPr/>
          </p:nvSpPr>
          <p:spPr bwMode="auto">
            <a:xfrm>
              <a:off x="5060" y="3313"/>
              <a:ext cx="10" cy="27"/>
            </a:xfrm>
            <a:custGeom>
              <a:avLst/>
              <a:gdLst>
                <a:gd name="T0" fmla="*/ 0 w 30"/>
                <a:gd name="T1" fmla="*/ 0 h 81"/>
                <a:gd name="T2" fmla="*/ 0 w 30"/>
                <a:gd name="T3" fmla="*/ 0 h 81"/>
                <a:gd name="T4" fmla="*/ 0 w 30"/>
                <a:gd name="T5" fmla="*/ 0 h 81"/>
                <a:gd name="T6" fmla="*/ 0 w 30"/>
                <a:gd name="T7" fmla="*/ 0 h 81"/>
                <a:gd name="T8" fmla="*/ 0 w 30"/>
                <a:gd name="T9" fmla="*/ 0 h 81"/>
                <a:gd name="T10" fmla="*/ 0 60000 65536"/>
                <a:gd name="T11" fmla="*/ 0 60000 65536"/>
                <a:gd name="T12" fmla="*/ 0 60000 65536"/>
                <a:gd name="T13" fmla="*/ 0 60000 65536"/>
                <a:gd name="T14" fmla="*/ 0 60000 65536"/>
                <a:gd name="T15" fmla="*/ 0 w 30"/>
                <a:gd name="T16" fmla="*/ 0 h 81"/>
                <a:gd name="T17" fmla="*/ 30 w 30"/>
                <a:gd name="T18" fmla="*/ 81 h 81"/>
              </a:gdLst>
              <a:ahLst/>
              <a:cxnLst>
                <a:cxn ang="T10">
                  <a:pos x="T0" y="T1"/>
                </a:cxn>
                <a:cxn ang="T11">
                  <a:pos x="T2" y="T3"/>
                </a:cxn>
                <a:cxn ang="T12">
                  <a:pos x="T4" y="T5"/>
                </a:cxn>
                <a:cxn ang="T13">
                  <a:pos x="T6" y="T7"/>
                </a:cxn>
                <a:cxn ang="T14">
                  <a:pos x="T8" y="T9"/>
                </a:cxn>
              </a:cxnLst>
              <a:rect l="T15" t="T16" r="T17" b="T18"/>
              <a:pathLst>
                <a:path w="30" h="81">
                  <a:moveTo>
                    <a:pt x="0" y="6"/>
                  </a:moveTo>
                  <a:lnTo>
                    <a:pt x="5" y="81"/>
                  </a:lnTo>
                  <a:lnTo>
                    <a:pt x="30" y="81"/>
                  </a:lnTo>
                  <a:lnTo>
                    <a:pt x="30"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7" name="Freeform 31"/>
            <p:cNvSpPr>
              <a:spLocks/>
            </p:cNvSpPr>
            <p:nvPr/>
          </p:nvSpPr>
          <p:spPr bwMode="auto">
            <a:xfrm>
              <a:off x="5095" y="3313"/>
              <a:ext cx="11" cy="27"/>
            </a:xfrm>
            <a:custGeom>
              <a:avLst/>
              <a:gdLst>
                <a:gd name="T0" fmla="*/ 0 w 32"/>
                <a:gd name="T1" fmla="*/ 0 h 81"/>
                <a:gd name="T2" fmla="*/ 0 w 32"/>
                <a:gd name="T3" fmla="*/ 0 h 81"/>
                <a:gd name="T4" fmla="*/ 0 w 32"/>
                <a:gd name="T5" fmla="*/ 0 h 81"/>
                <a:gd name="T6" fmla="*/ 0 w 32"/>
                <a:gd name="T7" fmla="*/ 0 h 81"/>
                <a:gd name="T8" fmla="*/ 0 w 32"/>
                <a:gd name="T9" fmla="*/ 0 h 81"/>
                <a:gd name="T10" fmla="*/ 0 60000 65536"/>
                <a:gd name="T11" fmla="*/ 0 60000 65536"/>
                <a:gd name="T12" fmla="*/ 0 60000 65536"/>
                <a:gd name="T13" fmla="*/ 0 60000 65536"/>
                <a:gd name="T14" fmla="*/ 0 60000 65536"/>
                <a:gd name="T15" fmla="*/ 0 w 32"/>
                <a:gd name="T16" fmla="*/ 0 h 81"/>
                <a:gd name="T17" fmla="*/ 32 w 32"/>
                <a:gd name="T18" fmla="*/ 81 h 81"/>
              </a:gdLst>
              <a:ahLst/>
              <a:cxnLst>
                <a:cxn ang="T10">
                  <a:pos x="T0" y="T1"/>
                </a:cxn>
                <a:cxn ang="T11">
                  <a:pos x="T2" y="T3"/>
                </a:cxn>
                <a:cxn ang="T12">
                  <a:pos x="T4" y="T5"/>
                </a:cxn>
                <a:cxn ang="T13">
                  <a:pos x="T6" y="T7"/>
                </a:cxn>
                <a:cxn ang="T14">
                  <a:pos x="T8" y="T9"/>
                </a:cxn>
              </a:cxnLst>
              <a:rect l="T15" t="T16" r="T17" b="T18"/>
              <a:pathLst>
                <a:path w="32" h="81">
                  <a:moveTo>
                    <a:pt x="0" y="6"/>
                  </a:moveTo>
                  <a:lnTo>
                    <a:pt x="5" y="81"/>
                  </a:lnTo>
                  <a:lnTo>
                    <a:pt x="32" y="81"/>
                  </a:lnTo>
                  <a:lnTo>
                    <a:pt x="32"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8" name="Freeform 32"/>
            <p:cNvSpPr>
              <a:spLocks/>
            </p:cNvSpPr>
            <p:nvPr/>
          </p:nvSpPr>
          <p:spPr bwMode="auto">
            <a:xfrm>
              <a:off x="5131" y="3313"/>
              <a:ext cx="10" cy="27"/>
            </a:xfrm>
            <a:custGeom>
              <a:avLst/>
              <a:gdLst>
                <a:gd name="T0" fmla="*/ 0 w 29"/>
                <a:gd name="T1" fmla="*/ 0 h 81"/>
                <a:gd name="T2" fmla="*/ 0 w 29"/>
                <a:gd name="T3" fmla="*/ 0 h 81"/>
                <a:gd name="T4" fmla="*/ 0 w 29"/>
                <a:gd name="T5" fmla="*/ 0 h 81"/>
                <a:gd name="T6" fmla="*/ 0 w 29"/>
                <a:gd name="T7" fmla="*/ 0 h 81"/>
                <a:gd name="T8" fmla="*/ 0 w 29"/>
                <a:gd name="T9" fmla="*/ 0 h 81"/>
                <a:gd name="T10" fmla="*/ 0 60000 65536"/>
                <a:gd name="T11" fmla="*/ 0 60000 65536"/>
                <a:gd name="T12" fmla="*/ 0 60000 65536"/>
                <a:gd name="T13" fmla="*/ 0 60000 65536"/>
                <a:gd name="T14" fmla="*/ 0 60000 65536"/>
                <a:gd name="T15" fmla="*/ 0 w 29"/>
                <a:gd name="T16" fmla="*/ 0 h 81"/>
                <a:gd name="T17" fmla="*/ 29 w 29"/>
                <a:gd name="T18" fmla="*/ 81 h 81"/>
              </a:gdLst>
              <a:ahLst/>
              <a:cxnLst>
                <a:cxn ang="T10">
                  <a:pos x="T0" y="T1"/>
                </a:cxn>
                <a:cxn ang="T11">
                  <a:pos x="T2" y="T3"/>
                </a:cxn>
                <a:cxn ang="T12">
                  <a:pos x="T4" y="T5"/>
                </a:cxn>
                <a:cxn ang="T13">
                  <a:pos x="T6" y="T7"/>
                </a:cxn>
                <a:cxn ang="T14">
                  <a:pos x="T8" y="T9"/>
                </a:cxn>
              </a:cxnLst>
              <a:rect l="T15" t="T16" r="T17" b="T18"/>
              <a:pathLst>
                <a:path w="29" h="81">
                  <a:moveTo>
                    <a:pt x="0" y="6"/>
                  </a:moveTo>
                  <a:lnTo>
                    <a:pt x="5" y="81"/>
                  </a:lnTo>
                  <a:lnTo>
                    <a:pt x="29" y="81"/>
                  </a:lnTo>
                  <a:lnTo>
                    <a:pt x="29"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49" name="Freeform 33"/>
            <p:cNvSpPr>
              <a:spLocks/>
            </p:cNvSpPr>
            <p:nvPr/>
          </p:nvSpPr>
          <p:spPr bwMode="auto">
            <a:xfrm>
              <a:off x="5148" y="3313"/>
              <a:ext cx="11" cy="27"/>
            </a:xfrm>
            <a:custGeom>
              <a:avLst/>
              <a:gdLst>
                <a:gd name="T0" fmla="*/ 0 w 31"/>
                <a:gd name="T1" fmla="*/ 0 h 81"/>
                <a:gd name="T2" fmla="*/ 0 w 31"/>
                <a:gd name="T3" fmla="*/ 0 h 81"/>
                <a:gd name="T4" fmla="*/ 0 w 31"/>
                <a:gd name="T5" fmla="*/ 0 h 81"/>
                <a:gd name="T6" fmla="*/ 0 w 31"/>
                <a:gd name="T7" fmla="*/ 0 h 81"/>
                <a:gd name="T8" fmla="*/ 0 w 31"/>
                <a:gd name="T9" fmla="*/ 0 h 81"/>
                <a:gd name="T10" fmla="*/ 0 60000 65536"/>
                <a:gd name="T11" fmla="*/ 0 60000 65536"/>
                <a:gd name="T12" fmla="*/ 0 60000 65536"/>
                <a:gd name="T13" fmla="*/ 0 60000 65536"/>
                <a:gd name="T14" fmla="*/ 0 60000 65536"/>
                <a:gd name="T15" fmla="*/ 0 w 31"/>
                <a:gd name="T16" fmla="*/ 0 h 81"/>
                <a:gd name="T17" fmla="*/ 31 w 31"/>
                <a:gd name="T18" fmla="*/ 81 h 81"/>
              </a:gdLst>
              <a:ahLst/>
              <a:cxnLst>
                <a:cxn ang="T10">
                  <a:pos x="T0" y="T1"/>
                </a:cxn>
                <a:cxn ang="T11">
                  <a:pos x="T2" y="T3"/>
                </a:cxn>
                <a:cxn ang="T12">
                  <a:pos x="T4" y="T5"/>
                </a:cxn>
                <a:cxn ang="T13">
                  <a:pos x="T6" y="T7"/>
                </a:cxn>
                <a:cxn ang="T14">
                  <a:pos x="T8" y="T9"/>
                </a:cxn>
              </a:cxnLst>
              <a:rect l="T15" t="T16" r="T17" b="T18"/>
              <a:pathLst>
                <a:path w="31" h="81">
                  <a:moveTo>
                    <a:pt x="0" y="6"/>
                  </a:moveTo>
                  <a:lnTo>
                    <a:pt x="6" y="81"/>
                  </a:lnTo>
                  <a:lnTo>
                    <a:pt x="31" y="81"/>
                  </a:lnTo>
                  <a:lnTo>
                    <a:pt x="31"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0" name="Freeform 34"/>
            <p:cNvSpPr>
              <a:spLocks/>
            </p:cNvSpPr>
            <p:nvPr/>
          </p:nvSpPr>
          <p:spPr bwMode="auto">
            <a:xfrm>
              <a:off x="5166" y="3312"/>
              <a:ext cx="11" cy="27"/>
            </a:xfrm>
            <a:custGeom>
              <a:avLst/>
              <a:gdLst>
                <a:gd name="T0" fmla="*/ 0 w 32"/>
                <a:gd name="T1" fmla="*/ 0 h 79"/>
                <a:gd name="T2" fmla="*/ 0 w 32"/>
                <a:gd name="T3" fmla="*/ 0 h 79"/>
                <a:gd name="T4" fmla="*/ 0 w 32"/>
                <a:gd name="T5" fmla="*/ 0 h 79"/>
                <a:gd name="T6" fmla="*/ 0 w 32"/>
                <a:gd name="T7" fmla="*/ 0 h 79"/>
                <a:gd name="T8" fmla="*/ 0 w 32"/>
                <a:gd name="T9" fmla="*/ 0 h 79"/>
                <a:gd name="T10" fmla="*/ 0 60000 65536"/>
                <a:gd name="T11" fmla="*/ 0 60000 65536"/>
                <a:gd name="T12" fmla="*/ 0 60000 65536"/>
                <a:gd name="T13" fmla="*/ 0 60000 65536"/>
                <a:gd name="T14" fmla="*/ 0 60000 65536"/>
                <a:gd name="T15" fmla="*/ 0 w 32"/>
                <a:gd name="T16" fmla="*/ 0 h 79"/>
                <a:gd name="T17" fmla="*/ 32 w 32"/>
                <a:gd name="T18" fmla="*/ 79 h 79"/>
              </a:gdLst>
              <a:ahLst/>
              <a:cxnLst>
                <a:cxn ang="T10">
                  <a:pos x="T0" y="T1"/>
                </a:cxn>
                <a:cxn ang="T11">
                  <a:pos x="T2" y="T3"/>
                </a:cxn>
                <a:cxn ang="T12">
                  <a:pos x="T4" y="T5"/>
                </a:cxn>
                <a:cxn ang="T13">
                  <a:pos x="T6" y="T7"/>
                </a:cxn>
                <a:cxn ang="T14">
                  <a:pos x="T8" y="T9"/>
                </a:cxn>
              </a:cxnLst>
              <a:rect l="T15" t="T16" r="T17" b="T18"/>
              <a:pathLst>
                <a:path w="32" h="79">
                  <a:moveTo>
                    <a:pt x="0" y="5"/>
                  </a:moveTo>
                  <a:lnTo>
                    <a:pt x="5" y="79"/>
                  </a:lnTo>
                  <a:lnTo>
                    <a:pt x="32" y="79"/>
                  </a:lnTo>
                  <a:lnTo>
                    <a:pt x="32"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1" name="Freeform 35"/>
            <p:cNvSpPr>
              <a:spLocks/>
            </p:cNvSpPr>
            <p:nvPr/>
          </p:nvSpPr>
          <p:spPr bwMode="auto">
            <a:xfrm>
              <a:off x="5202" y="3312"/>
              <a:ext cx="10" cy="27"/>
            </a:xfrm>
            <a:custGeom>
              <a:avLst/>
              <a:gdLst>
                <a:gd name="T0" fmla="*/ 0 w 30"/>
                <a:gd name="T1" fmla="*/ 0 h 79"/>
                <a:gd name="T2" fmla="*/ 0 w 30"/>
                <a:gd name="T3" fmla="*/ 0 h 79"/>
                <a:gd name="T4" fmla="*/ 0 w 30"/>
                <a:gd name="T5" fmla="*/ 0 h 79"/>
                <a:gd name="T6" fmla="*/ 0 w 30"/>
                <a:gd name="T7" fmla="*/ 0 h 79"/>
                <a:gd name="T8" fmla="*/ 0 w 30"/>
                <a:gd name="T9" fmla="*/ 0 h 79"/>
                <a:gd name="T10" fmla="*/ 0 60000 65536"/>
                <a:gd name="T11" fmla="*/ 0 60000 65536"/>
                <a:gd name="T12" fmla="*/ 0 60000 65536"/>
                <a:gd name="T13" fmla="*/ 0 60000 65536"/>
                <a:gd name="T14" fmla="*/ 0 60000 65536"/>
                <a:gd name="T15" fmla="*/ 0 w 30"/>
                <a:gd name="T16" fmla="*/ 0 h 79"/>
                <a:gd name="T17" fmla="*/ 30 w 30"/>
                <a:gd name="T18" fmla="*/ 79 h 79"/>
              </a:gdLst>
              <a:ahLst/>
              <a:cxnLst>
                <a:cxn ang="T10">
                  <a:pos x="T0" y="T1"/>
                </a:cxn>
                <a:cxn ang="T11">
                  <a:pos x="T2" y="T3"/>
                </a:cxn>
                <a:cxn ang="T12">
                  <a:pos x="T4" y="T5"/>
                </a:cxn>
                <a:cxn ang="T13">
                  <a:pos x="T6" y="T7"/>
                </a:cxn>
                <a:cxn ang="T14">
                  <a:pos x="T8" y="T9"/>
                </a:cxn>
              </a:cxnLst>
              <a:rect l="T15" t="T16" r="T17" b="T18"/>
              <a:pathLst>
                <a:path w="30" h="79">
                  <a:moveTo>
                    <a:pt x="0" y="5"/>
                  </a:moveTo>
                  <a:lnTo>
                    <a:pt x="6" y="79"/>
                  </a:lnTo>
                  <a:lnTo>
                    <a:pt x="30" y="79"/>
                  </a:lnTo>
                  <a:lnTo>
                    <a:pt x="30"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2" name="Freeform 36"/>
            <p:cNvSpPr>
              <a:spLocks/>
            </p:cNvSpPr>
            <p:nvPr/>
          </p:nvSpPr>
          <p:spPr bwMode="auto">
            <a:xfrm>
              <a:off x="5237" y="3311"/>
              <a:ext cx="11" cy="26"/>
            </a:xfrm>
            <a:custGeom>
              <a:avLst/>
              <a:gdLst>
                <a:gd name="T0" fmla="*/ 0 w 33"/>
                <a:gd name="T1" fmla="*/ 0 h 79"/>
                <a:gd name="T2" fmla="*/ 0 w 33"/>
                <a:gd name="T3" fmla="*/ 0 h 79"/>
                <a:gd name="T4" fmla="*/ 0 w 33"/>
                <a:gd name="T5" fmla="*/ 0 h 79"/>
                <a:gd name="T6" fmla="*/ 0 w 33"/>
                <a:gd name="T7" fmla="*/ 0 h 79"/>
                <a:gd name="T8" fmla="*/ 0 w 33"/>
                <a:gd name="T9" fmla="*/ 0 h 79"/>
                <a:gd name="T10" fmla="*/ 0 60000 65536"/>
                <a:gd name="T11" fmla="*/ 0 60000 65536"/>
                <a:gd name="T12" fmla="*/ 0 60000 65536"/>
                <a:gd name="T13" fmla="*/ 0 60000 65536"/>
                <a:gd name="T14" fmla="*/ 0 60000 65536"/>
                <a:gd name="T15" fmla="*/ 0 w 33"/>
                <a:gd name="T16" fmla="*/ 0 h 79"/>
                <a:gd name="T17" fmla="*/ 33 w 33"/>
                <a:gd name="T18" fmla="*/ 79 h 79"/>
              </a:gdLst>
              <a:ahLst/>
              <a:cxnLst>
                <a:cxn ang="T10">
                  <a:pos x="T0" y="T1"/>
                </a:cxn>
                <a:cxn ang="T11">
                  <a:pos x="T2" y="T3"/>
                </a:cxn>
                <a:cxn ang="T12">
                  <a:pos x="T4" y="T5"/>
                </a:cxn>
                <a:cxn ang="T13">
                  <a:pos x="T6" y="T7"/>
                </a:cxn>
                <a:cxn ang="T14">
                  <a:pos x="T8" y="T9"/>
                </a:cxn>
              </a:cxnLst>
              <a:rect l="T15" t="T16" r="T17" b="T18"/>
              <a:pathLst>
                <a:path w="33" h="79">
                  <a:moveTo>
                    <a:pt x="0" y="5"/>
                  </a:moveTo>
                  <a:lnTo>
                    <a:pt x="6" y="79"/>
                  </a:lnTo>
                  <a:lnTo>
                    <a:pt x="33" y="79"/>
                  </a:lnTo>
                  <a:lnTo>
                    <a:pt x="33"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3" name="Freeform 37"/>
            <p:cNvSpPr>
              <a:spLocks/>
            </p:cNvSpPr>
            <p:nvPr/>
          </p:nvSpPr>
          <p:spPr bwMode="auto">
            <a:xfrm>
              <a:off x="5273" y="3311"/>
              <a:ext cx="10" cy="26"/>
            </a:xfrm>
            <a:custGeom>
              <a:avLst/>
              <a:gdLst>
                <a:gd name="T0" fmla="*/ 0 w 30"/>
                <a:gd name="T1" fmla="*/ 0 h 79"/>
                <a:gd name="T2" fmla="*/ 0 w 30"/>
                <a:gd name="T3" fmla="*/ 0 h 79"/>
                <a:gd name="T4" fmla="*/ 0 w 30"/>
                <a:gd name="T5" fmla="*/ 0 h 79"/>
                <a:gd name="T6" fmla="*/ 0 w 30"/>
                <a:gd name="T7" fmla="*/ 0 h 79"/>
                <a:gd name="T8" fmla="*/ 0 w 30"/>
                <a:gd name="T9" fmla="*/ 0 h 79"/>
                <a:gd name="T10" fmla="*/ 0 60000 65536"/>
                <a:gd name="T11" fmla="*/ 0 60000 65536"/>
                <a:gd name="T12" fmla="*/ 0 60000 65536"/>
                <a:gd name="T13" fmla="*/ 0 60000 65536"/>
                <a:gd name="T14" fmla="*/ 0 60000 65536"/>
                <a:gd name="T15" fmla="*/ 0 w 30"/>
                <a:gd name="T16" fmla="*/ 0 h 79"/>
                <a:gd name="T17" fmla="*/ 30 w 30"/>
                <a:gd name="T18" fmla="*/ 79 h 79"/>
              </a:gdLst>
              <a:ahLst/>
              <a:cxnLst>
                <a:cxn ang="T10">
                  <a:pos x="T0" y="T1"/>
                </a:cxn>
                <a:cxn ang="T11">
                  <a:pos x="T2" y="T3"/>
                </a:cxn>
                <a:cxn ang="T12">
                  <a:pos x="T4" y="T5"/>
                </a:cxn>
                <a:cxn ang="T13">
                  <a:pos x="T6" y="T7"/>
                </a:cxn>
                <a:cxn ang="T14">
                  <a:pos x="T8" y="T9"/>
                </a:cxn>
              </a:cxnLst>
              <a:rect l="T15" t="T16" r="T17" b="T18"/>
              <a:pathLst>
                <a:path w="30" h="79">
                  <a:moveTo>
                    <a:pt x="0" y="5"/>
                  </a:moveTo>
                  <a:lnTo>
                    <a:pt x="5" y="79"/>
                  </a:lnTo>
                  <a:lnTo>
                    <a:pt x="30" y="79"/>
                  </a:lnTo>
                  <a:lnTo>
                    <a:pt x="30"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4" name="Freeform 38"/>
            <p:cNvSpPr>
              <a:spLocks/>
            </p:cNvSpPr>
            <p:nvPr/>
          </p:nvSpPr>
          <p:spPr bwMode="auto">
            <a:xfrm>
              <a:off x="5308" y="3311"/>
              <a:ext cx="10" cy="26"/>
            </a:xfrm>
            <a:custGeom>
              <a:avLst/>
              <a:gdLst>
                <a:gd name="T0" fmla="*/ 0 w 32"/>
                <a:gd name="T1" fmla="*/ 0 h 79"/>
                <a:gd name="T2" fmla="*/ 0 w 32"/>
                <a:gd name="T3" fmla="*/ 0 h 79"/>
                <a:gd name="T4" fmla="*/ 0 w 32"/>
                <a:gd name="T5" fmla="*/ 0 h 79"/>
                <a:gd name="T6" fmla="*/ 0 w 32"/>
                <a:gd name="T7" fmla="*/ 0 h 79"/>
                <a:gd name="T8" fmla="*/ 0 w 32"/>
                <a:gd name="T9" fmla="*/ 0 h 79"/>
                <a:gd name="T10" fmla="*/ 0 60000 65536"/>
                <a:gd name="T11" fmla="*/ 0 60000 65536"/>
                <a:gd name="T12" fmla="*/ 0 60000 65536"/>
                <a:gd name="T13" fmla="*/ 0 60000 65536"/>
                <a:gd name="T14" fmla="*/ 0 60000 65536"/>
                <a:gd name="T15" fmla="*/ 0 w 32"/>
                <a:gd name="T16" fmla="*/ 0 h 79"/>
                <a:gd name="T17" fmla="*/ 32 w 32"/>
                <a:gd name="T18" fmla="*/ 79 h 79"/>
              </a:gdLst>
              <a:ahLst/>
              <a:cxnLst>
                <a:cxn ang="T10">
                  <a:pos x="T0" y="T1"/>
                </a:cxn>
                <a:cxn ang="T11">
                  <a:pos x="T2" y="T3"/>
                </a:cxn>
                <a:cxn ang="T12">
                  <a:pos x="T4" y="T5"/>
                </a:cxn>
                <a:cxn ang="T13">
                  <a:pos x="T6" y="T7"/>
                </a:cxn>
                <a:cxn ang="T14">
                  <a:pos x="T8" y="T9"/>
                </a:cxn>
              </a:cxnLst>
              <a:rect l="T15" t="T16" r="T17" b="T18"/>
              <a:pathLst>
                <a:path w="32" h="79">
                  <a:moveTo>
                    <a:pt x="0" y="5"/>
                  </a:moveTo>
                  <a:lnTo>
                    <a:pt x="5" y="79"/>
                  </a:lnTo>
                  <a:lnTo>
                    <a:pt x="32" y="79"/>
                  </a:lnTo>
                  <a:lnTo>
                    <a:pt x="32"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5" name="Freeform 39"/>
            <p:cNvSpPr>
              <a:spLocks/>
            </p:cNvSpPr>
            <p:nvPr/>
          </p:nvSpPr>
          <p:spPr bwMode="auto">
            <a:xfrm>
              <a:off x="5344" y="3311"/>
              <a:ext cx="9" cy="26"/>
            </a:xfrm>
            <a:custGeom>
              <a:avLst/>
              <a:gdLst>
                <a:gd name="T0" fmla="*/ 0 w 29"/>
                <a:gd name="T1" fmla="*/ 0 h 79"/>
                <a:gd name="T2" fmla="*/ 0 w 29"/>
                <a:gd name="T3" fmla="*/ 0 h 79"/>
                <a:gd name="T4" fmla="*/ 0 w 29"/>
                <a:gd name="T5" fmla="*/ 0 h 79"/>
                <a:gd name="T6" fmla="*/ 0 w 29"/>
                <a:gd name="T7" fmla="*/ 0 h 79"/>
                <a:gd name="T8" fmla="*/ 0 w 29"/>
                <a:gd name="T9" fmla="*/ 0 h 79"/>
                <a:gd name="T10" fmla="*/ 0 60000 65536"/>
                <a:gd name="T11" fmla="*/ 0 60000 65536"/>
                <a:gd name="T12" fmla="*/ 0 60000 65536"/>
                <a:gd name="T13" fmla="*/ 0 60000 65536"/>
                <a:gd name="T14" fmla="*/ 0 60000 65536"/>
                <a:gd name="T15" fmla="*/ 0 w 29"/>
                <a:gd name="T16" fmla="*/ 0 h 79"/>
                <a:gd name="T17" fmla="*/ 29 w 29"/>
                <a:gd name="T18" fmla="*/ 79 h 79"/>
              </a:gdLst>
              <a:ahLst/>
              <a:cxnLst>
                <a:cxn ang="T10">
                  <a:pos x="T0" y="T1"/>
                </a:cxn>
                <a:cxn ang="T11">
                  <a:pos x="T2" y="T3"/>
                </a:cxn>
                <a:cxn ang="T12">
                  <a:pos x="T4" y="T5"/>
                </a:cxn>
                <a:cxn ang="T13">
                  <a:pos x="T6" y="T7"/>
                </a:cxn>
                <a:cxn ang="T14">
                  <a:pos x="T8" y="T9"/>
                </a:cxn>
              </a:cxnLst>
              <a:rect l="T15" t="T16" r="T17" b="T18"/>
              <a:pathLst>
                <a:path w="29" h="79">
                  <a:moveTo>
                    <a:pt x="0" y="5"/>
                  </a:moveTo>
                  <a:lnTo>
                    <a:pt x="5" y="79"/>
                  </a:lnTo>
                  <a:lnTo>
                    <a:pt x="29" y="79"/>
                  </a:lnTo>
                  <a:lnTo>
                    <a:pt x="2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6" name="Freeform 40"/>
            <p:cNvSpPr>
              <a:spLocks/>
            </p:cNvSpPr>
            <p:nvPr/>
          </p:nvSpPr>
          <p:spPr bwMode="auto">
            <a:xfrm>
              <a:off x="4865" y="3306"/>
              <a:ext cx="567" cy="230"/>
            </a:xfrm>
            <a:custGeom>
              <a:avLst/>
              <a:gdLst>
                <a:gd name="T0" fmla="*/ 0 w 1702"/>
                <a:gd name="T1" fmla="*/ 0 h 688"/>
                <a:gd name="T2" fmla="*/ 0 w 1702"/>
                <a:gd name="T3" fmla="*/ 0 h 688"/>
                <a:gd name="T4" fmla="*/ 0 w 1702"/>
                <a:gd name="T5" fmla="*/ 0 h 688"/>
                <a:gd name="T6" fmla="*/ 0 w 1702"/>
                <a:gd name="T7" fmla="*/ 0 h 688"/>
                <a:gd name="T8" fmla="*/ 0 w 1702"/>
                <a:gd name="T9" fmla="*/ 0 h 688"/>
                <a:gd name="T10" fmla="*/ 0 w 1702"/>
                <a:gd name="T11" fmla="*/ 0 h 688"/>
                <a:gd name="T12" fmla="*/ 0 w 1702"/>
                <a:gd name="T13" fmla="*/ 0 h 688"/>
                <a:gd name="T14" fmla="*/ 0 w 1702"/>
                <a:gd name="T15" fmla="*/ 0 h 688"/>
                <a:gd name="T16" fmla="*/ 0 w 1702"/>
                <a:gd name="T17" fmla="*/ 0 h 688"/>
                <a:gd name="T18" fmla="*/ 0 w 1702"/>
                <a:gd name="T19" fmla="*/ 0 h 688"/>
                <a:gd name="T20" fmla="*/ 0 w 1702"/>
                <a:gd name="T21" fmla="*/ 0 h 688"/>
                <a:gd name="T22" fmla="*/ 0 w 1702"/>
                <a:gd name="T23" fmla="*/ 0 h 688"/>
                <a:gd name="T24" fmla="*/ 0 w 1702"/>
                <a:gd name="T25" fmla="*/ 0 h 688"/>
                <a:gd name="T26" fmla="*/ 0 w 1702"/>
                <a:gd name="T27" fmla="*/ 0 h 688"/>
                <a:gd name="T28" fmla="*/ 0 w 1702"/>
                <a:gd name="T29" fmla="*/ 0 h 688"/>
                <a:gd name="T30" fmla="*/ 0 w 1702"/>
                <a:gd name="T31" fmla="*/ 0 h 688"/>
                <a:gd name="T32" fmla="*/ 0 w 1702"/>
                <a:gd name="T33" fmla="*/ 0 h 688"/>
                <a:gd name="T34" fmla="*/ 0 w 1702"/>
                <a:gd name="T35" fmla="*/ 0 h 688"/>
                <a:gd name="T36" fmla="*/ 0 w 1702"/>
                <a:gd name="T37" fmla="*/ 0 h 688"/>
                <a:gd name="T38" fmla="*/ 0 w 1702"/>
                <a:gd name="T39" fmla="*/ 0 h 688"/>
                <a:gd name="T40" fmla="*/ 0 w 1702"/>
                <a:gd name="T41" fmla="*/ 0 h 688"/>
                <a:gd name="T42" fmla="*/ 0 w 1702"/>
                <a:gd name="T43" fmla="*/ 0 h 688"/>
                <a:gd name="T44" fmla="*/ 0 w 1702"/>
                <a:gd name="T45" fmla="*/ 0 h 688"/>
                <a:gd name="T46" fmla="*/ 0 w 1702"/>
                <a:gd name="T47" fmla="*/ 0 h 688"/>
                <a:gd name="T48" fmla="*/ 0 w 1702"/>
                <a:gd name="T49" fmla="*/ 0 h 688"/>
                <a:gd name="T50" fmla="*/ 0 w 1702"/>
                <a:gd name="T51" fmla="*/ 0 h 688"/>
                <a:gd name="T52" fmla="*/ 0 w 1702"/>
                <a:gd name="T53" fmla="*/ 0 h 688"/>
                <a:gd name="T54" fmla="*/ 0 w 1702"/>
                <a:gd name="T55" fmla="*/ 0 h 688"/>
                <a:gd name="T56" fmla="*/ 0 w 1702"/>
                <a:gd name="T57" fmla="*/ 0 h 688"/>
                <a:gd name="T58" fmla="*/ 0 w 1702"/>
                <a:gd name="T59" fmla="*/ 0 h 688"/>
                <a:gd name="T60" fmla="*/ 0 w 1702"/>
                <a:gd name="T61" fmla="*/ 0 h 688"/>
                <a:gd name="T62" fmla="*/ 0 w 1702"/>
                <a:gd name="T63" fmla="*/ 0 h 688"/>
                <a:gd name="T64" fmla="*/ 0 w 1702"/>
                <a:gd name="T65" fmla="*/ 0 h 688"/>
                <a:gd name="T66" fmla="*/ 0 w 1702"/>
                <a:gd name="T67" fmla="*/ 0 h 688"/>
                <a:gd name="T68" fmla="*/ 0 w 1702"/>
                <a:gd name="T69" fmla="*/ 0 h 688"/>
                <a:gd name="T70" fmla="*/ 0 w 1702"/>
                <a:gd name="T71" fmla="*/ 0 h 688"/>
                <a:gd name="T72" fmla="*/ 0 w 1702"/>
                <a:gd name="T73" fmla="*/ 0 h 688"/>
                <a:gd name="T74" fmla="*/ 0 w 1702"/>
                <a:gd name="T75" fmla="*/ 0 h 688"/>
                <a:gd name="T76" fmla="*/ 0 w 1702"/>
                <a:gd name="T77" fmla="*/ 0 h 688"/>
                <a:gd name="T78" fmla="*/ 0 w 1702"/>
                <a:gd name="T79" fmla="*/ 0 h 688"/>
                <a:gd name="T80" fmla="*/ 0 w 1702"/>
                <a:gd name="T81" fmla="*/ 0 h 688"/>
                <a:gd name="T82" fmla="*/ 0 w 1702"/>
                <a:gd name="T83" fmla="*/ 0 h 688"/>
                <a:gd name="T84" fmla="*/ 0 w 1702"/>
                <a:gd name="T85" fmla="*/ 0 h 688"/>
                <a:gd name="T86" fmla="*/ 0 w 1702"/>
                <a:gd name="T87" fmla="*/ 0 h 688"/>
                <a:gd name="T88" fmla="*/ 0 w 1702"/>
                <a:gd name="T89" fmla="*/ 0 h 688"/>
                <a:gd name="T90" fmla="*/ 0 w 1702"/>
                <a:gd name="T91" fmla="*/ 0 h 688"/>
                <a:gd name="T92" fmla="*/ 0 w 1702"/>
                <a:gd name="T93" fmla="*/ 0 h 688"/>
                <a:gd name="T94" fmla="*/ 0 w 1702"/>
                <a:gd name="T95" fmla="*/ 0 h 688"/>
                <a:gd name="T96" fmla="*/ 0 w 1702"/>
                <a:gd name="T97" fmla="*/ 0 h 688"/>
                <a:gd name="T98" fmla="*/ 0 w 1702"/>
                <a:gd name="T99" fmla="*/ 0 h 688"/>
                <a:gd name="T100" fmla="*/ 0 w 1702"/>
                <a:gd name="T101" fmla="*/ 0 h 6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02"/>
                <a:gd name="T154" fmla="*/ 0 h 688"/>
                <a:gd name="T155" fmla="*/ 1702 w 1702"/>
                <a:gd name="T156" fmla="*/ 688 h 6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02" h="688">
                  <a:moveTo>
                    <a:pt x="39" y="78"/>
                  </a:moveTo>
                  <a:lnTo>
                    <a:pt x="39" y="38"/>
                  </a:lnTo>
                  <a:lnTo>
                    <a:pt x="305" y="38"/>
                  </a:lnTo>
                  <a:lnTo>
                    <a:pt x="616" y="31"/>
                  </a:lnTo>
                  <a:lnTo>
                    <a:pt x="811" y="22"/>
                  </a:lnTo>
                  <a:lnTo>
                    <a:pt x="1046" y="20"/>
                  </a:lnTo>
                  <a:lnTo>
                    <a:pt x="1301" y="22"/>
                  </a:lnTo>
                  <a:lnTo>
                    <a:pt x="1507" y="26"/>
                  </a:lnTo>
                  <a:lnTo>
                    <a:pt x="1534" y="38"/>
                  </a:lnTo>
                  <a:lnTo>
                    <a:pt x="1551" y="73"/>
                  </a:lnTo>
                  <a:lnTo>
                    <a:pt x="1566" y="108"/>
                  </a:lnTo>
                  <a:lnTo>
                    <a:pt x="1589" y="139"/>
                  </a:lnTo>
                  <a:lnTo>
                    <a:pt x="1627" y="159"/>
                  </a:lnTo>
                  <a:lnTo>
                    <a:pt x="1624" y="204"/>
                  </a:lnTo>
                  <a:lnTo>
                    <a:pt x="1606" y="263"/>
                  </a:lnTo>
                  <a:lnTo>
                    <a:pt x="1606" y="324"/>
                  </a:lnTo>
                  <a:lnTo>
                    <a:pt x="1606" y="375"/>
                  </a:lnTo>
                  <a:lnTo>
                    <a:pt x="1598" y="432"/>
                  </a:lnTo>
                  <a:lnTo>
                    <a:pt x="1619" y="485"/>
                  </a:lnTo>
                  <a:lnTo>
                    <a:pt x="1647" y="516"/>
                  </a:lnTo>
                  <a:lnTo>
                    <a:pt x="1676" y="557"/>
                  </a:lnTo>
                  <a:lnTo>
                    <a:pt x="1682" y="604"/>
                  </a:lnTo>
                  <a:lnTo>
                    <a:pt x="1676" y="665"/>
                  </a:lnTo>
                  <a:lnTo>
                    <a:pt x="1578" y="627"/>
                  </a:lnTo>
                  <a:lnTo>
                    <a:pt x="1563" y="593"/>
                  </a:lnTo>
                  <a:lnTo>
                    <a:pt x="1569" y="527"/>
                  </a:lnTo>
                  <a:lnTo>
                    <a:pt x="1563" y="485"/>
                  </a:lnTo>
                  <a:lnTo>
                    <a:pt x="1534" y="430"/>
                  </a:lnTo>
                  <a:lnTo>
                    <a:pt x="1514" y="370"/>
                  </a:lnTo>
                  <a:lnTo>
                    <a:pt x="1508" y="324"/>
                  </a:lnTo>
                  <a:lnTo>
                    <a:pt x="1522" y="268"/>
                  </a:lnTo>
                  <a:lnTo>
                    <a:pt x="1538" y="220"/>
                  </a:lnTo>
                  <a:lnTo>
                    <a:pt x="1538" y="174"/>
                  </a:lnTo>
                  <a:lnTo>
                    <a:pt x="1523" y="136"/>
                  </a:lnTo>
                  <a:lnTo>
                    <a:pt x="1501" y="108"/>
                  </a:lnTo>
                  <a:lnTo>
                    <a:pt x="1466" y="108"/>
                  </a:lnTo>
                  <a:lnTo>
                    <a:pt x="1330" y="116"/>
                  </a:lnTo>
                  <a:lnTo>
                    <a:pt x="1178" y="122"/>
                  </a:lnTo>
                  <a:lnTo>
                    <a:pt x="1003" y="122"/>
                  </a:lnTo>
                  <a:lnTo>
                    <a:pt x="831" y="116"/>
                  </a:lnTo>
                  <a:lnTo>
                    <a:pt x="702" y="108"/>
                  </a:lnTo>
                  <a:lnTo>
                    <a:pt x="547" y="123"/>
                  </a:lnTo>
                  <a:lnTo>
                    <a:pt x="301" y="127"/>
                  </a:lnTo>
                  <a:lnTo>
                    <a:pt x="139" y="127"/>
                  </a:lnTo>
                  <a:lnTo>
                    <a:pt x="41" y="116"/>
                  </a:lnTo>
                  <a:lnTo>
                    <a:pt x="23" y="139"/>
                  </a:lnTo>
                  <a:lnTo>
                    <a:pt x="105" y="142"/>
                  </a:lnTo>
                  <a:lnTo>
                    <a:pt x="200" y="147"/>
                  </a:lnTo>
                  <a:lnTo>
                    <a:pt x="337" y="147"/>
                  </a:lnTo>
                  <a:lnTo>
                    <a:pt x="447" y="147"/>
                  </a:lnTo>
                  <a:lnTo>
                    <a:pt x="566" y="142"/>
                  </a:lnTo>
                  <a:lnTo>
                    <a:pt x="687" y="128"/>
                  </a:lnTo>
                  <a:lnTo>
                    <a:pt x="727" y="128"/>
                  </a:lnTo>
                  <a:lnTo>
                    <a:pt x="828" y="128"/>
                  </a:lnTo>
                  <a:lnTo>
                    <a:pt x="927" y="139"/>
                  </a:lnTo>
                  <a:lnTo>
                    <a:pt x="1064" y="136"/>
                  </a:lnTo>
                  <a:lnTo>
                    <a:pt x="1212" y="142"/>
                  </a:lnTo>
                  <a:lnTo>
                    <a:pt x="1302" y="134"/>
                  </a:lnTo>
                  <a:lnTo>
                    <a:pt x="1398" y="128"/>
                  </a:lnTo>
                  <a:lnTo>
                    <a:pt x="1452" y="128"/>
                  </a:lnTo>
                  <a:lnTo>
                    <a:pt x="1492" y="127"/>
                  </a:lnTo>
                  <a:lnTo>
                    <a:pt x="1514" y="153"/>
                  </a:lnTo>
                  <a:lnTo>
                    <a:pt x="1522" y="189"/>
                  </a:lnTo>
                  <a:lnTo>
                    <a:pt x="1514" y="240"/>
                  </a:lnTo>
                  <a:lnTo>
                    <a:pt x="1493" y="298"/>
                  </a:lnTo>
                  <a:lnTo>
                    <a:pt x="1488" y="355"/>
                  </a:lnTo>
                  <a:lnTo>
                    <a:pt x="1507" y="406"/>
                  </a:lnTo>
                  <a:lnTo>
                    <a:pt x="1536" y="472"/>
                  </a:lnTo>
                  <a:lnTo>
                    <a:pt x="1551" y="526"/>
                  </a:lnTo>
                  <a:lnTo>
                    <a:pt x="1547" y="601"/>
                  </a:lnTo>
                  <a:lnTo>
                    <a:pt x="1558" y="638"/>
                  </a:lnTo>
                  <a:lnTo>
                    <a:pt x="1571" y="645"/>
                  </a:lnTo>
                  <a:lnTo>
                    <a:pt x="1689" y="688"/>
                  </a:lnTo>
                  <a:lnTo>
                    <a:pt x="1694" y="659"/>
                  </a:lnTo>
                  <a:lnTo>
                    <a:pt x="1702" y="587"/>
                  </a:lnTo>
                  <a:lnTo>
                    <a:pt x="1697" y="552"/>
                  </a:lnTo>
                  <a:lnTo>
                    <a:pt x="1674" y="518"/>
                  </a:lnTo>
                  <a:lnTo>
                    <a:pt x="1632" y="463"/>
                  </a:lnTo>
                  <a:lnTo>
                    <a:pt x="1619" y="437"/>
                  </a:lnTo>
                  <a:lnTo>
                    <a:pt x="1613" y="405"/>
                  </a:lnTo>
                  <a:lnTo>
                    <a:pt x="1624" y="345"/>
                  </a:lnTo>
                  <a:lnTo>
                    <a:pt x="1624" y="304"/>
                  </a:lnTo>
                  <a:lnTo>
                    <a:pt x="1627" y="258"/>
                  </a:lnTo>
                  <a:lnTo>
                    <a:pt x="1641" y="204"/>
                  </a:lnTo>
                  <a:lnTo>
                    <a:pt x="1641" y="174"/>
                  </a:lnTo>
                  <a:lnTo>
                    <a:pt x="1641" y="143"/>
                  </a:lnTo>
                  <a:lnTo>
                    <a:pt x="1624" y="128"/>
                  </a:lnTo>
                  <a:lnTo>
                    <a:pt x="1598" y="122"/>
                  </a:lnTo>
                  <a:lnTo>
                    <a:pt x="1584" y="99"/>
                  </a:lnTo>
                  <a:lnTo>
                    <a:pt x="1566" y="51"/>
                  </a:lnTo>
                  <a:lnTo>
                    <a:pt x="1542" y="20"/>
                  </a:lnTo>
                  <a:lnTo>
                    <a:pt x="1508" y="0"/>
                  </a:lnTo>
                  <a:lnTo>
                    <a:pt x="1357" y="2"/>
                  </a:lnTo>
                  <a:lnTo>
                    <a:pt x="1182" y="6"/>
                  </a:lnTo>
                  <a:lnTo>
                    <a:pt x="1029" y="0"/>
                  </a:lnTo>
                  <a:lnTo>
                    <a:pt x="848" y="6"/>
                  </a:lnTo>
                  <a:lnTo>
                    <a:pt x="677" y="7"/>
                  </a:lnTo>
                  <a:lnTo>
                    <a:pt x="466" y="18"/>
                  </a:lnTo>
                  <a:lnTo>
                    <a:pt x="236" y="18"/>
                  </a:lnTo>
                  <a:lnTo>
                    <a:pt x="89" y="20"/>
                  </a:lnTo>
                  <a:lnTo>
                    <a:pt x="0" y="22"/>
                  </a:lnTo>
                  <a:lnTo>
                    <a:pt x="23" y="108"/>
                  </a:lnTo>
                  <a:lnTo>
                    <a:pt x="39"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7" name="Freeform 41"/>
            <p:cNvSpPr>
              <a:spLocks/>
            </p:cNvSpPr>
            <p:nvPr/>
          </p:nvSpPr>
          <p:spPr bwMode="auto">
            <a:xfrm>
              <a:off x="5383" y="3354"/>
              <a:ext cx="23" cy="18"/>
            </a:xfrm>
            <a:custGeom>
              <a:avLst/>
              <a:gdLst>
                <a:gd name="T0" fmla="*/ 0 w 71"/>
                <a:gd name="T1" fmla="*/ 0 h 54"/>
                <a:gd name="T2" fmla="*/ 0 w 71"/>
                <a:gd name="T3" fmla="*/ 0 h 54"/>
                <a:gd name="T4" fmla="*/ 0 w 71"/>
                <a:gd name="T5" fmla="*/ 0 h 54"/>
                <a:gd name="T6" fmla="*/ 0 w 71"/>
                <a:gd name="T7" fmla="*/ 0 h 54"/>
                <a:gd name="T8" fmla="*/ 0 w 71"/>
                <a:gd name="T9" fmla="*/ 0 h 54"/>
                <a:gd name="T10" fmla="*/ 0 60000 65536"/>
                <a:gd name="T11" fmla="*/ 0 60000 65536"/>
                <a:gd name="T12" fmla="*/ 0 60000 65536"/>
                <a:gd name="T13" fmla="*/ 0 60000 65536"/>
                <a:gd name="T14" fmla="*/ 0 60000 65536"/>
                <a:gd name="T15" fmla="*/ 0 w 71"/>
                <a:gd name="T16" fmla="*/ 0 h 54"/>
                <a:gd name="T17" fmla="*/ 71 w 71"/>
                <a:gd name="T18" fmla="*/ 54 h 54"/>
              </a:gdLst>
              <a:ahLst/>
              <a:cxnLst>
                <a:cxn ang="T10">
                  <a:pos x="T0" y="T1"/>
                </a:cxn>
                <a:cxn ang="T11">
                  <a:pos x="T2" y="T3"/>
                </a:cxn>
                <a:cxn ang="T12">
                  <a:pos x="T4" y="T5"/>
                </a:cxn>
                <a:cxn ang="T13">
                  <a:pos x="T6" y="T7"/>
                </a:cxn>
                <a:cxn ang="T14">
                  <a:pos x="T8" y="T9"/>
                </a:cxn>
              </a:cxnLst>
              <a:rect l="T15" t="T16" r="T17" b="T18"/>
              <a:pathLst>
                <a:path w="71" h="54">
                  <a:moveTo>
                    <a:pt x="47" y="0"/>
                  </a:moveTo>
                  <a:lnTo>
                    <a:pt x="0" y="38"/>
                  </a:lnTo>
                  <a:lnTo>
                    <a:pt x="9" y="54"/>
                  </a:lnTo>
                  <a:lnTo>
                    <a:pt x="71" y="12"/>
                  </a:lnTo>
                  <a:lnTo>
                    <a:pt x="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8" name="Freeform 42"/>
            <p:cNvSpPr>
              <a:spLocks/>
            </p:cNvSpPr>
            <p:nvPr/>
          </p:nvSpPr>
          <p:spPr bwMode="auto">
            <a:xfrm>
              <a:off x="5380" y="3381"/>
              <a:ext cx="26" cy="14"/>
            </a:xfrm>
            <a:custGeom>
              <a:avLst/>
              <a:gdLst>
                <a:gd name="T0" fmla="*/ 0 w 76"/>
                <a:gd name="T1" fmla="*/ 0 h 42"/>
                <a:gd name="T2" fmla="*/ 0 w 76"/>
                <a:gd name="T3" fmla="*/ 0 h 42"/>
                <a:gd name="T4" fmla="*/ 0 w 76"/>
                <a:gd name="T5" fmla="*/ 0 h 42"/>
                <a:gd name="T6" fmla="*/ 0 w 76"/>
                <a:gd name="T7" fmla="*/ 0 h 42"/>
                <a:gd name="T8" fmla="*/ 0 w 76"/>
                <a:gd name="T9" fmla="*/ 0 h 42"/>
                <a:gd name="T10" fmla="*/ 0 60000 65536"/>
                <a:gd name="T11" fmla="*/ 0 60000 65536"/>
                <a:gd name="T12" fmla="*/ 0 60000 65536"/>
                <a:gd name="T13" fmla="*/ 0 60000 65536"/>
                <a:gd name="T14" fmla="*/ 0 60000 65536"/>
                <a:gd name="T15" fmla="*/ 0 w 76"/>
                <a:gd name="T16" fmla="*/ 0 h 42"/>
                <a:gd name="T17" fmla="*/ 76 w 76"/>
                <a:gd name="T18" fmla="*/ 42 h 42"/>
              </a:gdLst>
              <a:ahLst/>
              <a:cxnLst>
                <a:cxn ang="T10">
                  <a:pos x="T0" y="T1"/>
                </a:cxn>
                <a:cxn ang="T11">
                  <a:pos x="T2" y="T3"/>
                </a:cxn>
                <a:cxn ang="T12">
                  <a:pos x="T4" y="T5"/>
                </a:cxn>
                <a:cxn ang="T13">
                  <a:pos x="T6" y="T7"/>
                </a:cxn>
                <a:cxn ang="T14">
                  <a:pos x="T8" y="T9"/>
                </a:cxn>
              </a:cxnLst>
              <a:rect l="T15" t="T16" r="T17" b="T18"/>
              <a:pathLst>
                <a:path w="76" h="42">
                  <a:moveTo>
                    <a:pt x="76" y="14"/>
                  </a:moveTo>
                  <a:lnTo>
                    <a:pt x="12" y="0"/>
                  </a:lnTo>
                  <a:lnTo>
                    <a:pt x="0" y="26"/>
                  </a:lnTo>
                  <a:lnTo>
                    <a:pt x="66" y="42"/>
                  </a:lnTo>
                  <a:lnTo>
                    <a:pt x="7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59" name="Freeform 43"/>
            <p:cNvSpPr>
              <a:spLocks/>
            </p:cNvSpPr>
            <p:nvPr/>
          </p:nvSpPr>
          <p:spPr bwMode="auto">
            <a:xfrm>
              <a:off x="5374" y="3416"/>
              <a:ext cx="30" cy="11"/>
            </a:xfrm>
            <a:custGeom>
              <a:avLst/>
              <a:gdLst>
                <a:gd name="T0" fmla="*/ 0 w 91"/>
                <a:gd name="T1" fmla="*/ 0 h 32"/>
                <a:gd name="T2" fmla="*/ 0 w 91"/>
                <a:gd name="T3" fmla="*/ 0 h 32"/>
                <a:gd name="T4" fmla="*/ 0 w 91"/>
                <a:gd name="T5" fmla="*/ 0 h 32"/>
                <a:gd name="T6" fmla="*/ 0 w 91"/>
                <a:gd name="T7" fmla="*/ 0 h 32"/>
                <a:gd name="T8" fmla="*/ 0 w 91"/>
                <a:gd name="T9" fmla="*/ 0 h 32"/>
                <a:gd name="T10" fmla="*/ 0 60000 65536"/>
                <a:gd name="T11" fmla="*/ 0 60000 65536"/>
                <a:gd name="T12" fmla="*/ 0 60000 65536"/>
                <a:gd name="T13" fmla="*/ 0 60000 65536"/>
                <a:gd name="T14" fmla="*/ 0 60000 65536"/>
                <a:gd name="T15" fmla="*/ 0 w 91"/>
                <a:gd name="T16" fmla="*/ 0 h 32"/>
                <a:gd name="T17" fmla="*/ 91 w 91"/>
                <a:gd name="T18" fmla="*/ 32 h 32"/>
              </a:gdLst>
              <a:ahLst/>
              <a:cxnLst>
                <a:cxn ang="T10">
                  <a:pos x="T0" y="T1"/>
                </a:cxn>
                <a:cxn ang="T11">
                  <a:pos x="T2" y="T3"/>
                </a:cxn>
                <a:cxn ang="T12">
                  <a:pos x="T4" y="T5"/>
                </a:cxn>
                <a:cxn ang="T13">
                  <a:pos x="T6" y="T7"/>
                </a:cxn>
                <a:cxn ang="T14">
                  <a:pos x="T8" y="T9"/>
                </a:cxn>
              </a:cxnLst>
              <a:rect l="T15" t="T16" r="T17" b="T18"/>
              <a:pathLst>
                <a:path w="91" h="32">
                  <a:moveTo>
                    <a:pt x="85" y="3"/>
                  </a:moveTo>
                  <a:lnTo>
                    <a:pt x="0" y="0"/>
                  </a:lnTo>
                  <a:lnTo>
                    <a:pt x="4" y="23"/>
                  </a:lnTo>
                  <a:lnTo>
                    <a:pt x="91" y="32"/>
                  </a:lnTo>
                  <a:lnTo>
                    <a:pt x="8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0" name="Freeform 44"/>
            <p:cNvSpPr>
              <a:spLocks/>
            </p:cNvSpPr>
            <p:nvPr/>
          </p:nvSpPr>
          <p:spPr bwMode="auto">
            <a:xfrm>
              <a:off x="5383" y="3452"/>
              <a:ext cx="19" cy="11"/>
            </a:xfrm>
            <a:custGeom>
              <a:avLst/>
              <a:gdLst>
                <a:gd name="T0" fmla="*/ 0 w 59"/>
                <a:gd name="T1" fmla="*/ 0 h 33"/>
                <a:gd name="T2" fmla="*/ 0 w 59"/>
                <a:gd name="T3" fmla="*/ 0 h 33"/>
                <a:gd name="T4" fmla="*/ 0 w 59"/>
                <a:gd name="T5" fmla="*/ 0 h 33"/>
                <a:gd name="T6" fmla="*/ 0 w 59"/>
                <a:gd name="T7" fmla="*/ 0 h 33"/>
                <a:gd name="T8" fmla="*/ 0 w 59"/>
                <a:gd name="T9" fmla="*/ 0 h 33"/>
                <a:gd name="T10" fmla="*/ 0 60000 65536"/>
                <a:gd name="T11" fmla="*/ 0 60000 65536"/>
                <a:gd name="T12" fmla="*/ 0 60000 65536"/>
                <a:gd name="T13" fmla="*/ 0 60000 65536"/>
                <a:gd name="T14" fmla="*/ 0 60000 65536"/>
                <a:gd name="T15" fmla="*/ 0 w 59"/>
                <a:gd name="T16" fmla="*/ 0 h 33"/>
                <a:gd name="T17" fmla="*/ 59 w 59"/>
                <a:gd name="T18" fmla="*/ 33 h 33"/>
              </a:gdLst>
              <a:ahLst/>
              <a:cxnLst>
                <a:cxn ang="T10">
                  <a:pos x="T0" y="T1"/>
                </a:cxn>
                <a:cxn ang="T11">
                  <a:pos x="T2" y="T3"/>
                </a:cxn>
                <a:cxn ang="T12">
                  <a:pos x="T4" y="T5"/>
                </a:cxn>
                <a:cxn ang="T13">
                  <a:pos x="T6" y="T7"/>
                </a:cxn>
                <a:cxn ang="T14">
                  <a:pos x="T8" y="T9"/>
                </a:cxn>
              </a:cxnLst>
              <a:rect l="T15" t="T16" r="T17" b="T18"/>
              <a:pathLst>
                <a:path w="59" h="33">
                  <a:moveTo>
                    <a:pt x="55" y="0"/>
                  </a:moveTo>
                  <a:lnTo>
                    <a:pt x="0" y="8"/>
                  </a:lnTo>
                  <a:lnTo>
                    <a:pt x="11" y="33"/>
                  </a:lnTo>
                  <a:lnTo>
                    <a:pt x="59" y="23"/>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1" name="Freeform 45"/>
            <p:cNvSpPr>
              <a:spLocks/>
            </p:cNvSpPr>
            <p:nvPr/>
          </p:nvSpPr>
          <p:spPr bwMode="auto">
            <a:xfrm>
              <a:off x="5394" y="3481"/>
              <a:ext cx="30" cy="9"/>
            </a:xfrm>
            <a:custGeom>
              <a:avLst/>
              <a:gdLst>
                <a:gd name="T0" fmla="*/ 0 w 89"/>
                <a:gd name="T1" fmla="*/ 0 h 27"/>
                <a:gd name="T2" fmla="*/ 0 w 89"/>
                <a:gd name="T3" fmla="*/ 0 h 27"/>
                <a:gd name="T4" fmla="*/ 0 w 89"/>
                <a:gd name="T5" fmla="*/ 0 h 27"/>
                <a:gd name="T6" fmla="*/ 0 w 89"/>
                <a:gd name="T7" fmla="*/ 0 h 27"/>
                <a:gd name="T8" fmla="*/ 0 w 89"/>
                <a:gd name="T9" fmla="*/ 0 h 27"/>
                <a:gd name="T10" fmla="*/ 0 60000 65536"/>
                <a:gd name="T11" fmla="*/ 0 60000 65536"/>
                <a:gd name="T12" fmla="*/ 0 60000 65536"/>
                <a:gd name="T13" fmla="*/ 0 60000 65536"/>
                <a:gd name="T14" fmla="*/ 0 60000 65536"/>
                <a:gd name="T15" fmla="*/ 0 w 89"/>
                <a:gd name="T16" fmla="*/ 0 h 27"/>
                <a:gd name="T17" fmla="*/ 89 w 89"/>
                <a:gd name="T18" fmla="*/ 27 h 27"/>
              </a:gdLst>
              <a:ahLst/>
              <a:cxnLst>
                <a:cxn ang="T10">
                  <a:pos x="T0" y="T1"/>
                </a:cxn>
                <a:cxn ang="T11">
                  <a:pos x="T2" y="T3"/>
                </a:cxn>
                <a:cxn ang="T12">
                  <a:pos x="T4" y="T5"/>
                </a:cxn>
                <a:cxn ang="T13">
                  <a:pos x="T6" y="T7"/>
                </a:cxn>
                <a:cxn ang="T14">
                  <a:pos x="T8" y="T9"/>
                </a:cxn>
              </a:cxnLst>
              <a:rect l="T15" t="T16" r="T17" b="T18"/>
              <a:pathLst>
                <a:path w="89" h="27">
                  <a:moveTo>
                    <a:pt x="78" y="0"/>
                  </a:moveTo>
                  <a:lnTo>
                    <a:pt x="0" y="11"/>
                  </a:lnTo>
                  <a:lnTo>
                    <a:pt x="0" y="27"/>
                  </a:lnTo>
                  <a:lnTo>
                    <a:pt x="89" y="27"/>
                  </a:lnTo>
                  <a:lnTo>
                    <a:pt x="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2" name="Freeform 46"/>
            <p:cNvSpPr>
              <a:spLocks/>
            </p:cNvSpPr>
            <p:nvPr/>
          </p:nvSpPr>
          <p:spPr bwMode="auto">
            <a:xfrm>
              <a:off x="5403" y="3504"/>
              <a:ext cx="25" cy="13"/>
            </a:xfrm>
            <a:custGeom>
              <a:avLst/>
              <a:gdLst>
                <a:gd name="T0" fmla="*/ 0 w 75"/>
                <a:gd name="T1" fmla="*/ 0 h 39"/>
                <a:gd name="T2" fmla="*/ 0 w 75"/>
                <a:gd name="T3" fmla="*/ 0 h 39"/>
                <a:gd name="T4" fmla="*/ 0 w 75"/>
                <a:gd name="T5" fmla="*/ 0 h 39"/>
                <a:gd name="T6" fmla="*/ 0 w 75"/>
                <a:gd name="T7" fmla="*/ 0 h 39"/>
                <a:gd name="T8" fmla="*/ 0 w 75"/>
                <a:gd name="T9" fmla="*/ 0 h 39"/>
                <a:gd name="T10" fmla="*/ 0 60000 65536"/>
                <a:gd name="T11" fmla="*/ 0 60000 65536"/>
                <a:gd name="T12" fmla="*/ 0 60000 65536"/>
                <a:gd name="T13" fmla="*/ 0 60000 65536"/>
                <a:gd name="T14" fmla="*/ 0 60000 65536"/>
                <a:gd name="T15" fmla="*/ 0 w 75"/>
                <a:gd name="T16" fmla="*/ 0 h 39"/>
                <a:gd name="T17" fmla="*/ 75 w 75"/>
                <a:gd name="T18" fmla="*/ 39 h 39"/>
              </a:gdLst>
              <a:ahLst/>
              <a:cxnLst>
                <a:cxn ang="T10">
                  <a:pos x="T0" y="T1"/>
                </a:cxn>
                <a:cxn ang="T11">
                  <a:pos x="T2" y="T3"/>
                </a:cxn>
                <a:cxn ang="T12">
                  <a:pos x="T4" y="T5"/>
                </a:cxn>
                <a:cxn ang="T13">
                  <a:pos x="T6" y="T7"/>
                </a:cxn>
                <a:cxn ang="T14">
                  <a:pos x="T8" y="T9"/>
                </a:cxn>
              </a:cxnLst>
              <a:rect l="T15" t="T16" r="T17" b="T18"/>
              <a:pathLst>
                <a:path w="75" h="39">
                  <a:moveTo>
                    <a:pt x="75" y="19"/>
                  </a:moveTo>
                  <a:lnTo>
                    <a:pt x="0" y="0"/>
                  </a:lnTo>
                  <a:lnTo>
                    <a:pt x="0" y="19"/>
                  </a:lnTo>
                  <a:lnTo>
                    <a:pt x="73" y="39"/>
                  </a:lnTo>
                  <a:lnTo>
                    <a:pt x="7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3" name="Freeform 47"/>
            <p:cNvSpPr>
              <a:spLocks/>
            </p:cNvSpPr>
            <p:nvPr/>
          </p:nvSpPr>
          <p:spPr bwMode="auto">
            <a:xfrm>
              <a:off x="5116" y="3262"/>
              <a:ext cx="106" cy="92"/>
            </a:xfrm>
            <a:custGeom>
              <a:avLst/>
              <a:gdLst>
                <a:gd name="T0" fmla="*/ 0 w 318"/>
                <a:gd name="T1" fmla="*/ 0 h 275"/>
                <a:gd name="T2" fmla="*/ 0 w 318"/>
                <a:gd name="T3" fmla="*/ 0 h 275"/>
                <a:gd name="T4" fmla="*/ 0 w 318"/>
                <a:gd name="T5" fmla="*/ 0 h 275"/>
                <a:gd name="T6" fmla="*/ 0 w 318"/>
                <a:gd name="T7" fmla="*/ 0 h 275"/>
                <a:gd name="T8" fmla="*/ 0 w 318"/>
                <a:gd name="T9" fmla="*/ 0 h 275"/>
                <a:gd name="T10" fmla="*/ 0 w 318"/>
                <a:gd name="T11" fmla="*/ 0 h 275"/>
                <a:gd name="T12" fmla="*/ 0 w 318"/>
                <a:gd name="T13" fmla="*/ 0 h 275"/>
                <a:gd name="T14" fmla="*/ 0 w 318"/>
                <a:gd name="T15" fmla="*/ 0 h 275"/>
                <a:gd name="T16" fmla="*/ 0 w 318"/>
                <a:gd name="T17" fmla="*/ 0 h 275"/>
                <a:gd name="T18" fmla="*/ 0 w 318"/>
                <a:gd name="T19" fmla="*/ 0 h 275"/>
                <a:gd name="T20" fmla="*/ 0 w 318"/>
                <a:gd name="T21" fmla="*/ 0 h 275"/>
                <a:gd name="T22" fmla="*/ 0 w 318"/>
                <a:gd name="T23" fmla="*/ 0 h 275"/>
                <a:gd name="T24" fmla="*/ 0 w 318"/>
                <a:gd name="T25" fmla="*/ 0 h 275"/>
                <a:gd name="T26" fmla="*/ 0 w 318"/>
                <a:gd name="T27" fmla="*/ 0 h 275"/>
                <a:gd name="T28" fmla="*/ 0 w 318"/>
                <a:gd name="T29" fmla="*/ 0 h 275"/>
                <a:gd name="T30" fmla="*/ 0 w 318"/>
                <a:gd name="T31" fmla="*/ 0 h 275"/>
                <a:gd name="T32" fmla="*/ 0 w 318"/>
                <a:gd name="T33" fmla="*/ 0 h 275"/>
                <a:gd name="T34" fmla="*/ 0 w 318"/>
                <a:gd name="T35" fmla="*/ 0 h 275"/>
                <a:gd name="T36" fmla="*/ 0 w 318"/>
                <a:gd name="T37" fmla="*/ 0 h 275"/>
                <a:gd name="T38" fmla="*/ 0 w 318"/>
                <a:gd name="T39" fmla="*/ 0 h 275"/>
                <a:gd name="T40" fmla="*/ 0 w 318"/>
                <a:gd name="T41" fmla="*/ 0 h 275"/>
                <a:gd name="T42" fmla="*/ 0 w 318"/>
                <a:gd name="T43" fmla="*/ 0 h 275"/>
                <a:gd name="T44" fmla="*/ 0 w 318"/>
                <a:gd name="T45" fmla="*/ 0 h 275"/>
                <a:gd name="T46" fmla="*/ 0 w 318"/>
                <a:gd name="T47" fmla="*/ 0 h 275"/>
                <a:gd name="T48" fmla="*/ 0 w 318"/>
                <a:gd name="T49" fmla="*/ 0 h 275"/>
                <a:gd name="T50" fmla="*/ 0 w 318"/>
                <a:gd name="T51" fmla="*/ 0 h 275"/>
                <a:gd name="T52" fmla="*/ 0 w 318"/>
                <a:gd name="T53" fmla="*/ 0 h 275"/>
                <a:gd name="T54" fmla="*/ 0 w 318"/>
                <a:gd name="T55" fmla="*/ 0 h 275"/>
                <a:gd name="T56" fmla="*/ 0 w 318"/>
                <a:gd name="T57" fmla="*/ 0 h 275"/>
                <a:gd name="T58" fmla="*/ 0 w 318"/>
                <a:gd name="T59" fmla="*/ 0 h 2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8"/>
                <a:gd name="T91" fmla="*/ 0 h 275"/>
                <a:gd name="T92" fmla="*/ 318 w 318"/>
                <a:gd name="T93" fmla="*/ 275 h 2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8" h="275">
                  <a:moveTo>
                    <a:pt x="195" y="135"/>
                  </a:moveTo>
                  <a:lnTo>
                    <a:pt x="195" y="93"/>
                  </a:lnTo>
                  <a:lnTo>
                    <a:pt x="188" y="62"/>
                  </a:lnTo>
                  <a:lnTo>
                    <a:pt x="169" y="30"/>
                  </a:lnTo>
                  <a:lnTo>
                    <a:pt x="149" y="11"/>
                  </a:lnTo>
                  <a:lnTo>
                    <a:pt x="124" y="4"/>
                  </a:lnTo>
                  <a:lnTo>
                    <a:pt x="82" y="0"/>
                  </a:lnTo>
                  <a:lnTo>
                    <a:pt x="51" y="16"/>
                  </a:lnTo>
                  <a:lnTo>
                    <a:pt x="25" y="47"/>
                  </a:lnTo>
                  <a:lnTo>
                    <a:pt x="11" y="93"/>
                  </a:lnTo>
                  <a:lnTo>
                    <a:pt x="0" y="143"/>
                  </a:lnTo>
                  <a:lnTo>
                    <a:pt x="0" y="192"/>
                  </a:lnTo>
                  <a:lnTo>
                    <a:pt x="13" y="232"/>
                  </a:lnTo>
                  <a:lnTo>
                    <a:pt x="36" y="258"/>
                  </a:lnTo>
                  <a:lnTo>
                    <a:pt x="70" y="274"/>
                  </a:lnTo>
                  <a:lnTo>
                    <a:pt x="104" y="275"/>
                  </a:lnTo>
                  <a:lnTo>
                    <a:pt x="134" y="270"/>
                  </a:lnTo>
                  <a:lnTo>
                    <a:pt x="155" y="258"/>
                  </a:lnTo>
                  <a:lnTo>
                    <a:pt x="169" y="232"/>
                  </a:lnTo>
                  <a:lnTo>
                    <a:pt x="183" y="196"/>
                  </a:lnTo>
                  <a:lnTo>
                    <a:pt x="195" y="188"/>
                  </a:lnTo>
                  <a:lnTo>
                    <a:pt x="235" y="185"/>
                  </a:lnTo>
                  <a:lnTo>
                    <a:pt x="292" y="197"/>
                  </a:lnTo>
                  <a:lnTo>
                    <a:pt x="307" y="201"/>
                  </a:lnTo>
                  <a:lnTo>
                    <a:pt x="318" y="188"/>
                  </a:lnTo>
                  <a:lnTo>
                    <a:pt x="314" y="175"/>
                  </a:lnTo>
                  <a:lnTo>
                    <a:pt x="307" y="161"/>
                  </a:lnTo>
                  <a:lnTo>
                    <a:pt x="272" y="154"/>
                  </a:lnTo>
                  <a:lnTo>
                    <a:pt x="230" y="151"/>
                  </a:lnTo>
                  <a:lnTo>
                    <a:pt x="195" y="1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4" name="Freeform 48"/>
            <p:cNvSpPr>
              <a:spLocks/>
            </p:cNvSpPr>
            <p:nvPr/>
          </p:nvSpPr>
          <p:spPr bwMode="auto">
            <a:xfrm>
              <a:off x="5080" y="3356"/>
              <a:ext cx="84" cy="164"/>
            </a:xfrm>
            <a:custGeom>
              <a:avLst/>
              <a:gdLst>
                <a:gd name="T0" fmla="*/ 0 w 250"/>
                <a:gd name="T1" fmla="*/ 0 h 490"/>
                <a:gd name="T2" fmla="*/ 0 w 250"/>
                <a:gd name="T3" fmla="*/ 0 h 490"/>
                <a:gd name="T4" fmla="*/ 0 w 250"/>
                <a:gd name="T5" fmla="*/ 0 h 490"/>
                <a:gd name="T6" fmla="*/ 0 w 250"/>
                <a:gd name="T7" fmla="*/ 0 h 490"/>
                <a:gd name="T8" fmla="*/ 0 w 250"/>
                <a:gd name="T9" fmla="*/ 0 h 490"/>
                <a:gd name="T10" fmla="*/ 0 w 250"/>
                <a:gd name="T11" fmla="*/ 0 h 490"/>
                <a:gd name="T12" fmla="*/ 0 w 250"/>
                <a:gd name="T13" fmla="*/ 0 h 490"/>
                <a:gd name="T14" fmla="*/ 0 w 250"/>
                <a:gd name="T15" fmla="*/ 0 h 490"/>
                <a:gd name="T16" fmla="*/ 0 w 250"/>
                <a:gd name="T17" fmla="*/ 0 h 490"/>
                <a:gd name="T18" fmla="*/ 0 w 250"/>
                <a:gd name="T19" fmla="*/ 0 h 490"/>
                <a:gd name="T20" fmla="*/ 0 w 250"/>
                <a:gd name="T21" fmla="*/ 0 h 490"/>
                <a:gd name="T22" fmla="*/ 0 w 250"/>
                <a:gd name="T23" fmla="*/ 0 h 490"/>
                <a:gd name="T24" fmla="*/ 0 w 250"/>
                <a:gd name="T25" fmla="*/ 0 h 490"/>
                <a:gd name="T26" fmla="*/ 0 w 250"/>
                <a:gd name="T27" fmla="*/ 0 h 490"/>
                <a:gd name="T28" fmla="*/ 0 w 250"/>
                <a:gd name="T29" fmla="*/ 0 h 490"/>
                <a:gd name="T30" fmla="*/ 0 w 250"/>
                <a:gd name="T31" fmla="*/ 0 h 490"/>
                <a:gd name="T32" fmla="*/ 0 w 250"/>
                <a:gd name="T33" fmla="*/ 0 h 490"/>
                <a:gd name="T34" fmla="*/ 0 w 250"/>
                <a:gd name="T35" fmla="*/ 0 h 490"/>
                <a:gd name="T36" fmla="*/ 0 w 250"/>
                <a:gd name="T37" fmla="*/ 0 h 490"/>
                <a:gd name="T38" fmla="*/ 0 w 250"/>
                <a:gd name="T39" fmla="*/ 0 h 490"/>
                <a:gd name="T40" fmla="*/ 0 w 250"/>
                <a:gd name="T41" fmla="*/ 0 h 490"/>
                <a:gd name="T42" fmla="*/ 0 w 250"/>
                <a:gd name="T43" fmla="*/ 0 h 490"/>
                <a:gd name="T44" fmla="*/ 0 w 250"/>
                <a:gd name="T45" fmla="*/ 0 h 490"/>
                <a:gd name="T46" fmla="*/ 0 w 250"/>
                <a:gd name="T47" fmla="*/ 0 h 490"/>
                <a:gd name="T48" fmla="*/ 0 w 250"/>
                <a:gd name="T49" fmla="*/ 0 h 490"/>
                <a:gd name="T50" fmla="*/ 0 w 250"/>
                <a:gd name="T51" fmla="*/ 0 h 490"/>
                <a:gd name="T52" fmla="*/ 0 w 250"/>
                <a:gd name="T53" fmla="*/ 0 h 490"/>
                <a:gd name="T54" fmla="*/ 0 w 250"/>
                <a:gd name="T55" fmla="*/ 0 h 490"/>
                <a:gd name="T56" fmla="*/ 0 w 250"/>
                <a:gd name="T57" fmla="*/ 0 h 490"/>
                <a:gd name="T58" fmla="*/ 0 w 250"/>
                <a:gd name="T59" fmla="*/ 0 h 490"/>
                <a:gd name="T60" fmla="*/ 0 w 250"/>
                <a:gd name="T61" fmla="*/ 0 h 490"/>
                <a:gd name="T62" fmla="*/ 0 w 250"/>
                <a:gd name="T63" fmla="*/ 0 h 490"/>
                <a:gd name="T64" fmla="*/ 0 w 250"/>
                <a:gd name="T65" fmla="*/ 0 h 4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0"/>
                <a:gd name="T100" fmla="*/ 0 h 490"/>
                <a:gd name="T101" fmla="*/ 250 w 250"/>
                <a:gd name="T102" fmla="*/ 490 h 4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0" h="490">
                  <a:moveTo>
                    <a:pt x="17" y="98"/>
                  </a:moveTo>
                  <a:lnTo>
                    <a:pt x="63" y="32"/>
                  </a:lnTo>
                  <a:lnTo>
                    <a:pt x="94" y="7"/>
                  </a:lnTo>
                  <a:lnTo>
                    <a:pt x="131" y="0"/>
                  </a:lnTo>
                  <a:lnTo>
                    <a:pt x="162" y="1"/>
                  </a:lnTo>
                  <a:lnTo>
                    <a:pt x="208" y="11"/>
                  </a:lnTo>
                  <a:lnTo>
                    <a:pt x="234" y="31"/>
                  </a:lnTo>
                  <a:lnTo>
                    <a:pt x="250" y="52"/>
                  </a:lnTo>
                  <a:lnTo>
                    <a:pt x="250" y="86"/>
                  </a:lnTo>
                  <a:lnTo>
                    <a:pt x="236" y="113"/>
                  </a:lnTo>
                  <a:lnTo>
                    <a:pt x="215" y="149"/>
                  </a:lnTo>
                  <a:lnTo>
                    <a:pt x="200" y="183"/>
                  </a:lnTo>
                  <a:lnTo>
                    <a:pt x="195" y="221"/>
                  </a:lnTo>
                  <a:lnTo>
                    <a:pt x="192" y="249"/>
                  </a:lnTo>
                  <a:lnTo>
                    <a:pt x="204" y="287"/>
                  </a:lnTo>
                  <a:lnTo>
                    <a:pt x="224" y="326"/>
                  </a:lnTo>
                  <a:lnTo>
                    <a:pt x="242" y="366"/>
                  </a:lnTo>
                  <a:lnTo>
                    <a:pt x="246" y="397"/>
                  </a:lnTo>
                  <a:lnTo>
                    <a:pt x="245" y="434"/>
                  </a:lnTo>
                  <a:lnTo>
                    <a:pt x="224" y="459"/>
                  </a:lnTo>
                  <a:lnTo>
                    <a:pt x="192" y="478"/>
                  </a:lnTo>
                  <a:lnTo>
                    <a:pt x="166" y="490"/>
                  </a:lnTo>
                  <a:lnTo>
                    <a:pt x="126" y="490"/>
                  </a:lnTo>
                  <a:lnTo>
                    <a:pt x="88" y="478"/>
                  </a:lnTo>
                  <a:lnTo>
                    <a:pt x="37" y="458"/>
                  </a:lnTo>
                  <a:lnTo>
                    <a:pt x="17" y="407"/>
                  </a:lnTo>
                  <a:lnTo>
                    <a:pt x="10" y="372"/>
                  </a:lnTo>
                  <a:lnTo>
                    <a:pt x="10" y="327"/>
                  </a:lnTo>
                  <a:lnTo>
                    <a:pt x="5" y="287"/>
                  </a:lnTo>
                  <a:lnTo>
                    <a:pt x="0" y="221"/>
                  </a:lnTo>
                  <a:lnTo>
                    <a:pt x="1" y="168"/>
                  </a:lnTo>
                  <a:lnTo>
                    <a:pt x="10" y="124"/>
                  </a:lnTo>
                  <a:lnTo>
                    <a:pt x="17"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5" name="Freeform 49"/>
            <p:cNvSpPr>
              <a:spLocks/>
            </p:cNvSpPr>
            <p:nvPr/>
          </p:nvSpPr>
          <p:spPr bwMode="auto">
            <a:xfrm>
              <a:off x="4867" y="3313"/>
              <a:ext cx="252" cy="97"/>
            </a:xfrm>
            <a:custGeom>
              <a:avLst/>
              <a:gdLst>
                <a:gd name="T0" fmla="*/ 0 w 758"/>
                <a:gd name="T1" fmla="*/ 0 h 292"/>
                <a:gd name="T2" fmla="*/ 0 w 758"/>
                <a:gd name="T3" fmla="*/ 0 h 292"/>
                <a:gd name="T4" fmla="*/ 0 w 758"/>
                <a:gd name="T5" fmla="*/ 0 h 292"/>
                <a:gd name="T6" fmla="*/ 0 w 758"/>
                <a:gd name="T7" fmla="*/ 0 h 292"/>
                <a:gd name="T8" fmla="*/ 0 w 758"/>
                <a:gd name="T9" fmla="*/ 0 h 292"/>
                <a:gd name="T10" fmla="*/ 0 w 758"/>
                <a:gd name="T11" fmla="*/ 0 h 292"/>
                <a:gd name="T12" fmla="*/ 0 w 758"/>
                <a:gd name="T13" fmla="*/ 0 h 292"/>
                <a:gd name="T14" fmla="*/ 0 w 758"/>
                <a:gd name="T15" fmla="*/ 0 h 292"/>
                <a:gd name="T16" fmla="*/ 0 w 758"/>
                <a:gd name="T17" fmla="*/ 0 h 292"/>
                <a:gd name="T18" fmla="*/ 0 w 758"/>
                <a:gd name="T19" fmla="*/ 0 h 292"/>
                <a:gd name="T20" fmla="*/ 0 w 758"/>
                <a:gd name="T21" fmla="*/ 0 h 292"/>
                <a:gd name="T22" fmla="*/ 0 w 758"/>
                <a:gd name="T23" fmla="*/ 0 h 292"/>
                <a:gd name="T24" fmla="*/ 0 w 758"/>
                <a:gd name="T25" fmla="*/ 0 h 292"/>
                <a:gd name="T26" fmla="*/ 0 w 758"/>
                <a:gd name="T27" fmla="*/ 0 h 292"/>
                <a:gd name="T28" fmla="*/ 0 w 758"/>
                <a:gd name="T29" fmla="*/ 0 h 292"/>
                <a:gd name="T30" fmla="*/ 0 w 758"/>
                <a:gd name="T31" fmla="*/ 0 h 292"/>
                <a:gd name="T32" fmla="*/ 0 w 758"/>
                <a:gd name="T33" fmla="*/ 0 h 292"/>
                <a:gd name="T34" fmla="*/ 0 w 758"/>
                <a:gd name="T35" fmla="*/ 0 h 292"/>
                <a:gd name="T36" fmla="*/ 0 w 758"/>
                <a:gd name="T37" fmla="*/ 0 h 292"/>
                <a:gd name="T38" fmla="*/ 0 w 758"/>
                <a:gd name="T39" fmla="*/ 0 h 292"/>
                <a:gd name="T40" fmla="*/ 0 w 758"/>
                <a:gd name="T41" fmla="*/ 0 h 292"/>
                <a:gd name="T42" fmla="*/ 0 w 758"/>
                <a:gd name="T43" fmla="*/ 0 h 292"/>
                <a:gd name="T44" fmla="*/ 0 w 758"/>
                <a:gd name="T45" fmla="*/ 0 h 292"/>
                <a:gd name="T46" fmla="*/ 0 w 758"/>
                <a:gd name="T47" fmla="*/ 0 h 292"/>
                <a:gd name="T48" fmla="*/ 0 w 758"/>
                <a:gd name="T49" fmla="*/ 0 h 292"/>
                <a:gd name="T50" fmla="*/ 0 w 758"/>
                <a:gd name="T51" fmla="*/ 0 h 292"/>
                <a:gd name="T52" fmla="*/ 0 w 758"/>
                <a:gd name="T53" fmla="*/ 0 h 292"/>
                <a:gd name="T54" fmla="*/ 0 w 758"/>
                <a:gd name="T55" fmla="*/ 0 h 292"/>
                <a:gd name="T56" fmla="*/ 0 w 758"/>
                <a:gd name="T57" fmla="*/ 0 h 292"/>
                <a:gd name="T58" fmla="*/ 0 w 758"/>
                <a:gd name="T59" fmla="*/ 0 h 292"/>
                <a:gd name="T60" fmla="*/ 0 w 758"/>
                <a:gd name="T61" fmla="*/ 0 h 292"/>
                <a:gd name="T62" fmla="*/ 0 w 758"/>
                <a:gd name="T63" fmla="*/ 0 h 292"/>
                <a:gd name="T64" fmla="*/ 0 w 758"/>
                <a:gd name="T65" fmla="*/ 0 h 292"/>
                <a:gd name="T66" fmla="*/ 0 w 758"/>
                <a:gd name="T67" fmla="*/ 0 h 292"/>
                <a:gd name="T68" fmla="*/ 0 w 758"/>
                <a:gd name="T69" fmla="*/ 0 h 292"/>
                <a:gd name="T70" fmla="*/ 0 w 758"/>
                <a:gd name="T71" fmla="*/ 0 h 292"/>
                <a:gd name="T72" fmla="*/ 0 w 758"/>
                <a:gd name="T73" fmla="*/ 0 h 292"/>
                <a:gd name="T74" fmla="*/ 0 w 758"/>
                <a:gd name="T75" fmla="*/ 0 h 292"/>
                <a:gd name="T76" fmla="*/ 0 w 758"/>
                <a:gd name="T77" fmla="*/ 0 h 292"/>
                <a:gd name="T78" fmla="*/ 0 w 758"/>
                <a:gd name="T79" fmla="*/ 0 h 29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8"/>
                <a:gd name="T121" fmla="*/ 0 h 292"/>
                <a:gd name="T122" fmla="*/ 758 w 758"/>
                <a:gd name="T123" fmla="*/ 292 h 29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8" h="292">
                  <a:moveTo>
                    <a:pt x="662" y="172"/>
                  </a:moveTo>
                  <a:lnTo>
                    <a:pt x="705" y="151"/>
                  </a:lnTo>
                  <a:lnTo>
                    <a:pt x="743" y="142"/>
                  </a:lnTo>
                  <a:lnTo>
                    <a:pt x="758" y="155"/>
                  </a:lnTo>
                  <a:lnTo>
                    <a:pt x="758" y="188"/>
                  </a:lnTo>
                  <a:lnTo>
                    <a:pt x="723" y="228"/>
                  </a:lnTo>
                  <a:lnTo>
                    <a:pt x="685" y="235"/>
                  </a:lnTo>
                  <a:lnTo>
                    <a:pt x="589" y="265"/>
                  </a:lnTo>
                  <a:lnTo>
                    <a:pt x="494" y="281"/>
                  </a:lnTo>
                  <a:lnTo>
                    <a:pt x="409" y="292"/>
                  </a:lnTo>
                  <a:lnTo>
                    <a:pt x="347" y="285"/>
                  </a:lnTo>
                  <a:lnTo>
                    <a:pt x="262" y="265"/>
                  </a:lnTo>
                  <a:lnTo>
                    <a:pt x="167" y="203"/>
                  </a:lnTo>
                  <a:lnTo>
                    <a:pt x="109" y="151"/>
                  </a:lnTo>
                  <a:lnTo>
                    <a:pt x="75" y="131"/>
                  </a:lnTo>
                  <a:lnTo>
                    <a:pt x="45" y="124"/>
                  </a:lnTo>
                  <a:lnTo>
                    <a:pt x="20" y="119"/>
                  </a:lnTo>
                  <a:lnTo>
                    <a:pt x="5" y="93"/>
                  </a:lnTo>
                  <a:lnTo>
                    <a:pt x="0" y="49"/>
                  </a:lnTo>
                  <a:lnTo>
                    <a:pt x="10" y="21"/>
                  </a:lnTo>
                  <a:lnTo>
                    <a:pt x="25" y="0"/>
                  </a:lnTo>
                  <a:lnTo>
                    <a:pt x="48" y="7"/>
                  </a:lnTo>
                  <a:lnTo>
                    <a:pt x="59" y="42"/>
                  </a:lnTo>
                  <a:lnTo>
                    <a:pt x="55" y="80"/>
                  </a:lnTo>
                  <a:lnTo>
                    <a:pt x="86" y="104"/>
                  </a:lnTo>
                  <a:lnTo>
                    <a:pt x="105" y="106"/>
                  </a:lnTo>
                  <a:lnTo>
                    <a:pt x="121" y="89"/>
                  </a:lnTo>
                  <a:lnTo>
                    <a:pt x="126" y="64"/>
                  </a:lnTo>
                  <a:lnTo>
                    <a:pt x="161" y="69"/>
                  </a:lnTo>
                  <a:lnTo>
                    <a:pt x="161" y="110"/>
                  </a:lnTo>
                  <a:lnTo>
                    <a:pt x="141" y="135"/>
                  </a:lnTo>
                  <a:lnTo>
                    <a:pt x="185" y="172"/>
                  </a:lnTo>
                  <a:lnTo>
                    <a:pt x="255" y="203"/>
                  </a:lnTo>
                  <a:lnTo>
                    <a:pt x="317" y="219"/>
                  </a:lnTo>
                  <a:lnTo>
                    <a:pt x="379" y="234"/>
                  </a:lnTo>
                  <a:lnTo>
                    <a:pt x="422" y="234"/>
                  </a:lnTo>
                  <a:lnTo>
                    <a:pt x="478" y="223"/>
                  </a:lnTo>
                  <a:lnTo>
                    <a:pt x="538" y="207"/>
                  </a:lnTo>
                  <a:lnTo>
                    <a:pt x="599" y="188"/>
                  </a:lnTo>
                  <a:lnTo>
                    <a:pt x="662"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6" name="Freeform 50"/>
            <p:cNvSpPr>
              <a:spLocks/>
            </p:cNvSpPr>
            <p:nvPr/>
          </p:nvSpPr>
          <p:spPr bwMode="auto">
            <a:xfrm>
              <a:off x="5132" y="3316"/>
              <a:ext cx="253" cy="97"/>
            </a:xfrm>
            <a:custGeom>
              <a:avLst/>
              <a:gdLst>
                <a:gd name="T0" fmla="*/ 0 w 759"/>
                <a:gd name="T1" fmla="*/ 0 h 291"/>
                <a:gd name="T2" fmla="*/ 0 w 759"/>
                <a:gd name="T3" fmla="*/ 0 h 291"/>
                <a:gd name="T4" fmla="*/ 0 w 759"/>
                <a:gd name="T5" fmla="*/ 0 h 291"/>
                <a:gd name="T6" fmla="*/ 0 w 759"/>
                <a:gd name="T7" fmla="*/ 0 h 291"/>
                <a:gd name="T8" fmla="*/ 0 w 759"/>
                <a:gd name="T9" fmla="*/ 0 h 291"/>
                <a:gd name="T10" fmla="*/ 0 w 759"/>
                <a:gd name="T11" fmla="*/ 0 h 291"/>
                <a:gd name="T12" fmla="*/ 0 w 759"/>
                <a:gd name="T13" fmla="*/ 0 h 291"/>
                <a:gd name="T14" fmla="*/ 0 w 759"/>
                <a:gd name="T15" fmla="*/ 0 h 291"/>
                <a:gd name="T16" fmla="*/ 0 w 759"/>
                <a:gd name="T17" fmla="*/ 0 h 291"/>
                <a:gd name="T18" fmla="*/ 0 w 759"/>
                <a:gd name="T19" fmla="*/ 0 h 291"/>
                <a:gd name="T20" fmla="*/ 0 w 759"/>
                <a:gd name="T21" fmla="*/ 0 h 291"/>
                <a:gd name="T22" fmla="*/ 0 w 759"/>
                <a:gd name="T23" fmla="*/ 0 h 291"/>
                <a:gd name="T24" fmla="*/ 0 w 759"/>
                <a:gd name="T25" fmla="*/ 0 h 291"/>
                <a:gd name="T26" fmla="*/ 0 w 759"/>
                <a:gd name="T27" fmla="*/ 0 h 291"/>
                <a:gd name="T28" fmla="*/ 0 w 759"/>
                <a:gd name="T29" fmla="*/ 0 h 291"/>
                <a:gd name="T30" fmla="*/ 0 w 759"/>
                <a:gd name="T31" fmla="*/ 0 h 291"/>
                <a:gd name="T32" fmla="*/ 0 w 759"/>
                <a:gd name="T33" fmla="*/ 0 h 291"/>
                <a:gd name="T34" fmla="*/ 0 w 759"/>
                <a:gd name="T35" fmla="*/ 0 h 291"/>
                <a:gd name="T36" fmla="*/ 0 w 759"/>
                <a:gd name="T37" fmla="*/ 0 h 291"/>
                <a:gd name="T38" fmla="*/ 0 w 759"/>
                <a:gd name="T39" fmla="*/ 0 h 291"/>
                <a:gd name="T40" fmla="*/ 0 w 759"/>
                <a:gd name="T41" fmla="*/ 0 h 291"/>
                <a:gd name="T42" fmla="*/ 0 w 759"/>
                <a:gd name="T43" fmla="*/ 0 h 291"/>
                <a:gd name="T44" fmla="*/ 0 w 759"/>
                <a:gd name="T45" fmla="*/ 0 h 291"/>
                <a:gd name="T46" fmla="*/ 0 w 759"/>
                <a:gd name="T47" fmla="*/ 0 h 291"/>
                <a:gd name="T48" fmla="*/ 0 w 759"/>
                <a:gd name="T49" fmla="*/ 0 h 291"/>
                <a:gd name="T50" fmla="*/ 0 w 759"/>
                <a:gd name="T51" fmla="*/ 0 h 291"/>
                <a:gd name="T52" fmla="*/ 0 w 759"/>
                <a:gd name="T53" fmla="*/ 0 h 291"/>
                <a:gd name="T54" fmla="*/ 0 w 759"/>
                <a:gd name="T55" fmla="*/ 0 h 291"/>
                <a:gd name="T56" fmla="*/ 0 w 759"/>
                <a:gd name="T57" fmla="*/ 0 h 291"/>
                <a:gd name="T58" fmla="*/ 0 w 759"/>
                <a:gd name="T59" fmla="*/ 0 h 291"/>
                <a:gd name="T60" fmla="*/ 0 w 759"/>
                <a:gd name="T61" fmla="*/ 0 h 291"/>
                <a:gd name="T62" fmla="*/ 0 w 759"/>
                <a:gd name="T63" fmla="*/ 0 h 291"/>
                <a:gd name="T64" fmla="*/ 0 w 759"/>
                <a:gd name="T65" fmla="*/ 0 h 291"/>
                <a:gd name="T66" fmla="*/ 0 w 759"/>
                <a:gd name="T67" fmla="*/ 0 h 291"/>
                <a:gd name="T68" fmla="*/ 0 w 759"/>
                <a:gd name="T69" fmla="*/ 0 h 291"/>
                <a:gd name="T70" fmla="*/ 0 w 759"/>
                <a:gd name="T71" fmla="*/ 0 h 291"/>
                <a:gd name="T72" fmla="*/ 0 w 759"/>
                <a:gd name="T73" fmla="*/ 0 h 291"/>
                <a:gd name="T74" fmla="*/ 0 w 759"/>
                <a:gd name="T75" fmla="*/ 0 h 291"/>
                <a:gd name="T76" fmla="*/ 0 w 759"/>
                <a:gd name="T77" fmla="*/ 0 h 291"/>
                <a:gd name="T78" fmla="*/ 0 w 759"/>
                <a:gd name="T79" fmla="*/ 0 h 29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9"/>
                <a:gd name="T121" fmla="*/ 0 h 291"/>
                <a:gd name="T122" fmla="*/ 759 w 759"/>
                <a:gd name="T123" fmla="*/ 291 h 29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9" h="291">
                  <a:moveTo>
                    <a:pt x="95" y="171"/>
                  </a:moveTo>
                  <a:lnTo>
                    <a:pt x="52" y="151"/>
                  </a:lnTo>
                  <a:lnTo>
                    <a:pt x="14" y="141"/>
                  </a:lnTo>
                  <a:lnTo>
                    <a:pt x="0" y="155"/>
                  </a:lnTo>
                  <a:lnTo>
                    <a:pt x="0" y="187"/>
                  </a:lnTo>
                  <a:lnTo>
                    <a:pt x="35" y="227"/>
                  </a:lnTo>
                  <a:lnTo>
                    <a:pt x="72" y="234"/>
                  </a:lnTo>
                  <a:lnTo>
                    <a:pt x="168" y="264"/>
                  </a:lnTo>
                  <a:lnTo>
                    <a:pt x="265" y="280"/>
                  </a:lnTo>
                  <a:lnTo>
                    <a:pt x="348" y="291"/>
                  </a:lnTo>
                  <a:lnTo>
                    <a:pt x="412" y="284"/>
                  </a:lnTo>
                  <a:lnTo>
                    <a:pt x="495" y="264"/>
                  </a:lnTo>
                  <a:lnTo>
                    <a:pt x="592" y="202"/>
                  </a:lnTo>
                  <a:lnTo>
                    <a:pt x="650" y="151"/>
                  </a:lnTo>
                  <a:lnTo>
                    <a:pt x="684" y="130"/>
                  </a:lnTo>
                  <a:lnTo>
                    <a:pt x="713" y="124"/>
                  </a:lnTo>
                  <a:lnTo>
                    <a:pt x="739" y="118"/>
                  </a:lnTo>
                  <a:lnTo>
                    <a:pt x="754" y="93"/>
                  </a:lnTo>
                  <a:lnTo>
                    <a:pt x="759" y="48"/>
                  </a:lnTo>
                  <a:lnTo>
                    <a:pt x="748" y="20"/>
                  </a:lnTo>
                  <a:lnTo>
                    <a:pt x="733" y="0"/>
                  </a:lnTo>
                  <a:lnTo>
                    <a:pt x="711" y="6"/>
                  </a:lnTo>
                  <a:lnTo>
                    <a:pt x="700" y="41"/>
                  </a:lnTo>
                  <a:lnTo>
                    <a:pt x="704" y="79"/>
                  </a:lnTo>
                  <a:lnTo>
                    <a:pt x="673" y="103"/>
                  </a:lnTo>
                  <a:lnTo>
                    <a:pt x="654" y="105"/>
                  </a:lnTo>
                  <a:lnTo>
                    <a:pt x="638" y="89"/>
                  </a:lnTo>
                  <a:lnTo>
                    <a:pt x="632" y="63"/>
                  </a:lnTo>
                  <a:lnTo>
                    <a:pt x="597" y="68"/>
                  </a:lnTo>
                  <a:lnTo>
                    <a:pt x="597" y="109"/>
                  </a:lnTo>
                  <a:lnTo>
                    <a:pt x="618" y="134"/>
                  </a:lnTo>
                  <a:lnTo>
                    <a:pt x="573" y="171"/>
                  </a:lnTo>
                  <a:lnTo>
                    <a:pt x="502" y="202"/>
                  </a:lnTo>
                  <a:lnTo>
                    <a:pt x="440" y="218"/>
                  </a:lnTo>
                  <a:lnTo>
                    <a:pt x="379" y="233"/>
                  </a:lnTo>
                  <a:lnTo>
                    <a:pt x="335" y="233"/>
                  </a:lnTo>
                  <a:lnTo>
                    <a:pt x="280" y="222"/>
                  </a:lnTo>
                  <a:lnTo>
                    <a:pt x="219" y="206"/>
                  </a:lnTo>
                  <a:lnTo>
                    <a:pt x="159" y="187"/>
                  </a:lnTo>
                  <a:lnTo>
                    <a:pt x="95" y="1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7" name="Freeform 51"/>
            <p:cNvSpPr>
              <a:spLocks/>
            </p:cNvSpPr>
            <p:nvPr/>
          </p:nvSpPr>
          <p:spPr bwMode="auto">
            <a:xfrm>
              <a:off x="5004" y="3440"/>
              <a:ext cx="130" cy="151"/>
            </a:xfrm>
            <a:custGeom>
              <a:avLst/>
              <a:gdLst>
                <a:gd name="T0" fmla="*/ 0 w 388"/>
                <a:gd name="T1" fmla="*/ 0 h 454"/>
                <a:gd name="T2" fmla="*/ 0 w 388"/>
                <a:gd name="T3" fmla="*/ 0 h 454"/>
                <a:gd name="T4" fmla="*/ 0 w 388"/>
                <a:gd name="T5" fmla="*/ 0 h 454"/>
                <a:gd name="T6" fmla="*/ 0 w 388"/>
                <a:gd name="T7" fmla="*/ 0 h 454"/>
                <a:gd name="T8" fmla="*/ 0 w 388"/>
                <a:gd name="T9" fmla="*/ 0 h 454"/>
                <a:gd name="T10" fmla="*/ 0 w 388"/>
                <a:gd name="T11" fmla="*/ 0 h 454"/>
                <a:gd name="T12" fmla="*/ 0 w 388"/>
                <a:gd name="T13" fmla="*/ 0 h 454"/>
                <a:gd name="T14" fmla="*/ 0 w 388"/>
                <a:gd name="T15" fmla="*/ 0 h 454"/>
                <a:gd name="T16" fmla="*/ 0 w 388"/>
                <a:gd name="T17" fmla="*/ 0 h 454"/>
                <a:gd name="T18" fmla="*/ 0 w 388"/>
                <a:gd name="T19" fmla="*/ 0 h 454"/>
                <a:gd name="T20" fmla="*/ 0 w 388"/>
                <a:gd name="T21" fmla="*/ 0 h 454"/>
                <a:gd name="T22" fmla="*/ 0 w 388"/>
                <a:gd name="T23" fmla="*/ 0 h 454"/>
                <a:gd name="T24" fmla="*/ 0 w 388"/>
                <a:gd name="T25" fmla="*/ 0 h 454"/>
                <a:gd name="T26" fmla="*/ 0 w 388"/>
                <a:gd name="T27" fmla="*/ 0 h 454"/>
                <a:gd name="T28" fmla="*/ 0 w 388"/>
                <a:gd name="T29" fmla="*/ 0 h 454"/>
                <a:gd name="T30" fmla="*/ 0 w 388"/>
                <a:gd name="T31" fmla="*/ 0 h 454"/>
                <a:gd name="T32" fmla="*/ 0 w 388"/>
                <a:gd name="T33" fmla="*/ 0 h 454"/>
                <a:gd name="T34" fmla="*/ 0 w 388"/>
                <a:gd name="T35" fmla="*/ 0 h 454"/>
                <a:gd name="T36" fmla="*/ 0 w 388"/>
                <a:gd name="T37" fmla="*/ 0 h 454"/>
                <a:gd name="T38" fmla="*/ 0 w 388"/>
                <a:gd name="T39" fmla="*/ 0 h 454"/>
                <a:gd name="T40" fmla="*/ 0 w 388"/>
                <a:gd name="T41" fmla="*/ 0 h 454"/>
                <a:gd name="T42" fmla="*/ 0 w 388"/>
                <a:gd name="T43" fmla="*/ 0 h 454"/>
                <a:gd name="T44" fmla="*/ 0 w 388"/>
                <a:gd name="T45" fmla="*/ 0 h 454"/>
                <a:gd name="T46" fmla="*/ 0 w 388"/>
                <a:gd name="T47" fmla="*/ 0 h 454"/>
                <a:gd name="T48" fmla="*/ 0 w 388"/>
                <a:gd name="T49" fmla="*/ 0 h 454"/>
                <a:gd name="T50" fmla="*/ 0 w 388"/>
                <a:gd name="T51" fmla="*/ 0 h 454"/>
                <a:gd name="T52" fmla="*/ 0 w 388"/>
                <a:gd name="T53" fmla="*/ 0 h 454"/>
                <a:gd name="T54" fmla="*/ 0 w 388"/>
                <a:gd name="T55" fmla="*/ 0 h 454"/>
                <a:gd name="T56" fmla="*/ 0 w 388"/>
                <a:gd name="T57" fmla="*/ 0 h 454"/>
                <a:gd name="T58" fmla="*/ 0 w 388"/>
                <a:gd name="T59" fmla="*/ 0 h 454"/>
                <a:gd name="T60" fmla="*/ 0 w 388"/>
                <a:gd name="T61" fmla="*/ 0 h 454"/>
                <a:gd name="T62" fmla="*/ 0 w 388"/>
                <a:gd name="T63" fmla="*/ 0 h 454"/>
                <a:gd name="T64" fmla="*/ 0 w 388"/>
                <a:gd name="T65" fmla="*/ 0 h 454"/>
                <a:gd name="T66" fmla="*/ 0 w 388"/>
                <a:gd name="T67" fmla="*/ 0 h 454"/>
                <a:gd name="T68" fmla="*/ 0 w 388"/>
                <a:gd name="T69" fmla="*/ 0 h 454"/>
                <a:gd name="T70" fmla="*/ 0 w 388"/>
                <a:gd name="T71" fmla="*/ 0 h 454"/>
                <a:gd name="T72" fmla="*/ 0 w 388"/>
                <a:gd name="T73" fmla="*/ 0 h 454"/>
                <a:gd name="T74" fmla="*/ 0 w 388"/>
                <a:gd name="T75" fmla="*/ 0 h 454"/>
                <a:gd name="T76" fmla="*/ 0 w 388"/>
                <a:gd name="T77" fmla="*/ 0 h 454"/>
                <a:gd name="T78" fmla="*/ 0 w 388"/>
                <a:gd name="T79" fmla="*/ 0 h 454"/>
                <a:gd name="T80" fmla="*/ 0 w 388"/>
                <a:gd name="T81" fmla="*/ 0 h 454"/>
                <a:gd name="T82" fmla="*/ 0 w 388"/>
                <a:gd name="T83" fmla="*/ 0 h 454"/>
                <a:gd name="T84" fmla="*/ 0 w 388"/>
                <a:gd name="T85" fmla="*/ 0 h 454"/>
                <a:gd name="T86" fmla="*/ 0 w 388"/>
                <a:gd name="T87" fmla="*/ 0 h 4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8"/>
                <a:gd name="T133" fmla="*/ 0 h 454"/>
                <a:gd name="T134" fmla="*/ 388 w 388"/>
                <a:gd name="T135" fmla="*/ 454 h 4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8" h="454">
                  <a:moveTo>
                    <a:pt x="331" y="102"/>
                  </a:moveTo>
                  <a:lnTo>
                    <a:pt x="362" y="117"/>
                  </a:lnTo>
                  <a:lnTo>
                    <a:pt x="380" y="153"/>
                  </a:lnTo>
                  <a:lnTo>
                    <a:pt x="388" y="188"/>
                  </a:lnTo>
                  <a:lnTo>
                    <a:pt x="373" y="225"/>
                  </a:lnTo>
                  <a:lnTo>
                    <a:pt x="357" y="229"/>
                  </a:lnTo>
                  <a:lnTo>
                    <a:pt x="323" y="238"/>
                  </a:lnTo>
                  <a:lnTo>
                    <a:pt x="281" y="234"/>
                  </a:lnTo>
                  <a:lnTo>
                    <a:pt x="241" y="219"/>
                  </a:lnTo>
                  <a:lnTo>
                    <a:pt x="192" y="187"/>
                  </a:lnTo>
                  <a:lnTo>
                    <a:pt x="159" y="151"/>
                  </a:lnTo>
                  <a:lnTo>
                    <a:pt x="122" y="110"/>
                  </a:lnTo>
                  <a:lnTo>
                    <a:pt x="106" y="90"/>
                  </a:lnTo>
                  <a:lnTo>
                    <a:pt x="121" y="132"/>
                  </a:lnTo>
                  <a:lnTo>
                    <a:pt x="132" y="194"/>
                  </a:lnTo>
                  <a:lnTo>
                    <a:pt x="128" y="270"/>
                  </a:lnTo>
                  <a:lnTo>
                    <a:pt x="118" y="331"/>
                  </a:lnTo>
                  <a:lnTo>
                    <a:pt x="110" y="376"/>
                  </a:lnTo>
                  <a:lnTo>
                    <a:pt x="116" y="411"/>
                  </a:lnTo>
                  <a:lnTo>
                    <a:pt x="122" y="434"/>
                  </a:lnTo>
                  <a:lnTo>
                    <a:pt x="121" y="448"/>
                  </a:lnTo>
                  <a:lnTo>
                    <a:pt x="108" y="454"/>
                  </a:lnTo>
                  <a:lnTo>
                    <a:pt x="82" y="454"/>
                  </a:lnTo>
                  <a:lnTo>
                    <a:pt x="65" y="443"/>
                  </a:lnTo>
                  <a:lnTo>
                    <a:pt x="44" y="416"/>
                  </a:lnTo>
                  <a:lnTo>
                    <a:pt x="31" y="382"/>
                  </a:lnTo>
                  <a:lnTo>
                    <a:pt x="4" y="339"/>
                  </a:lnTo>
                  <a:lnTo>
                    <a:pt x="0" y="326"/>
                  </a:lnTo>
                  <a:lnTo>
                    <a:pt x="11" y="316"/>
                  </a:lnTo>
                  <a:lnTo>
                    <a:pt x="50" y="306"/>
                  </a:lnTo>
                  <a:lnTo>
                    <a:pt x="77" y="311"/>
                  </a:lnTo>
                  <a:lnTo>
                    <a:pt x="77" y="304"/>
                  </a:lnTo>
                  <a:lnTo>
                    <a:pt x="77" y="238"/>
                  </a:lnTo>
                  <a:lnTo>
                    <a:pt x="62" y="153"/>
                  </a:lnTo>
                  <a:lnTo>
                    <a:pt x="51" y="97"/>
                  </a:lnTo>
                  <a:lnTo>
                    <a:pt x="50" y="51"/>
                  </a:lnTo>
                  <a:lnTo>
                    <a:pt x="62" y="31"/>
                  </a:lnTo>
                  <a:lnTo>
                    <a:pt x="82" y="4"/>
                  </a:lnTo>
                  <a:lnTo>
                    <a:pt x="116" y="0"/>
                  </a:lnTo>
                  <a:lnTo>
                    <a:pt x="141" y="14"/>
                  </a:lnTo>
                  <a:lnTo>
                    <a:pt x="179" y="45"/>
                  </a:lnTo>
                  <a:lnTo>
                    <a:pt x="230" y="79"/>
                  </a:lnTo>
                  <a:lnTo>
                    <a:pt x="280" y="97"/>
                  </a:lnTo>
                  <a:lnTo>
                    <a:pt x="331"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sp>
          <p:nvSpPr>
            <p:cNvPr id="48168" name="Freeform 52"/>
            <p:cNvSpPr>
              <a:spLocks/>
            </p:cNvSpPr>
            <p:nvPr/>
          </p:nvSpPr>
          <p:spPr bwMode="auto">
            <a:xfrm>
              <a:off x="5089" y="3484"/>
              <a:ext cx="136" cy="146"/>
            </a:xfrm>
            <a:custGeom>
              <a:avLst/>
              <a:gdLst>
                <a:gd name="T0" fmla="*/ 0 w 408"/>
                <a:gd name="T1" fmla="*/ 0 h 438"/>
                <a:gd name="T2" fmla="*/ 0 w 408"/>
                <a:gd name="T3" fmla="*/ 0 h 438"/>
                <a:gd name="T4" fmla="*/ 0 w 408"/>
                <a:gd name="T5" fmla="*/ 0 h 438"/>
                <a:gd name="T6" fmla="*/ 0 w 408"/>
                <a:gd name="T7" fmla="*/ 0 h 438"/>
                <a:gd name="T8" fmla="*/ 0 w 408"/>
                <a:gd name="T9" fmla="*/ 0 h 438"/>
                <a:gd name="T10" fmla="*/ 0 w 408"/>
                <a:gd name="T11" fmla="*/ 0 h 438"/>
                <a:gd name="T12" fmla="*/ 0 w 408"/>
                <a:gd name="T13" fmla="*/ 0 h 438"/>
                <a:gd name="T14" fmla="*/ 0 w 408"/>
                <a:gd name="T15" fmla="*/ 0 h 438"/>
                <a:gd name="T16" fmla="*/ 0 w 408"/>
                <a:gd name="T17" fmla="*/ 0 h 438"/>
                <a:gd name="T18" fmla="*/ 0 w 408"/>
                <a:gd name="T19" fmla="*/ 0 h 438"/>
                <a:gd name="T20" fmla="*/ 0 w 408"/>
                <a:gd name="T21" fmla="*/ 0 h 438"/>
                <a:gd name="T22" fmla="*/ 0 w 408"/>
                <a:gd name="T23" fmla="*/ 0 h 438"/>
                <a:gd name="T24" fmla="*/ 0 w 408"/>
                <a:gd name="T25" fmla="*/ 0 h 438"/>
                <a:gd name="T26" fmla="*/ 0 w 408"/>
                <a:gd name="T27" fmla="*/ 0 h 438"/>
                <a:gd name="T28" fmla="*/ 0 w 408"/>
                <a:gd name="T29" fmla="*/ 0 h 438"/>
                <a:gd name="T30" fmla="*/ 0 w 408"/>
                <a:gd name="T31" fmla="*/ 0 h 438"/>
                <a:gd name="T32" fmla="*/ 0 w 408"/>
                <a:gd name="T33" fmla="*/ 0 h 438"/>
                <a:gd name="T34" fmla="*/ 0 w 408"/>
                <a:gd name="T35" fmla="*/ 0 h 438"/>
                <a:gd name="T36" fmla="*/ 0 w 408"/>
                <a:gd name="T37" fmla="*/ 0 h 438"/>
                <a:gd name="T38" fmla="*/ 0 w 408"/>
                <a:gd name="T39" fmla="*/ 0 h 438"/>
                <a:gd name="T40" fmla="*/ 0 w 408"/>
                <a:gd name="T41" fmla="*/ 0 h 438"/>
                <a:gd name="T42" fmla="*/ 0 w 408"/>
                <a:gd name="T43" fmla="*/ 0 h 438"/>
                <a:gd name="T44" fmla="*/ 0 w 408"/>
                <a:gd name="T45" fmla="*/ 0 h 438"/>
                <a:gd name="T46" fmla="*/ 0 w 408"/>
                <a:gd name="T47" fmla="*/ 0 h 438"/>
                <a:gd name="T48" fmla="*/ 0 w 408"/>
                <a:gd name="T49" fmla="*/ 0 h 438"/>
                <a:gd name="T50" fmla="*/ 0 w 408"/>
                <a:gd name="T51" fmla="*/ 0 h 438"/>
                <a:gd name="T52" fmla="*/ 0 w 408"/>
                <a:gd name="T53" fmla="*/ 0 h 438"/>
                <a:gd name="T54" fmla="*/ 0 w 408"/>
                <a:gd name="T55" fmla="*/ 0 h 438"/>
                <a:gd name="T56" fmla="*/ 0 w 408"/>
                <a:gd name="T57" fmla="*/ 0 h 438"/>
                <a:gd name="T58" fmla="*/ 0 w 408"/>
                <a:gd name="T59" fmla="*/ 0 h 438"/>
                <a:gd name="T60" fmla="*/ 0 w 408"/>
                <a:gd name="T61" fmla="*/ 0 h 438"/>
                <a:gd name="T62" fmla="*/ 0 w 408"/>
                <a:gd name="T63" fmla="*/ 0 h 438"/>
                <a:gd name="T64" fmla="*/ 0 w 408"/>
                <a:gd name="T65" fmla="*/ 0 h 438"/>
                <a:gd name="T66" fmla="*/ 0 w 408"/>
                <a:gd name="T67" fmla="*/ 0 h 438"/>
                <a:gd name="T68" fmla="*/ 0 w 408"/>
                <a:gd name="T69" fmla="*/ 0 h 438"/>
                <a:gd name="T70" fmla="*/ 0 w 408"/>
                <a:gd name="T71" fmla="*/ 0 h 438"/>
                <a:gd name="T72" fmla="*/ 0 w 408"/>
                <a:gd name="T73" fmla="*/ 0 h 438"/>
                <a:gd name="T74" fmla="*/ 0 w 408"/>
                <a:gd name="T75" fmla="*/ 0 h 438"/>
                <a:gd name="T76" fmla="*/ 0 w 408"/>
                <a:gd name="T77" fmla="*/ 0 h 438"/>
                <a:gd name="T78" fmla="*/ 0 w 408"/>
                <a:gd name="T79" fmla="*/ 0 h 438"/>
                <a:gd name="T80" fmla="*/ 0 w 408"/>
                <a:gd name="T81" fmla="*/ 0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438"/>
                <a:gd name="T125" fmla="*/ 408 w 408"/>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438">
                  <a:moveTo>
                    <a:pt x="114" y="26"/>
                  </a:moveTo>
                  <a:lnTo>
                    <a:pt x="159" y="0"/>
                  </a:lnTo>
                  <a:lnTo>
                    <a:pt x="193" y="18"/>
                  </a:lnTo>
                  <a:lnTo>
                    <a:pt x="209" y="46"/>
                  </a:lnTo>
                  <a:lnTo>
                    <a:pt x="190" y="102"/>
                  </a:lnTo>
                  <a:lnTo>
                    <a:pt x="158" y="163"/>
                  </a:lnTo>
                  <a:lnTo>
                    <a:pt x="114" y="214"/>
                  </a:lnTo>
                  <a:lnTo>
                    <a:pt x="81" y="236"/>
                  </a:lnTo>
                  <a:lnTo>
                    <a:pt x="83" y="249"/>
                  </a:lnTo>
                  <a:lnTo>
                    <a:pt x="132" y="256"/>
                  </a:lnTo>
                  <a:lnTo>
                    <a:pt x="179" y="261"/>
                  </a:lnTo>
                  <a:lnTo>
                    <a:pt x="260" y="251"/>
                  </a:lnTo>
                  <a:lnTo>
                    <a:pt x="318" y="229"/>
                  </a:lnTo>
                  <a:lnTo>
                    <a:pt x="338" y="214"/>
                  </a:lnTo>
                  <a:lnTo>
                    <a:pt x="364" y="204"/>
                  </a:lnTo>
                  <a:lnTo>
                    <a:pt x="377" y="205"/>
                  </a:lnTo>
                  <a:lnTo>
                    <a:pt x="390" y="221"/>
                  </a:lnTo>
                  <a:lnTo>
                    <a:pt x="390" y="249"/>
                  </a:lnTo>
                  <a:lnTo>
                    <a:pt x="363" y="287"/>
                  </a:lnTo>
                  <a:lnTo>
                    <a:pt x="353" y="332"/>
                  </a:lnTo>
                  <a:lnTo>
                    <a:pt x="368" y="357"/>
                  </a:lnTo>
                  <a:lnTo>
                    <a:pt x="403" y="381"/>
                  </a:lnTo>
                  <a:lnTo>
                    <a:pt x="408" y="399"/>
                  </a:lnTo>
                  <a:lnTo>
                    <a:pt x="394" y="419"/>
                  </a:lnTo>
                  <a:lnTo>
                    <a:pt x="349" y="438"/>
                  </a:lnTo>
                  <a:lnTo>
                    <a:pt x="328" y="430"/>
                  </a:lnTo>
                  <a:lnTo>
                    <a:pt x="317" y="388"/>
                  </a:lnTo>
                  <a:lnTo>
                    <a:pt x="306" y="333"/>
                  </a:lnTo>
                  <a:lnTo>
                    <a:pt x="311" y="280"/>
                  </a:lnTo>
                  <a:lnTo>
                    <a:pt x="293" y="276"/>
                  </a:lnTo>
                  <a:lnTo>
                    <a:pt x="247" y="292"/>
                  </a:lnTo>
                  <a:lnTo>
                    <a:pt x="174" y="306"/>
                  </a:lnTo>
                  <a:lnTo>
                    <a:pt x="123" y="313"/>
                  </a:lnTo>
                  <a:lnTo>
                    <a:pt x="56" y="301"/>
                  </a:lnTo>
                  <a:lnTo>
                    <a:pt x="9" y="290"/>
                  </a:lnTo>
                  <a:lnTo>
                    <a:pt x="0" y="244"/>
                  </a:lnTo>
                  <a:lnTo>
                    <a:pt x="14" y="201"/>
                  </a:lnTo>
                  <a:lnTo>
                    <a:pt x="52" y="123"/>
                  </a:lnTo>
                  <a:lnTo>
                    <a:pt x="72" y="84"/>
                  </a:lnTo>
                  <a:lnTo>
                    <a:pt x="92" y="51"/>
                  </a:lnTo>
                  <a:lnTo>
                    <a:pt x="11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pt-BR"/>
            </a:p>
          </p:txBody>
        </p:sp>
      </p:grpSp>
    </p:spTree>
    <p:custDataLst>
      <p:tags r:id="rId1"/>
    </p:custDataLst>
    <p:extLst>
      <p:ext uri="{BB962C8B-B14F-4D97-AF65-F5344CB8AC3E}">
        <p14:creationId xmlns:p14="http://schemas.microsoft.com/office/powerpoint/2010/main" val="1227173696"/>
      </p:ext>
    </p:extLst>
  </p:cSld>
  <p:clrMapOvr>
    <a:masterClrMapping/>
  </p:clrMapOvr>
  <p:transition spd="slow">
    <p:strips dir="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bwMode="auto">
          <a:xfrm>
            <a:off x="-7144" y="38101"/>
            <a:ext cx="11418095"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ja-JP" sz="3600" dirty="0">
                <a:solidFill>
                  <a:schemeClr val="tx1"/>
                </a:solidFill>
                <a:ea typeface="MS PGothic" panose="020B0600070205080204" pitchFamily="34" charset="-128"/>
              </a:rPr>
              <a:t>Algumas métricas específicas dos projetos</a:t>
            </a:r>
            <a:endParaRPr lang="pt-BR" altLang="pt-BR" sz="3600" dirty="0">
              <a:solidFill>
                <a:schemeClr val="tx1"/>
              </a:solidFill>
              <a:ea typeface="MS PGothic" panose="020B0600070205080204" pitchFamily="34" charset="-128"/>
            </a:endParaRPr>
          </a:p>
        </p:txBody>
      </p:sp>
      <p:sp>
        <p:nvSpPr>
          <p:cNvPr id="49155" name="Rectangle 3"/>
          <p:cNvSpPr>
            <a:spLocks noGrp="1" noChangeArrowheads="1"/>
          </p:cNvSpPr>
          <p:nvPr>
            <p:ph type="body" idx="4294967295"/>
          </p:nvPr>
        </p:nvSpPr>
        <p:spPr>
          <a:xfrm>
            <a:off x="-7144" y="967036"/>
            <a:ext cx="13062618" cy="8153400"/>
          </a:xfrm>
          <a:prstGeom prst="rect">
            <a:avLst/>
          </a:prstGeom>
        </p:spPr>
        <p:txBody>
          <a:bodyPr/>
          <a:lstStyle/>
          <a:p>
            <a:pPr>
              <a:lnSpc>
                <a:spcPct val="75000"/>
              </a:lnSpc>
              <a:defRPr/>
            </a:pPr>
            <a:r>
              <a:rPr lang="pt-BR" altLang="ja-JP" sz="3000" b="1" dirty="0">
                <a:ea typeface="MS PGothic" pitchFamily="34" charset="-128"/>
              </a:rPr>
              <a:t>Escopo:</a:t>
            </a:r>
          </a:p>
          <a:p>
            <a:pPr lvl="1">
              <a:lnSpc>
                <a:spcPct val="70000"/>
              </a:lnSpc>
              <a:defRPr/>
            </a:pPr>
            <a:r>
              <a:rPr lang="pt-BR" altLang="ja-JP" sz="3000" dirty="0">
                <a:ea typeface="MS PGothic" pitchFamily="34" charset="-128"/>
              </a:rPr>
              <a:t>IDE &gt; 95% (Indíce de desempenho de entregas);</a:t>
            </a:r>
          </a:p>
          <a:p>
            <a:pPr lvl="1">
              <a:lnSpc>
                <a:spcPct val="70000"/>
              </a:lnSpc>
              <a:defRPr/>
            </a:pPr>
            <a:r>
              <a:rPr lang="pt-BR" altLang="ja-JP" sz="3000" dirty="0">
                <a:ea typeface="MS PGothic" pitchFamily="34" charset="-128"/>
              </a:rPr>
              <a:t>100% de </a:t>
            </a:r>
            <a:r>
              <a:rPr lang="pt-BR" altLang="ja-JP" sz="3000" b="1" dirty="0">
                <a:ea typeface="MS PGothic" pitchFamily="34" charset="-128"/>
              </a:rPr>
              <a:t>Mudanças de escopo </a:t>
            </a:r>
            <a:r>
              <a:rPr lang="pt-BR" altLang="ja-JP" sz="3000" dirty="0">
                <a:ea typeface="MS PGothic" pitchFamily="34" charset="-128"/>
              </a:rPr>
              <a:t>negociadas, documentadas e implementadas.</a:t>
            </a:r>
          </a:p>
          <a:p>
            <a:pPr lvl="1">
              <a:lnSpc>
                <a:spcPct val="70000"/>
              </a:lnSpc>
              <a:defRPr/>
            </a:pPr>
            <a:endParaRPr lang="pt-BR" altLang="ja-JP" sz="3000" dirty="0">
              <a:ea typeface="MS PGothic" pitchFamily="34" charset="-128"/>
            </a:endParaRPr>
          </a:p>
          <a:p>
            <a:pPr>
              <a:lnSpc>
                <a:spcPct val="75000"/>
              </a:lnSpc>
              <a:defRPr/>
            </a:pPr>
            <a:r>
              <a:rPr lang="pt-BR" altLang="ja-JP" sz="3000" b="1" dirty="0">
                <a:ea typeface="MS PGothic" pitchFamily="34" charset="-128"/>
              </a:rPr>
              <a:t>Custo:</a:t>
            </a:r>
          </a:p>
          <a:p>
            <a:pPr lvl="1">
              <a:lnSpc>
                <a:spcPct val="70000"/>
              </a:lnSpc>
              <a:defRPr/>
            </a:pPr>
            <a:r>
              <a:rPr lang="pt-BR" altLang="ja-JP" sz="3000" dirty="0">
                <a:ea typeface="MS PGothic" pitchFamily="34" charset="-128"/>
              </a:rPr>
              <a:t>&gt; 95% de projetos entregues nos </a:t>
            </a:r>
            <a:r>
              <a:rPr lang="pt-BR" altLang="ja-JP" sz="3000" b="1" dirty="0">
                <a:ea typeface="MS PGothic" pitchFamily="34" charset="-128"/>
              </a:rPr>
              <a:t>limites de tolerância </a:t>
            </a:r>
            <a:r>
              <a:rPr lang="pt-BR" altLang="ja-JP" sz="3000" dirty="0">
                <a:ea typeface="MS PGothic" pitchFamily="34" charset="-128"/>
              </a:rPr>
              <a:t>orçamentária;</a:t>
            </a:r>
          </a:p>
          <a:p>
            <a:pPr lvl="1">
              <a:lnSpc>
                <a:spcPct val="70000"/>
              </a:lnSpc>
              <a:defRPr/>
            </a:pPr>
            <a:endParaRPr lang="pt-BR" altLang="ja-JP" sz="3000" dirty="0">
              <a:ea typeface="MS PGothic" pitchFamily="34" charset="-128"/>
            </a:endParaRPr>
          </a:p>
          <a:p>
            <a:pPr>
              <a:lnSpc>
                <a:spcPct val="70000"/>
              </a:lnSpc>
              <a:defRPr/>
            </a:pPr>
            <a:r>
              <a:rPr lang="pt-BR" altLang="ja-JP" sz="3000" b="1" dirty="0">
                <a:ea typeface="MS PGothic" pitchFamily="34" charset="-128"/>
              </a:rPr>
              <a:t>Tempo:</a:t>
            </a:r>
          </a:p>
          <a:p>
            <a:pPr lvl="1">
              <a:lnSpc>
                <a:spcPct val="70000"/>
              </a:lnSpc>
              <a:defRPr/>
            </a:pPr>
            <a:r>
              <a:rPr lang="pt-BR" altLang="ja-JP" sz="3000" dirty="0">
                <a:ea typeface="MS PGothic" pitchFamily="34" charset="-128"/>
              </a:rPr>
              <a:t>&gt; 95% de projetos entregues nos </a:t>
            </a:r>
            <a:r>
              <a:rPr lang="pt-BR" altLang="ja-JP" sz="3000" b="1" dirty="0">
                <a:ea typeface="MS PGothic" pitchFamily="34" charset="-128"/>
              </a:rPr>
              <a:t>limites de tolerância </a:t>
            </a:r>
            <a:r>
              <a:rPr lang="pt-BR" altLang="ja-JP" sz="3000" dirty="0">
                <a:ea typeface="MS PGothic" pitchFamily="34" charset="-128"/>
              </a:rPr>
              <a:t>de prazos;</a:t>
            </a:r>
          </a:p>
          <a:p>
            <a:pPr lvl="1">
              <a:lnSpc>
                <a:spcPct val="70000"/>
              </a:lnSpc>
              <a:defRPr/>
            </a:pPr>
            <a:endParaRPr lang="pt-BR" altLang="ja-JP" sz="3000" dirty="0">
              <a:ea typeface="MS PGothic" pitchFamily="34" charset="-128"/>
            </a:endParaRPr>
          </a:p>
          <a:p>
            <a:pPr>
              <a:lnSpc>
                <a:spcPct val="70000"/>
              </a:lnSpc>
              <a:defRPr/>
            </a:pPr>
            <a:r>
              <a:rPr lang="pt-BR" altLang="ja-JP" sz="3000" b="1" dirty="0">
                <a:ea typeface="MS PGothic" pitchFamily="34" charset="-128"/>
              </a:rPr>
              <a:t>Qualidade/</a:t>
            </a:r>
            <a:r>
              <a:rPr lang="pt-BR" altLang="ja-JP" sz="3000" b="1" dirty="0" err="1">
                <a:ea typeface="MS PGothic" pitchFamily="34" charset="-128"/>
              </a:rPr>
              <a:t>Stakeholders</a:t>
            </a:r>
            <a:endParaRPr lang="pt-BR" altLang="ja-JP" sz="3000" b="1" dirty="0">
              <a:ea typeface="MS PGothic" pitchFamily="34" charset="-128"/>
            </a:endParaRPr>
          </a:p>
          <a:p>
            <a:pPr lvl="1">
              <a:lnSpc>
                <a:spcPct val="70000"/>
              </a:lnSpc>
              <a:defRPr/>
            </a:pPr>
            <a:r>
              <a:rPr lang="pt-BR" altLang="ja-JP" sz="3000" dirty="0">
                <a:ea typeface="MS PGothic" pitchFamily="34" charset="-128"/>
              </a:rPr>
              <a:t>&lt; 5% de necessidades de </a:t>
            </a:r>
            <a:r>
              <a:rPr lang="pt-BR" altLang="ja-JP" sz="3000" b="1" dirty="0">
                <a:ea typeface="MS PGothic" pitchFamily="34" charset="-128"/>
              </a:rPr>
              <a:t>retrabalhos</a:t>
            </a:r>
            <a:r>
              <a:rPr lang="pt-BR" altLang="ja-JP" sz="3000" dirty="0">
                <a:ea typeface="MS PGothic" pitchFamily="34" charset="-128"/>
              </a:rPr>
              <a:t> por projeto, por problemas de aceite;</a:t>
            </a:r>
          </a:p>
          <a:p>
            <a:pPr lvl="1">
              <a:lnSpc>
                <a:spcPct val="70000"/>
              </a:lnSpc>
              <a:defRPr/>
            </a:pPr>
            <a:r>
              <a:rPr lang="pt-BR" altLang="ja-JP" sz="3000" dirty="0">
                <a:ea typeface="MS PGothic" pitchFamily="34" charset="-128"/>
              </a:rPr>
              <a:t>&gt; 90% de </a:t>
            </a:r>
            <a:r>
              <a:rPr lang="pt-BR" altLang="ja-JP" sz="3000" b="1" dirty="0">
                <a:ea typeface="MS PGothic" pitchFamily="34" charset="-128"/>
              </a:rPr>
              <a:t>satisfação dos </a:t>
            </a:r>
            <a:r>
              <a:rPr lang="pt-BR" altLang="ja-JP" sz="3000" b="1" i="1" dirty="0">
                <a:solidFill>
                  <a:srgbClr val="FF0000"/>
                </a:solidFill>
                <a:ea typeface="MS PGothic" pitchFamily="34" charset="-128"/>
              </a:rPr>
              <a:t>stakeholders</a:t>
            </a:r>
            <a:r>
              <a:rPr lang="pt-BR" altLang="ja-JP" sz="3000" dirty="0">
                <a:ea typeface="MS PGothic" pitchFamily="34" charset="-128"/>
              </a:rPr>
              <a:t> envolvidos no projeto.</a:t>
            </a:r>
          </a:p>
          <a:p>
            <a:pPr lvl="1">
              <a:lnSpc>
                <a:spcPct val="70000"/>
              </a:lnSpc>
              <a:defRPr/>
            </a:pPr>
            <a:endParaRPr lang="pt-BR" altLang="ja-JP" sz="3000" dirty="0">
              <a:ea typeface="MS PGothic" pitchFamily="34" charset="-128"/>
            </a:endParaRPr>
          </a:p>
          <a:p>
            <a:pPr>
              <a:lnSpc>
                <a:spcPct val="70000"/>
              </a:lnSpc>
              <a:defRPr/>
            </a:pPr>
            <a:r>
              <a:rPr lang="pt-BR" altLang="ja-JP" sz="3000" b="1" dirty="0">
                <a:ea typeface="MS PGothic" pitchFamily="34" charset="-128"/>
              </a:rPr>
              <a:t>Comunicações</a:t>
            </a:r>
          </a:p>
          <a:p>
            <a:pPr lvl="1">
              <a:lnSpc>
                <a:spcPct val="70000"/>
              </a:lnSpc>
              <a:defRPr/>
            </a:pPr>
            <a:r>
              <a:rPr lang="pt-BR" altLang="ja-JP" sz="2700" dirty="0">
                <a:ea typeface="MS PGothic" pitchFamily="34" charset="-128"/>
              </a:rPr>
              <a:t>100% dos </a:t>
            </a:r>
            <a:r>
              <a:rPr lang="pt-BR" altLang="ja-JP" sz="2700" b="1" dirty="0">
                <a:ea typeface="MS PGothic" pitchFamily="34" charset="-128"/>
              </a:rPr>
              <a:t>Relatórios</a:t>
            </a:r>
            <a:r>
              <a:rPr lang="pt-BR" altLang="ja-JP" sz="2700" dirty="0">
                <a:ea typeface="MS PGothic" pitchFamily="34" charset="-128"/>
              </a:rPr>
              <a:t> de acompanhamento para o cliente entregues nos períodos combinados .</a:t>
            </a:r>
          </a:p>
          <a:p>
            <a:pPr marL="685800" lvl="1" indent="0">
              <a:lnSpc>
                <a:spcPct val="70000"/>
              </a:lnSpc>
              <a:buNone/>
              <a:defRPr/>
            </a:pPr>
            <a:endParaRPr lang="pt-BR" altLang="ja-JP" sz="3000" dirty="0">
              <a:ea typeface="MS PGothic" pitchFamily="34" charset="-128"/>
            </a:endParaRPr>
          </a:p>
          <a:p>
            <a:pPr>
              <a:lnSpc>
                <a:spcPct val="70000"/>
              </a:lnSpc>
              <a:defRPr/>
            </a:pPr>
            <a:r>
              <a:rPr lang="pt-BR" altLang="ja-JP" sz="3000" b="1" dirty="0">
                <a:ea typeface="MS PGothic" pitchFamily="34" charset="-128"/>
              </a:rPr>
              <a:t>100% de todas as Escalações</a:t>
            </a:r>
            <a:r>
              <a:rPr lang="pt-BR" altLang="ja-JP" sz="3000" dirty="0">
                <a:ea typeface="MS PGothic" pitchFamily="34" charset="-128"/>
              </a:rPr>
              <a:t> documentas, endereçadas e resolvidas por projetos;</a:t>
            </a:r>
          </a:p>
          <a:p>
            <a:pPr>
              <a:lnSpc>
                <a:spcPct val="75000"/>
              </a:lnSpc>
              <a:defRPr/>
            </a:pPr>
            <a:r>
              <a:rPr lang="pt-BR" sz="3000" b="1" dirty="0">
                <a:ea typeface="MS PGothic" pitchFamily="34" charset="-128"/>
              </a:rPr>
              <a:t>100% Análise de riscos e resposta a riscos desenvolvida </a:t>
            </a:r>
            <a:r>
              <a:rPr lang="pt-BR" sz="3000" dirty="0">
                <a:ea typeface="MS PGothic" pitchFamily="34" charset="-128"/>
              </a:rPr>
              <a:t>para todos os projetos;</a:t>
            </a:r>
          </a:p>
          <a:p>
            <a:pPr>
              <a:lnSpc>
                <a:spcPct val="75000"/>
              </a:lnSpc>
              <a:defRPr/>
            </a:pPr>
            <a:r>
              <a:rPr lang="pt-BR" sz="3000" b="1" dirty="0">
                <a:ea typeface="MS PGothic" pitchFamily="34" charset="-128"/>
              </a:rPr>
              <a:t>100% de lições aprendidas </a:t>
            </a:r>
            <a:r>
              <a:rPr lang="pt-BR" sz="3000" dirty="0">
                <a:ea typeface="MS PGothic" pitchFamily="34" charset="-128"/>
              </a:rPr>
              <a:t>coletadas;</a:t>
            </a:r>
          </a:p>
          <a:p>
            <a:pPr>
              <a:lnSpc>
                <a:spcPct val="75000"/>
              </a:lnSpc>
              <a:defRPr/>
            </a:pPr>
            <a:r>
              <a:rPr lang="pt-BR" sz="3000" b="1" dirty="0">
                <a:ea typeface="MS PGothic" pitchFamily="34" charset="-128"/>
              </a:rPr>
              <a:t>Base histórica </a:t>
            </a:r>
            <a:r>
              <a:rPr lang="pt-BR" sz="3000" dirty="0">
                <a:ea typeface="MS PGothic" pitchFamily="34" charset="-128"/>
              </a:rPr>
              <a:t>do projeto criado e liberado para referências futuras.</a:t>
            </a:r>
            <a:endParaRPr lang="pt-BR" sz="3000" dirty="0"/>
          </a:p>
        </p:txBody>
      </p:sp>
      <p:pic>
        <p:nvPicPr>
          <p:cNvPr id="49156" name="Picture 4" descr="PE02002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0488" y="3703340"/>
            <a:ext cx="1828800" cy="166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455476101"/>
      </p:ext>
    </p:extLst>
  </p:cSld>
  <p:clrMapOvr>
    <a:masterClrMapping/>
  </p:clrMapOvr>
  <p:transition spd="slow">
    <p:strips dir="rd"/>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bwMode="auto">
          <a:xfrm>
            <a:off x="1" y="1"/>
            <a:ext cx="11418095"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ja-JP" dirty="0">
                <a:solidFill>
                  <a:schemeClr val="tx1"/>
                </a:solidFill>
                <a:ea typeface="MS PGothic" panose="020B0600070205080204" pitchFamily="34" charset="-128"/>
              </a:rPr>
              <a:t>Algumas métricas genéricas para o PMO</a:t>
            </a:r>
            <a:endParaRPr lang="pt-BR" altLang="pt-BR" dirty="0">
              <a:solidFill>
                <a:schemeClr val="tx1"/>
              </a:solidFill>
              <a:ea typeface="MS PGothic" panose="020B0600070205080204" pitchFamily="34" charset="-128"/>
            </a:endParaRPr>
          </a:p>
        </p:txBody>
      </p:sp>
      <p:sp>
        <p:nvSpPr>
          <p:cNvPr id="50179" name="Rectangle 3"/>
          <p:cNvSpPr>
            <a:spLocks noGrp="1" noChangeArrowheads="1"/>
          </p:cNvSpPr>
          <p:nvPr>
            <p:ph type="body" idx="4294967295"/>
          </p:nvPr>
        </p:nvSpPr>
        <p:spPr>
          <a:xfrm>
            <a:off x="376238" y="1254920"/>
            <a:ext cx="12530434" cy="7734300"/>
          </a:xfrm>
          <a:prstGeom prst="rect">
            <a:avLst/>
          </a:prstGeom>
        </p:spPr>
        <p:txBody>
          <a:bodyPr/>
          <a:lstStyle/>
          <a:p>
            <a:r>
              <a:rPr lang="pt-BR" altLang="ja-JP" b="1" dirty="0">
                <a:ea typeface="MS PGothic" panose="020B0600070205080204" pitchFamily="34" charset="-128"/>
              </a:rPr>
              <a:t>Visibilidade do PMO na empresa:</a:t>
            </a:r>
          </a:p>
          <a:p>
            <a:pPr lvl="1">
              <a:buClr>
                <a:srgbClr val="FF0000"/>
              </a:buClr>
              <a:buFont typeface="Wingdings" panose="05000000000000000000" pitchFamily="2" charset="2"/>
              <a:buChar char="ü"/>
            </a:pPr>
            <a:r>
              <a:rPr lang="pt-BR" altLang="ja-JP" sz="3300" dirty="0" err="1">
                <a:ea typeface="MS PGothic" panose="020B0600070205080204" pitchFamily="34" charset="-128"/>
              </a:rPr>
              <a:t>Qtde</a:t>
            </a:r>
            <a:r>
              <a:rPr lang="pt-BR" altLang="ja-JP" sz="3300" dirty="0">
                <a:ea typeface="MS PGothic" panose="020B0600070205080204" pitchFamily="34" charset="-128"/>
              </a:rPr>
              <a:t>. de </a:t>
            </a:r>
            <a:r>
              <a:rPr lang="pt-BR" altLang="ja-JP" sz="3300" b="1" dirty="0">
                <a:ea typeface="MS PGothic" panose="020B0600070205080204" pitchFamily="34" charset="-128"/>
              </a:rPr>
              <a:t>projetos gerenciados </a:t>
            </a:r>
            <a:r>
              <a:rPr lang="pt-BR" altLang="ja-JP" sz="3300" dirty="0">
                <a:ea typeface="MS PGothic" panose="020B0600070205080204" pitchFamily="34" charset="-128"/>
              </a:rPr>
              <a:t>pelo PMO (mês);</a:t>
            </a:r>
          </a:p>
          <a:p>
            <a:pPr lvl="1">
              <a:buClr>
                <a:srgbClr val="FF0000"/>
              </a:buClr>
              <a:buFont typeface="Wingdings" panose="05000000000000000000" pitchFamily="2" charset="2"/>
              <a:buChar char="ü"/>
            </a:pPr>
            <a:r>
              <a:rPr lang="pt-BR" altLang="ja-JP" sz="3300" dirty="0" err="1">
                <a:ea typeface="MS PGothic" panose="020B0600070205080204" pitchFamily="34" charset="-128"/>
              </a:rPr>
              <a:t>Qtde</a:t>
            </a:r>
            <a:r>
              <a:rPr lang="pt-BR" altLang="ja-JP" sz="3300" dirty="0">
                <a:ea typeface="MS PGothic" panose="020B0600070205080204" pitchFamily="34" charset="-128"/>
              </a:rPr>
              <a:t>. de </a:t>
            </a:r>
            <a:r>
              <a:rPr lang="pt-BR" altLang="ja-JP" sz="3300" b="1" dirty="0">
                <a:ea typeface="MS PGothic" panose="020B0600070205080204" pitchFamily="34" charset="-128"/>
              </a:rPr>
              <a:t>projetos iniciados no mês corrente</a:t>
            </a:r>
            <a:r>
              <a:rPr lang="pt-BR" altLang="ja-JP" sz="3300" dirty="0">
                <a:ea typeface="MS PGothic" panose="020B0600070205080204" pitchFamily="34" charset="-128"/>
              </a:rPr>
              <a:t>, com uso da metodologia e supervisão do PMO;</a:t>
            </a:r>
          </a:p>
          <a:p>
            <a:pPr lvl="1">
              <a:buClr>
                <a:srgbClr val="FF0000"/>
              </a:buClr>
              <a:buFont typeface="Wingdings" panose="05000000000000000000" pitchFamily="2" charset="2"/>
              <a:buChar char="ü"/>
            </a:pPr>
            <a:r>
              <a:rPr lang="pt-BR" altLang="ja-JP" sz="3300" dirty="0" err="1">
                <a:ea typeface="MS PGothic" panose="020B0600070205080204" pitchFamily="34" charset="-128"/>
              </a:rPr>
              <a:t>Qtde</a:t>
            </a:r>
            <a:r>
              <a:rPr lang="pt-BR" altLang="ja-JP" sz="3300" dirty="0">
                <a:ea typeface="MS PGothic" panose="020B0600070205080204" pitchFamily="34" charset="-128"/>
              </a:rPr>
              <a:t>. de projetos </a:t>
            </a:r>
            <a:r>
              <a:rPr lang="pt-BR" altLang="ja-JP" sz="3300" b="1" dirty="0">
                <a:ea typeface="MS PGothic" panose="020B0600070205080204" pitchFamily="34" charset="-128"/>
              </a:rPr>
              <a:t>concluídos com sucesso</a:t>
            </a:r>
            <a:r>
              <a:rPr lang="pt-BR" altLang="ja-JP" sz="3300" dirty="0">
                <a:ea typeface="MS PGothic" panose="020B0600070205080204" pitchFamily="34" charset="-128"/>
              </a:rPr>
              <a:t> (mês);</a:t>
            </a:r>
          </a:p>
          <a:p>
            <a:pPr lvl="1">
              <a:buClr>
                <a:srgbClr val="FF0000"/>
              </a:buClr>
              <a:buFont typeface="Wingdings" panose="05000000000000000000" pitchFamily="2" charset="2"/>
              <a:buChar char="ü"/>
            </a:pPr>
            <a:r>
              <a:rPr lang="pt-BR" altLang="ja-JP" sz="3300" dirty="0">
                <a:ea typeface="MS PGothic" panose="020B0600070205080204" pitchFamily="34" charset="-128"/>
              </a:rPr>
              <a:t>Número de </a:t>
            </a:r>
            <a:r>
              <a:rPr lang="pt-BR" altLang="ja-JP" sz="3300" b="1" dirty="0">
                <a:ea typeface="MS PGothic" panose="020B0600070205080204" pitchFamily="34" charset="-128"/>
              </a:rPr>
              <a:t>consultas de informações na base de conhecimento </a:t>
            </a:r>
            <a:r>
              <a:rPr lang="pt-BR" altLang="ja-JP" sz="3300" dirty="0">
                <a:ea typeface="MS PGothic" panose="020B0600070205080204" pitchFamily="34" charset="-128"/>
              </a:rPr>
              <a:t>(mês);</a:t>
            </a:r>
          </a:p>
        </p:txBody>
      </p:sp>
      <p:pic>
        <p:nvPicPr>
          <p:cNvPr id="50180" name="Imagem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21807" y="4712495"/>
            <a:ext cx="7886700" cy="504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aixaDeTexto 1"/>
          <p:cNvSpPr txBox="1"/>
          <p:nvPr/>
        </p:nvSpPr>
        <p:spPr>
          <a:xfrm>
            <a:off x="1026320" y="6872288"/>
            <a:ext cx="1326004" cy="369332"/>
          </a:xfrm>
          <a:prstGeom prst="rect">
            <a:avLst/>
          </a:prstGeom>
          <a:solidFill>
            <a:schemeClr val="accent6">
              <a:lumMod val="20000"/>
              <a:lumOff val="80000"/>
            </a:schemeClr>
          </a:solidFill>
          <a:effectLst>
            <a:outerShdw blurRad="50800" dist="38100" dir="5400000" algn="t" rotWithShape="0">
              <a:prstClr val="black">
                <a:alpha val="40000"/>
              </a:prstClr>
            </a:outerShdw>
          </a:effectLst>
        </p:spPr>
        <p:txBody>
          <a:bodyPr wrap="none">
            <a:spAutoFit/>
          </a:bodyPr>
          <a:lstStyle/>
          <a:p>
            <a:pPr>
              <a:defRPr/>
            </a:pPr>
            <a:r>
              <a:rPr lang="pt-BR" dirty="0"/>
              <a:t>Exemplos: </a:t>
            </a:r>
          </a:p>
        </p:txBody>
      </p:sp>
    </p:spTree>
    <p:custDataLst>
      <p:tags r:id="rId1"/>
    </p:custDataLst>
    <p:extLst>
      <p:ext uri="{BB962C8B-B14F-4D97-AF65-F5344CB8AC3E}">
        <p14:creationId xmlns:p14="http://schemas.microsoft.com/office/powerpoint/2010/main" val="184853226"/>
      </p:ext>
    </p:extLst>
  </p:cSld>
  <p:clrMapOvr>
    <a:masterClrMapping/>
  </p:clrMapOvr>
  <p:transition spd="slow">
    <p:strips dir="rd"/>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pt-BR" sz="3600" dirty="0" err="1">
                <a:solidFill>
                  <a:schemeClr val="tx1"/>
                </a:solidFill>
                <a:latin typeface="Myriad Pro" pitchFamily="34" charset="0"/>
                <a:ea typeface="MS PGothic" panose="020B0600070205080204" pitchFamily="34" charset="-128"/>
              </a:rPr>
              <a:t>Dashboards</a:t>
            </a:r>
            <a:endParaRPr lang="pt-BR" sz="3600" dirty="0">
              <a:solidFill>
                <a:schemeClr val="tx1"/>
              </a:solidFill>
              <a:latin typeface="Myriad Pro" pitchFamily="34" charset="0"/>
              <a:ea typeface="MS PGothic" panose="020B0600070205080204" pitchFamily="34" charset="-128"/>
            </a:endParaRPr>
          </a:p>
        </p:txBody>
      </p:sp>
      <p:sp>
        <p:nvSpPr>
          <p:cNvPr id="4" name="Espaço Reservado para Texto 3"/>
          <p:cNvSpPr>
            <a:spLocks noGrp="1"/>
          </p:cNvSpPr>
          <p:nvPr>
            <p:ph type="body" sz="quarter" idx="13"/>
          </p:nvPr>
        </p:nvSpPr>
        <p:spPr/>
        <p:txBody>
          <a:bodyPr/>
          <a:lstStyle/>
          <a:p>
            <a:pPr marL="0" indent="0">
              <a:buNone/>
            </a:pPr>
            <a:r>
              <a:rPr lang="pt-BR" b="1" dirty="0"/>
              <a:t>Portfólio de objetos:</a:t>
            </a:r>
          </a:p>
        </p:txBody>
      </p:sp>
      <p:graphicFrame>
        <p:nvGraphicFramePr>
          <p:cNvPr id="7" name="Tabela 6">
            <a:extLst>
              <a:ext uri="{FF2B5EF4-FFF2-40B4-BE49-F238E27FC236}">
                <a16:creationId xmlns:a16="http://schemas.microsoft.com/office/drawing/2014/main" id="{0D7B8B6A-96A7-4895-96DC-8BE9A9209AA7}"/>
              </a:ext>
            </a:extLst>
          </p:cNvPr>
          <p:cNvGraphicFramePr>
            <a:graphicFrameLocks noGrp="1"/>
          </p:cNvGraphicFramePr>
          <p:nvPr>
            <p:extLst>
              <p:ext uri="{D42A27DB-BD31-4B8C-83A1-F6EECF244321}">
                <p14:modId xmlns:p14="http://schemas.microsoft.com/office/powerpoint/2010/main" val="1799527102"/>
              </p:ext>
            </p:extLst>
          </p:nvPr>
        </p:nvGraphicFramePr>
        <p:xfrm>
          <a:off x="578645" y="3316619"/>
          <a:ext cx="12193013" cy="5276850"/>
        </p:xfrm>
        <a:graphic>
          <a:graphicData uri="http://schemas.openxmlformats.org/drawingml/2006/table">
            <a:tbl>
              <a:tblPr firstRow="1" bandRow="1">
                <a:tableStyleId>{6E25E649-3F16-4E02-A733-19D2CDBF48F0}</a:tableStyleId>
              </a:tblPr>
              <a:tblGrid>
                <a:gridCol w="1202792">
                  <a:extLst>
                    <a:ext uri="{9D8B030D-6E8A-4147-A177-3AD203B41FA5}">
                      <a16:colId xmlns:a16="http://schemas.microsoft.com/office/drawing/2014/main" val="3942221810"/>
                    </a:ext>
                  </a:extLst>
                </a:gridCol>
                <a:gridCol w="4698522">
                  <a:extLst>
                    <a:ext uri="{9D8B030D-6E8A-4147-A177-3AD203B41FA5}">
                      <a16:colId xmlns:a16="http://schemas.microsoft.com/office/drawing/2014/main" val="3383953738"/>
                    </a:ext>
                  </a:extLst>
                </a:gridCol>
                <a:gridCol w="819091">
                  <a:extLst>
                    <a:ext uri="{9D8B030D-6E8A-4147-A177-3AD203B41FA5}">
                      <a16:colId xmlns:a16="http://schemas.microsoft.com/office/drawing/2014/main" val="554579457"/>
                    </a:ext>
                  </a:extLst>
                </a:gridCol>
                <a:gridCol w="819091">
                  <a:extLst>
                    <a:ext uri="{9D8B030D-6E8A-4147-A177-3AD203B41FA5}">
                      <a16:colId xmlns:a16="http://schemas.microsoft.com/office/drawing/2014/main" val="1124476932"/>
                    </a:ext>
                  </a:extLst>
                </a:gridCol>
                <a:gridCol w="819091">
                  <a:extLst>
                    <a:ext uri="{9D8B030D-6E8A-4147-A177-3AD203B41FA5}">
                      <a16:colId xmlns:a16="http://schemas.microsoft.com/office/drawing/2014/main" val="1531731662"/>
                    </a:ext>
                  </a:extLst>
                </a:gridCol>
                <a:gridCol w="819091">
                  <a:extLst>
                    <a:ext uri="{9D8B030D-6E8A-4147-A177-3AD203B41FA5}">
                      <a16:colId xmlns:a16="http://schemas.microsoft.com/office/drawing/2014/main" val="2052345971"/>
                    </a:ext>
                  </a:extLst>
                </a:gridCol>
                <a:gridCol w="819091">
                  <a:extLst>
                    <a:ext uri="{9D8B030D-6E8A-4147-A177-3AD203B41FA5}">
                      <a16:colId xmlns:a16="http://schemas.microsoft.com/office/drawing/2014/main" val="382728960"/>
                    </a:ext>
                  </a:extLst>
                </a:gridCol>
                <a:gridCol w="819091">
                  <a:extLst>
                    <a:ext uri="{9D8B030D-6E8A-4147-A177-3AD203B41FA5}">
                      <a16:colId xmlns:a16="http://schemas.microsoft.com/office/drawing/2014/main" val="2587622927"/>
                    </a:ext>
                  </a:extLst>
                </a:gridCol>
                <a:gridCol w="1377153">
                  <a:extLst>
                    <a:ext uri="{9D8B030D-6E8A-4147-A177-3AD203B41FA5}">
                      <a16:colId xmlns:a16="http://schemas.microsoft.com/office/drawing/2014/main" val="999232377"/>
                    </a:ext>
                  </a:extLst>
                </a:gridCol>
              </a:tblGrid>
              <a:tr h="788670">
                <a:tc>
                  <a:txBody>
                    <a:bodyPr/>
                    <a:lstStyle/>
                    <a:p>
                      <a:pPr algn="ctr"/>
                      <a:r>
                        <a:rPr lang="pt-BR" sz="2300" dirty="0">
                          <a:solidFill>
                            <a:schemeClr val="tx1"/>
                          </a:solidFill>
                        </a:rPr>
                        <a:t>número</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projeto</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IDP</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IDC</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ISC</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IST</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ROI</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dirty="0">
                          <a:solidFill>
                            <a:schemeClr val="tx1"/>
                          </a:solidFill>
                        </a:rPr>
                        <a:t>VPL</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tc>
                  <a:txBody>
                    <a:bodyPr/>
                    <a:lstStyle/>
                    <a:p>
                      <a:pPr algn="ctr"/>
                      <a:r>
                        <a:rPr lang="pt-BR" sz="2300" i="1" dirty="0">
                          <a:solidFill>
                            <a:schemeClr val="tx1"/>
                          </a:solidFill>
                        </a:rPr>
                        <a:t>status</a:t>
                      </a:r>
                      <a:r>
                        <a:rPr lang="pt-BR" sz="2300" dirty="0">
                          <a:solidFill>
                            <a:schemeClr val="tx1"/>
                          </a:solidFill>
                        </a:rPr>
                        <a:t> do projeto</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rgbClr val="DEEDFA"/>
                    </a:solidFill>
                  </a:tcPr>
                </a:tc>
                <a:extLst>
                  <a:ext uri="{0D108BD9-81ED-4DB2-BD59-A6C34878D82A}">
                    <a16:rowId xmlns:a16="http://schemas.microsoft.com/office/drawing/2014/main" val="1884578780"/>
                  </a:ext>
                </a:extLst>
              </a:tr>
              <a:tr h="1131570">
                <a:tc>
                  <a:txBody>
                    <a:bodyPr/>
                    <a:lstStyle/>
                    <a:p>
                      <a:pPr algn="ctr"/>
                      <a:r>
                        <a:rPr lang="pt-BR" sz="2300" b="1" dirty="0">
                          <a:solidFill>
                            <a:schemeClr val="tx1"/>
                          </a:solidFill>
                        </a:rPr>
                        <a:t>1</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implantar ferramentas de gerenciamento de portfólio e capacitar a equipe</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2088893068"/>
                  </a:ext>
                </a:extLst>
              </a:tr>
              <a:tr h="445770">
                <a:tc>
                  <a:txBody>
                    <a:bodyPr/>
                    <a:lstStyle/>
                    <a:p>
                      <a:pPr algn="ctr"/>
                      <a:r>
                        <a:rPr lang="pt-BR" sz="2300" b="1" dirty="0">
                          <a:solidFill>
                            <a:schemeClr val="tx1"/>
                          </a:solidFill>
                        </a:rPr>
                        <a:t>2</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capacitar a empresa em Six Sigma</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1034979699"/>
                  </a:ext>
                </a:extLst>
              </a:tr>
              <a:tr h="788670">
                <a:tc>
                  <a:txBody>
                    <a:bodyPr/>
                    <a:lstStyle/>
                    <a:p>
                      <a:pPr algn="ctr"/>
                      <a:r>
                        <a:rPr lang="pt-BR" sz="2300" b="1" dirty="0">
                          <a:solidFill>
                            <a:schemeClr val="tx1"/>
                          </a:solidFill>
                        </a:rPr>
                        <a:t>3</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criar novas áreas de prestação de serviços (portfólio e Six Sigma)</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727139855"/>
                  </a:ext>
                </a:extLst>
              </a:tr>
              <a:tr h="445770">
                <a:tc>
                  <a:txBody>
                    <a:bodyPr/>
                    <a:lstStyle/>
                    <a:p>
                      <a:pPr algn="ctr"/>
                      <a:r>
                        <a:rPr lang="pt-BR" sz="2300" b="1" dirty="0">
                          <a:solidFill>
                            <a:schemeClr val="tx1"/>
                          </a:solidFill>
                        </a:rPr>
                        <a:t>4</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realizar</a:t>
                      </a:r>
                      <a:r>
                        <a:rPr lang="pt-BR" sz="2300" baseline="0" dirty="0">
                          <a:solidFill>
                            <a:schemeClr val="tx1"/>
                          </a:solidFill>
                        </a:rPr>
                        <a:t> </a:t>
                      </a:r>
                      <a:r>
                        <a:rPr lang="pt-BR" sz="2300" dirty="0">
                          <a:solidFill>
                            <a:schemeClr val="tx1"/>
                          </a:solidFill>
                        </a:rPr>
                        <a:t>pesquisa de mercado</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2226234951"/>
                  </a:ext>
                </a:extLst>
              </a:tr>
              <a:tr h="788670">
                <a:tc>
                  <a:txBody>
                    <a:bodyPr/>
                    <a:lstStyle/>
                    <a:p>
                      <a:pPr algn="ctr"/>
                      <a:r>
                        <a:rPr lang="pt-BR" sz="2300" b="1" dirty="0">
                          <a:solidFill>
                            <a:schemeClr val="tx1"/>
                          </a:solidFill>
                        </a:rPr>
                        <a:t>5</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modernizar a metodologia e as ferramentas de gestão de projetos</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1461025224"/>
                  </a:ext>
                </a:extLst>
              </a:tr>
              <a:tr h="788670">
                <a:tc>
                  <a:txBody>
                    <a:bodyPr/>
                    <a:lstStyle/>
                    <a:p>
                      <a:pPr algn="ctr"/>
                      <a:r>
                        <a:rPr lang="pt-BR" sz="2300" b="1" dirty="0">
                          <a:solidFill>
                            <a:schemeClr val="tx1"/>
                          </a:solidFill>
                        </a:rPr>
                        <a:t>6</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2">
                        <a:lumMod val="75000"/>
                      </a:schemeClr>
                    </a:solidFill>
                  </a:tcPr>
                </a:tc>
                <a:tc>
                  <a:txBody>
                    <a:bodyPr/>
                    <a:lstStyle/>
                    <a:p>
                      <a:r>
                        <a:rPr lang="pt-BR" sz="2300" dirty="0">
                          <a:solidFill>
                            <a:schemeClr val="tx1"/>
                          </a:solidFill>
                        </a:rPr>
                        <a:t>implementar o sistema de relacionamento com o cliente</a:t>
                      </a: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tc>
                  <a:txBody>
                    <a:bodyPr/>
                    <a:lstStyle/>
                    <a:p>
                      <a:endParaRPr lang="pt-BR" sz="2300" dirty="0">
                        <a:solidFill>
                          <a:schemeClr val="tx1"/>
                        </a:solidFill>
                      </a:endParaRPr>
                    </a:p>
                  </a:txBody>
                  <a:tcPr marL="102870" marR="102870" marT="51435" marB="51435"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noFill/>
                  </a:tcPr>
                </a:tc>
                <a:extLst>
                  <a:ext uri="{0D108BD9-81ED-4DB2-BD59-A6C34878D82A}">
                    <a16:rowId xmlns:a16="http://schemas.microsoft.com/office/drawing/2014/main" val="3623766975"/>
                  </a:ext>
                </a:extLst>
              </a:tr>
            </a:tbl>
          </a:graphicData>
        </a:graphic>
      </p:graphicFrame>
      <p:sp>
        <p:nvSpPr>
          <p:cNvPr id="8" name="Elipse 7">
            <a:extLst>
              <a:ext uri="{FF2B5EF4-FFF2-40B4-BE49-F238E27FC236}">
                <a16:creationId xmlns:a16="http://schemas.microsoft.com/office/drawing/2014/main" id="{4258F987-0304-472A-BFE3-2207872BF4A5}"/>
              </a:ext>
            </a:extLst>
          </p:cNvPr>
          <p:cNvSpPr/>
          <p:nvPr/>
        </p:nvSpPr>
        <p:spPr>
          <a:xfrm>
            <a:off x="6776992" y="4495428"/>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9" name="Elipse 8">
            <a:extLst>
              <a:ext uri="{FF2B5EF4-FFF2-40B4-BE49-F238E27FC236}">
                <a16:creationId xmlns:a16="http://schemas.microsoft.com/office/drawing/2014/main" id="{31627585-196A-44B5-AB2D-5FE6CC50F020}"/>
              </a:ext>
            </a:extLst>
          </p:cNvPr>
          <p:cNvSpPr/>
          <p:nvPr/>
        </p:nvSpPr>
        <p:spPr>
          <a:xfrm>
            <a:off x="7533794" y="4495428"/>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0" name="Elipse 9">
            <a:extLst>
              <a:ext uri="{FF2B5EF4-FFF2-40B4-BE49-F238E27FC236}">
                <a16:creationId xmlns:a16="http://schemas.microsoft.com/office/drawing/2014/main" id="{76E7B941-D39D-474B-BDBB-4B3BBA828BF2}"/>
              </a:ext>
            </a:extLst>
          </p:cNvPr>
          <p:cNvSpPr/>
          <p:nvPr/>
        </p:nvSpPr>
        <p:spPr>
          <a:xfrm>
            <a:off x="8370169" y="4495428"/>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2" name="Elipse 11">
            <a:extLst>
              <a:ext uri="{FF2B5EF4-FFF2-40B4-BE49-F238E27FC236}">
                <a16:creationId xmlns:a16="http://schemas.microsoft.com/office/drawing/2014/main" id="{A75FA429-E97C-414E-AFB5-D8511C89BE13}"/>
              </a:ext>
            </a:extLst>
          </p:cNvPr>
          <p:cNvSpPr/>
          <p:nvPr/>
        </p:nvSpPr>
        <p:spPr>
          <a:xfrm>
            <a:off x="10044355" y="4494234"/>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3" name="Elipse 12">
            <a:extLst>
              <a:ext uri="{FF2B5EF4-FFF2-40B4-BE49-F238E27FC236}">
                <a16:creationId xmlns:a16="http://schemas.microsoft.com/office/drawing/2014/main" id="{CFECCD37-B2B7-403A-86EF-35A0564AEC09}"/>
              </a:ext>
            </a:extLst>
          </p:cNvPr>
          <p:cNvSpPr/>
          <p:nvPr/>
        </p:nvSpPr>
        <p:spPr>
          <a:xfrm>
            <a:off x="10854445" y="4496106"/>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4" name="Elipse 13">
            <a:extLst>
              <a:ext uri="{FF2B5EF4-FFF2-40B4-BE49-F238E27FC236}">
                <a16:creationId xmlns:a16="http://schemas.microsoft.com/office/drawing/2014/main" id="{6360926A-882F-4F9B-BD8C-B45E2EE322E1}"/>
              </a:ext>
            </a:extLst>
          </p:cNvPr>
          <p:cNvSpPr/>
          <p:nvPr/>
        </p:nvSpPr>
        <p:spPr>
          <a:xfrm>
            <a:off x="11880559" y="4494234"/>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5" name="Elipse 14">
            <a:extLst>
              <a:ext uri="{FF2B5EF4-FFF2-40B4-BE49-F238E27FC236}">
                <a16:creationId xmlns:a16="http://schemas.microsoft.com/office/drawing/2014/main" id="{BCC0D3FE-DCE5-41FA-AB47-3CCC1970FF7A}"/>
              </a:ext>
            </a:extLst>
          </p:cNvPr>
          <p:cNvSpPr/>
          <p:nvPr/>
        </p:nvSpPr>
        <p:spPr>
          <a:xfrm>
            <a:off x="6776992" y="5305518"/>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6" name="Elipse 15">
            <a:extLst>
              <a:ext uri="{FF2B5EF4-FFF2-40B4-BE49-F238E27FC236}">
                <a16:creationId xmlns:a16="http://schemas.microsoft.com/office/drawing/2014/main" id="{89040F2E-8C10-46F7-8DDA-E99BC707A44E}"/>
              </a:ext>
            </a:extLst>
          </p:cNvPr>
          <p:cNvSpPr/>
          <p:nvPr/>
        </p:nvSpPr>
        <p:spPr>
          <a:xfrm>
            <a:off x="6776992"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7" name="Elipse 16">
            <a:extLst>
              <a:ext uri="{FF2B5EF4-FFF2-40B4-BE49-F238E27FC236}">
                <a16:creationId xmlns:a16="http://schemas.microsoft.com/office/drawing/2014/main" id="{FD867E48-A948-4CBF-A027-0E1DE4AAFE04}"/>
              </a:ext>
            </a:extLst>
          </p:cNvPr>
          <p:cNvSpPr/>
          <p:nvPr/>
        </p:nvSpPr>
        <p:spPr>
          <a:xfrm>
            <a:off x="6776992" y="6547656"/>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8" name="Elipse 17">
            <a:extLst>
              <a:ext uri="{FF2B5EF4-FFF2-40B4-BE49-F238E27FC236}">
                <a16:creationId xmlns:a16="http://schemas.microsoft.com/office/drawing/2014/main" id="{16CECEB5-8FE0-4176-A458-9E0FA8133E46}"/>
              </a:ext>
            </a:extLst>
          </p:cNvPr>
          <p:cNvSpPr/>
          <p:nvPr/>
        </p:nvSpPr>
        <p:spPr>
          <a:xfrm>
            <a:off x="6776992" y="7196395"/>
            <a:ext cx="295940" cy="293915"/>
          </a:xfrm>
          <a:prstGeom prst="ellipse">
            <a:avLst/>
          </a:prstGeom>
          <a:solidFill>
            <a:srgbClr val="FF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19" name="Elipse 18">
            <a:extLst>
              <a:ext uri="{FF2B5EF4-FFF2-40B4-BE49-F238E27FC236}">
                <a16:creationId xmlns:a16="http://schemas.microsoft.com/office/drawing/2014/main" id="{11CA5B97-356F-4938-BD9B-076E030773F7}"/>
              </a:ext>
            </a:extLst>
          </p:cNvPr>
          <p:cNvSpPr/>
          <p:nvPr/>
        </p:nvSpPr>
        <p:spPr>
          <a:xfrm>
            <a:off x="6776992"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28" name="Elipse 27">
            <a:extLst>
              <a:ext uri="{FF2B5EF4-FFF2-40B4-BE49-F238E27FC236}">
                <a16:creationId xmlns:a16="http://schemas.microsoft.com/office/drawing/2014/main" id="{FEDF2B28-B883-4737-9132-77B11D836BAE}"/>
              </a:ext>
            </a:extLst>
          </p:cNvPr>
          <p:cNvSpPr/>
          <p:nvPr/>
        </p:nvSpPr>
        <p:spPr>
          <a:xfrm>
            <a:off x="7533794" y="530551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29" name="Elipse 28">
            <a:extLst>
              <a:ext uri="{FF2B5EF4-FFF2-40B4-BE49-F238E27FC236}">
                <a16:creationId xmlns:a16="http://schemas.microsoft.com/office/drawing/2014/main" id="{5ADBC262-43C2-4B05-B9E2-CAA3763C8582}"/>
              </a:ext>
            </a:extLst>
          </p:cNvPr>
          <p:cNvSpPr/>
          <p:nvPr/>
        </p:nvSpPr>
        <p:spPr>
          <a:xfrm>
            <a:off x="7533794"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0" name="Elipse 29">
            <a:extLst>
              <a:ext uri="{FF2B5EF4-FFF2-40B4-BE49-F238E27FC236}">
                <a16:creationId xmlns:a16="http://schemas.microsoft.com/office/drawing/2014/main" id="{D57110BE-06E4-4E79-8ED6-EA729CA32109}"/>
              </a:ext>
            </a:extLst>
          </p:cNvPr>
          <p:cNvSpPr/>
          <p:nvPr/>
        </p:nvSpPr>
        <p:spPr>
          <a:xfrm>
            <a:off x="7533794" y="6553326"/>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1" name="Elipse 30">
            <a:extLst>
              <a:ext uri="{FF2B5EF4-FFF2-40B4-BE49-F238E27FC236}">
                <a16:creationId xmlns:a16="http://schemas.microsoft.com/office/drawing/2014/main" id="{15C1067A-DA64-4F77-81B5-28017F3C4A78}"/>
              </a:ext>
            </a:extLst>
          </p:cNvPr>
          <p:cNvSpPr/>
          <p:nvPr/>
        </p:nvSpPr>
        <p:spPr>
          <a:xfrm>
            <a:off x="7533794" y="71963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2" name="Elipse 31">
            <a:extLst>
              <a:ext uri="{FF2B5EF4-FFF2-40B4-BE49-F238E27FC236}">
                <a16:creationId xmlns:a16="http://schemas.microsoft.com/office/drawing/2014/main" id="{03544DA1-7A04-47EA-85C7-BDCF03D97813}"/>
              </a:ext>
            </a:extLst>
          </p:cNvPr>
          <p:cNvSpPr/>
          <p:nvPr/>
        </p:nvSpPr>
        <p:spPr>
          <a:xfrm>
            <a:off x="7533794"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7" name="Elipse 36">
            <a:extLst>
              <a:ext uri="{FF2B5EF4-FFF2-40B4-BE49-F238E27FC236}">
                <a16:creationId xmlns:a16="http://schemas.microsoft.com/office/drawing/2014/main" id="{1464097A-394E-4478-94E8-EF9034824742}"/>
              </a:ext>
            </a:extLst>
          </p:cNvPr>
          <p:cNvSpPr/>
          <p:nvPr/>
        </p:nvSpPr>
        <p:spPr>
          <a:xfrm>
            <a:off x="8370169" y="530122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8" name="Elipse 37">
            <a:extLst>
              <a:ext uri="{FF2B5EF4-FFF2-40B4-BE49-F238E27FC236}">
                <a16:creationId xmlns:a16="http://schemas.microsoft.com/office/drawing/2014/main" id="{803A5329-7DD1-4581-9884-1EA90DC74CE6}"/>
              </a:ext>
            </a:extLst>
          </p:cNvPr>
          <p:cNvSpPr/>
          <p:nvPr/>
        </p:nvSpPr>
        <p:spPr>
          <a:xfrm>
            <a:off x="8370169"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40" name="Elipse 39">
            <a:extLst>
              <a:ext uri="{FF2B5EF4-FFF2-40B4-BE49-F238E27FC236}">
                <a16:creationId xmlns:a16="http://schemas.microsoft.com/office/drawing/2014/main" id="{37E0183E-480A-4A3B-9462-868A0921CAF7}"/>
              </a:ext>
            </a:extLst>
          </p:cNvPr>
          <p:cNvSpPr/>
          <p:nvPr/>
        </p:nvSpPr>
        <p:spPr>
          <a:xfrm>
            <a:off x="8370169" y="71963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42" name="Elipse 41">
            <a:extLst>
              <a:ext uri="{FF2B5EF4-FFF2-40B4-BE49-F238E27FC236}">
                <a16:creationId xmlns:a16="http://schemas.microsoft.com/office/drawing/2014/main" id="{3C95D121-5D9F-4CC9-9E51-C8EAD763C63F}"/>
              </a:ext>
            </a:extLst>
          </p:cNvPr>
          <p:cNvSpPr/>
          <p:nvPr/>
        </p:nvSpPr>
        <p:spPr>
          <a:xfrm>
            <a:off x="8370169"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47" name="Elipse 46">
            <a:extLst>
              <a:ext uri="{FF2B5EF4-FFF2-40B4-BE49-F238E27FC236}">
                <a16:creationId xmlns:a16="http://schemas.microsoft.com/office/drawing/2014/main" id="{F8B5A6EB-747B-4A58-9274-6006A41CF969}"/>
              </a:ext>
            </a:extLst>
          </p:cNvPr>
          <p:cNvSpPr/>
          <p:nvPr/>
        </p:nvSpPr>
        <p:spPr>
          <a:xfrm>
            <a:off x="8370169" y="6547656"/>
            <a:ext cx="295940" cy="293915"/>
          </a:xfrm>
          <a:prstGeom prst="ellipse">
            <a:avLst/>
          </a:prstGeom>
          <a:solidFill>
            <a:srgbClr val="FFC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49" name="Elipse 48">
            <a:extLst>
              <a:ext uri="{FF2B5EF4-FFF2-40B4-BE49-F238E27FC236}">
                <a16:creationId xmlns:a16="http://schemas.microsoft.com/office/drawing/2014/main" id="{0E46F682-FE17-401A-979B-E36F5A48E464}"/>
              </a:ext>
            </a:extLst>
          </p:cNvPr>
          <p:cNvSpPr/>
          <p:nvPr/>
        </p:nvSpPr>
        <p:spPr>
          <a:xfrm>
            <a:off x="11880559" y="6547654"/>
            <a:ext cx="295940" cy="293915"/>
          </a:xfrm>
          <a:prstGeom prst="ellipse">
            <a:avLst/>
          </a:prstGeom>
          <a:solidFill>
            <a:srgbClr val="FFC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0" name="Elipse 49">
            <a:extLst>
              <a:ext uri="{FF2B5EF4-FFF2-40B4-BE49-F238E27FC236}">
                <a16:creationId xmlns:a16="http://schemas.microsoft.com/office/drawing/2014/main" id="{9110B408-0C94-4F16-87F3-9A3F5B15C65C}"/>
              </a:ext>
            </a:extLst>
          </p:cNvPr>
          <p:cNvSpPr/>
          <p:nvPr/>
        </p:nvSpPr>
        <p:spPr>
          <a:xfrm>
            <a:off x="11880559" y="7196395"/>
            <a:ext cx="295940" cy="293915"/>
          </a:xfrm>
          <a:prstGeom prst="ellipse">
            <a:avLst/>
          </a:prstGeom>
          <a:solidFill>
            <a:srgbClr val="FF0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2" name="Elipse 51">
            <a:extLst>
              <a:ext uri="{FF2B5EF4-FFF2-40B4-BE49-F238E27FC236}">
                <a16:creationId xmlns:a16="http://schemas.microsoft.com/office/drawing/2014/main" id="{AD0C01FE-5620-4DE0-9096-D4941EBD1E1A}"/>
              </a:ext>
            </a:extLst>
          </p:cNvPr>
          <p:cNvSpPr/>
          <p:nvPr/>
        </p:nvSpPr>
        <p:spPr>
          <a:xfrm>
            <a:off x="9202381" y="4494234"/>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3" name="Elipse 52">
            <a:extLst>
              <a:ext uri="{FF2B5EF4-FFF2-40B4-BE49-F238E27FC236}">
                <a16:creationId xmlns:a16="http://schemas.microsoft.com/office/drawing/2014/main" id="{A9237801-3ADA-48CE-BC85-C6618BBC8D9A}"/>
              </a:ext>
            </a:extLst>
          </p:cNvPr>
          <p:cNvSpPr/>
          <p:nvPr/>
        </p:nvSpPr>
        <p:spPr>
          <a:xfrm>
            <a:off x="9202381" y="529707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4" name="Elipse 53">
            <a:extLst>
              <a:ext uri="{FF2B5EF4-FFF2-40B4-BE49-F238E27FC236}">
                <a16:creationId xmlns:a16="http://schemas.microsoft.com/office/drawing/2014/main" id="{E5C0EDFD-9589-4D40-8CFC-2DA95D26F4DB}"/>
              </a:ext>
            </a:extLst>
          </p:cNvPr>
          <p:cNvSpPr/>
          <p:nvPr/>
        </p:nvSpPr>
        <p:spPr>
          <a:xfrm>
            <a:off x="9202381"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5" name="Elipse 54">
            <a:extLst>
              <a:ext uri="{FF2B5EF4-FFF2-40B4-BE49-F238E27FC236}">
                <a16:creationId xmlns:a16="http://schemas.microsoft.com/office/drawing/2014/main" id="{46BC2B05-7DDB-41F5-A313-3EB349300455}"/>
              </a:ext>
            </a:extLst>
          </p:cNvPr>
          <p:cNvSpPr/>
          <p:nvPr/>
        </p:nvSpPr>
        <p:spPr>
          <a:xfrm>
            <a:off x="9202381" y="654765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6" name="Elipse 55">
            <a:extLst>
              <a:ext uri="{FF2B5EF4-FFF2-40B4-BE49-F238E27FC236}">
                <a16:creationId xmlns:a16="http://schemas.microsoft.com/office/drawing/2014/main" id="{0AFE9607-79F8-46F5-B82E-C1BCB4886859}"/>
              </a:ext>
            </a:extLst>
          </p:cNvPr>
          <p:cNvSpPr/>
          <p:nvPr/>
        </p:nvSpPr>
        <p:spPr>
          <a:xfrm>
            <a:off x="9202381" y="71963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8" name="Elipse 57">
            <a:extLst>
              <a:ext uri="{FF2B5EF4-FFF2-40B4-BE49-F238E27FC236}">
                <a16:creationId xmlns:a16="http://schemas.microsoft.com/office/drawing/2014/main" id="{1AC8B601-D4B5-49DF-8C13-7C8916CF2739}"/>
              </a:ext>
            </a:extLst>
          </p:cNvPr>
          <p:cNvSpPr/>
          <p:nvPr/>
        </p:nvSpPr>
        <p:spPr>
          <a:xfrm>
            <a:off x="9202381"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63" name="Elipse 62">
            <a:extLst>
              <a:ext uri="{FF2B5EF4-FFF2-40B4-BE49-F238E27FC236}">
                <a16:creationId xmlns:a16="http://schemas.microsoft.com/office/drawing/2014/main" id="{8ED91DC2-DF60-4CE8-8723-3FEE0890C51D}"/>
              </a:ext>
            </a:extLst>
          </p:cNvPr>
          <p:cNvSpPr/>
          <p:nvPr/>
        </p:nvSpPr>
        <p:spPr>
          <a:xfrm>
            <a:off x="10044355" y="530122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64" name="Elipse 63">
            <a:extLst>
              <a:ext uri="{FF2B5EF4-FFF2-40B4-BE49-F238E27FC236}">
                <a16:creationId xmlns:a16="http://schemas.microsoft.com/office/drawing/2014/main" id="{EDD0BCB0-7978-4ECC-8388-C816E427C2D1}"/>
              </a:ext>
            </a:extLst>
          </p:cNvPr>
          <p:cNvSpPr/>
          <p:nvPr/>
        </p:nvSpPr>
        <p:spPr>
          <a:xfrm>
            <a:off x="10854445" y="5308724"/>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65" name="Elipse 64">
            <a:extLst>
              <a:ext uri="{FF2B5EF4-FFF2-40B4-BE49-F238E27FC236}">
                <a16:creationId xmlns:a16="http://schemas.microsoft.com/office/drawing/2014/main" id="{B7B6BEDD-5B2F-479D-ABF1-F217429097AE}"/>
              </a:ext>
            </a:extLst>
          </p:cNvPr>
          <p:cNvSpPr/>
          <p:nvPr/>
        </p:nvSpPr>
        <p:spPr>
          <a:xfrm>
            <a:off x="11880559" y="5298556"/>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66" name="Elipse 65">
            <a:extLst>
              <a:ext uri="{FF2B5EF4-FFF2-40B4-BE49-F238E27FC236}">
                <a16:creationId xmlns:a16="http://schemas.microsoft.com/office/drawing/2014/main" id="{E4DB8DA5-88FE-4532-BA24-DBCA049DEA2B}"/>
              </a:ext>
            </a:extLst>
          </p:cNvPr>
          <p:cNvSpPr/>
          <p:nvPr/>
        </p:nvSpPr>
        <p:spPr>
          <a:xfrm>
            <a:off x="11880559"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68" name="Elipse 67">
            <a:extLst>
              <a:ext uri="{FF2B5EF4-FFF2-40B4-BE49-F238E27FC236}">
                <a16:creationId xmlns:a16="http://schemas.microsoft.com/office/drawing/2014/main" id="{F4F86F24-1A9F-4F64-B899-44D7B9061D9C}"/>
              </a:ext>
            </a:extLst>
          </p:cNvPr>
          <p:cNvSpPr/>
          <p:nvPr/>
        </p:nvSpPr>
        <p:spPr>
          <a:xfrm>
            <a:off x="11880559"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73" name="Elipse 72">
            <a:extLst>
              <a:ext uri="{FF2B5EF4-FFF2-40B4-BE49-F238E27FC236}">
                <a16:creationId xmlns:a16="http://schemas.microsoft.com/office/drawing/2014/main" id="{666C0614-51CD-4C5C-BB38-31AF22A5089F}"/>
              </a:ext>
            </a:extLst>
          </p:cNvPr>
          <p:cNvSpPr/>
          <p:nvPr/>
        </p:nvSpPr>
        <p:spPr>
          <a:xfrm>
            <a:off x="10044355"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74" name="Elipse 73">
            <a:extLst>
              <a:ext uri="{FF2B5EF4-FFF2-40B4-BE49-F238E27FC236}">
                <a16:creationId xmlns:a16="http://schemas.microsoft.com/office/drawing/2014/main" id="{89F364D7-47A9-4B8E-87B3-B4F3FC5BE597}"/>
              </a:ext>
            </a:extLst>
          </p:cNvPr>
          <p:cNvSpPr/>
          <p:nvPr/>
        </p:nvSpPr>
        <p:spPr>
          <a:xfrm>
            <a:off x="10854445" y="5921707"/>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75" name="Elipse 74">
            <a:extLst>
              <a:ext uri="{FF2B5EF4-FFF2-40B4-BE49-F238E27FC236}">
                <a16:creationId xmlns:a16="http://schemas.microsoft.com/office/drawing/2014/main" id="{C227FBEE-8F72-45CE-8FB9-CE261E7C8735}"/>
              </a:ext>
            </a:extLst>
          </p:cNvPr>
          <p:cNvSpPr/>
          <p:nvPr/>
        </p:nvSpPr>
        <p:spPr>
          <a:xfrm>
            <a:off x="10044355" y="6557312"/>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78" name="Elipse 77">
            <a:extLst>
              <a:ext uri="{FF2B5EF4-FFF2-40B4-BE49-F238E27FC236}">
                <a16:creationId xmlns:a16="http://schemas.microsoft.com/office/drawing/2014/main" id="{87E7F4F2-C2A0-4781-9EBA-B71358FB1CA1}"/>
              </a:ext>
            </a:extLst>
          </p:cNvPr>
          <p:cNvSpPr/>
          <p:nvPr/>
        </p:nvSpPr>
        <p:spPr>
          <a:xfrm>
            <a:off x="10854445" y="6547654"/>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79" name="Elipse 78">
            <a:extLst>
              <a:ext uri="{FF2B5EF4-FFF2-40B4-BE49-F238E27FC236}">
                <a16:creationId xmlns:a16="http://schemas.microsoft.com/office/drawing/2014/main" id="{F06C80BF-7C1D-4031-9FEA-43BBC65A1B53}"/>
              </a:ext>
            </a:extLst>
          </p:cNvPr>
          <p:cNvSpPr/>
          <p:nvPr/>
        </p:nvSpPr>
        <p:spPr>
          <a:xfrm>
            <a:off x="10854445" y="71963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80" name="Elipse 79">
            <a:extLst>
              <a:ext uri="{FF2B5EF4-FFF2-40B4-BE49-F238E27FC236}">
                <a16:creationId xmlns:a16="http://schemas.microsoft.com/office/drawing/2014/main" id="{95D15DA8-F685-4B5E-9DE8-249473CB6B75}"/>
              </a:ext>
            </a:extLst>
          </p:cNvPr>
          <p:cNvSpPr/>
          <p:nvPr/>
        </p:nvSpPr>
        <p:spPr>
          <a:xfrm>
            <a:off x="10044355" y="71963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81" name="Elipse 80">
            <a:extLst>
              <a:ext uri="{FF2B5EF4-FFF2-40B4-BE49-F238E27FC236}">
                <a16:creationId xmlns:a16="http://schemas.microsoft.com/office/drawing/2014/main" id="{3FD66B26-CA6F-4FE9-9163-6EDC8FC412EB}"/>
              </a:ext>
            </a:extLst>
          </p:cNvPr>
          <p:cNvSpPr/>
          <p:nvPr/>
        </p:nvSpPr>
        <p:spPr>
          <a:xfrm>
            <a:off x="10044355"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82" name="Elipse 81">
            <a:extLst>
              <a:ext uri="{FF2B5EF4-FFF2-40B4-BE49-F238E27FC236}">
                <a16:creationId xmlns:a16="http://schemas.microsoft.com/office/drawing/2014/main" id="{623F238E-5FF8-43C2-B889-BF3F61F5DC54}"/>
              </a:ext>
            </a:extLst>
          </p:cNvPr>
          <p:cNvSpPr/>
          <p:nvPr/>
        </p:nvSpPr>
        <p:spPr>
          <a:xfrm>
            <a:off x="10854445" y="7983695"/>
            <a:ext cx="295940" cy="293915"/>
          </a:xfrm>
          <a:prstGeom prst="ellipse">
            <a:avLst/>
          </a:prstGeom>
          <a:solidFill>
            <a:srgbClr val="70AD4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graphicFrame>
        <p:nvGraphicFramePr>
          <p:cNvPr id="3" name="Tabela 2">
            <a:extLst>
              <a:ext uri="{FF2B5EF4-FFF2-40B4-BE49-F238E27FC236}">
                <a16:creationId xmlns:a16="http://schemas.microsoft.com/office/drawing/2014/main" id="{45B64246-B38C-41ED-ADE1-D53A3AD65765}"/>
              </a:ext>
            </a:extLst>
          </p:cNvPr>
          <p:cNvGraphicFramePr>
            <a:graphicFrameLocks noGrp="1"/>
          </p:cNvGraphicFramePr>
          <p:nvPr>
            <p:extLst>
              <p:ext uri="{D42A27DB-BD31-4B8C-83A1-F6EECF244321}">
                <p14:modId xmlns:p14="http://schemas.microsoft.com/office/powerpoint/2010/main" val="2308066678"/>
              </p:ext>
            </p:extLst>
          </p:nvPr>
        </p:nvGraphicFramePr>
        <p:xfrm>
          <a:off x="588756" y="8580663"/>
          <a:ext cx="12193013" cy="594360"/>
        </p:xfrm>
        <a:graphic>
          <a:graphicData uri="http://schemas.openxmlformats.org/drawingml/2006/table">
            <a:tbl>
              <a:tblPr firstRow="1" bandRow="1">
                <a:tableStyleId>{6E25E649-3F16-4E02-A733-19D2CDBF48F0}</a:tableStyleId>
              </a:tblPr>
              <a:tblGrid>
                <a:gridCol w="1256797">
                  <a:extLst>
                    <a:ext uri="{9D8B030D-6E8A-4147-A177-3AD203B41FA5}">
                      <a16:colId xmlns:a16="http://schemas.microsoft.com/office/drawing/2014/main" val="580964962"/>
                    </a:ext>
                  </a:extLst>
                </a:gridCol>
                <a:gridCol w="4652407">
                  <a:extLst>
                    <a:ext uri="{9D8B030D-6E8A-4147-A177-3AD203B41FA5}">
                      <a16:colId xmlns:a16="http://schemas.microsoft.com/office/drawing/2014/main" val="3857764039"/>
                    </a:ext>
                  </a:extLst>
                </a:gridCol>
                <a:gridCol w="4896544">
                  <a:extLst>
                    <a:ext uri="{9D8B030D-6E8A-4147-A177-3AD203B41FA5}">
                      <a16:colId xmlns:a16="http://schemas.microsoft.com/office/drawing/2014/main" val="2735751513"/>
                    </a:ext>
                  </a:extLst>
                </a:gridCol>
                <a:gridCol w="1387265">
                  <a:extLst>
                    <a:ext uri="{9D8B030D-6E8A-4147-A177-3AD203B41FA5}">
                      <a16:colId xmlns:a16="http://schemas.microsoft.com/office/drawing/2014/main" val="2980502449"/>
                    </a:ext>
                  </a:extLst>
                </a:gridCol>
              </a:tblGrid>
              <a:tr h="556260">
                <a:tc>
                  <a:txBody>
                    <a:bodyPr/>
                    <a:lstStyle/>
                    <a:p>
                      <a:pPr algn="ctr"/>
                      <a:endParaRPr lang="pt-BR" sz="3000" dirty="0">
                        <a:solidFill>
                          <a:schemeClr val="tx1"/>
                        </a:solidFill>
                      </a:endParaRPr>
                    </a:p>
                  </a:txBody>
                  <a:tcPr marL="137160" marR="137160" marT="68580" marB="68580"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1"/>
                    </a:solidFill>
                  </a:tcPr>
                </a:tc>
                <a:tc>
                  <a:txBody>
                    <a:bodyPr/>
                    <a:lstStyle/>
                    <a:p>
                      <a:r>
                        <a:rPr lang="pt-BR" sz="3000" b="1" i="1" dirty="0">
                          <a:solidFill>
                            <a:schemeClr val="tx1"/>
                          </a:solidFill>
                        </a:rPr>
                        <a:t>status</a:t>
                      </a:r>
                      <a:r>
                        <a:rPr lang="pt-BR" sz="3000" b="1" dirty="0">
                          <a:solidFill>
                            <a:schemeClr val="tx1"/>
                          </a:solidFill>
                        </a:rPr>
                        <a:t> do portfólio</a:t>
                      </a:r>
                    </a:p>
                  </a:txBody>
                  <a:tcPr marL="137160" marR="137160" marT="68580" marB="68580"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1"/>
                    </a:solidFill>
                  </a:tcPr>
                </a:tc>
                <a:tc>
                  <a:txBody>
                    <a:bodyPr/>
                    <a:lstStyle/>
                    <a:p>
                      <a:endParaRPr lang="pt-BR" sz="3000" dirty="0">
                        <a:solidFill>
                          <a:schemeClr val="tx1"/>
                        </a:solidFill>
                      </a:endParaRPr>
                    </a:p>
                  </a:txBody>
                  <a:tcPr marL="137160" marR="137160" marT="68580" marB="68580"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1"/>
                    </a:solidFill>
                  </a:tcPr>
                </a:tc>
                <a:tc>
                  <a:txBody>
                    <a:bodyPr/>
                    <a:lstStyle/>
                    <a:p>
                      <a:endParaRPr lang="pt-BR" sz="3000" dirty="0">
                        <a:solidFill>
                          <a:schemeClr val="tx1"/>
                        </a:solidFill>
                      </a:endParaRPr>
                    </a:p>
                  </a:txBody>
                  <a:tcPr marL="137160" marR="137160" marT="68580" marB="68580" anchor="ctr">
                    <a:lnL w="12700" cap="flat" cmpd="sng" algn="ctr">
                      <a:solidFill>
                        <a:srgbClr val="0B9CE5"/>
                      </a:solidFill>
                      <a:prstDash val="solid"/>
                      <a:round/>
                      <a:headEnd type="none" w="med" len="med"/>
                      <a:tailEnd type="none" w="med" len="med"/>
                    </a:lnL>
                    <a:lnR w="12700" cap="flat" cmpd="sng" algn="ctr">
                      <a:solidFill>
                        <a:srgbClr val="0B9CE5"/>
                      </a:solidFill>
                      <a:prstDash val="solid"/>
                      <a:round/>
                      <a:headEnd type="none" w="med" len="med"/>
                      <a:tailEnd type="none" w="med" len="med"/>
                    </a:lnR>
                    <a:lnT w="12700" cap="flat" cmpd="sng" algn="ctr">
                      <a:solidFill>
                        <a:srgbClr val="0B9CE5"/>
                      </a:solidFill>
                      <a:prstDash val="solid"/>
                      <a:round/>
                      <a:headEnd type="none" w="med" len="med"/>
                      <a:tailEnd type="none" w="med" len="med"/>
                    </a:lnT>
                    <a:lnB w="12700" cap="flat" cmpd="sng" algn="ctr">
                      <a:solidFill>
                        <a:srgbClr val="0B9CE5"/>
                      </a:solidFill>
                      <a:prstDash val="solid"/>
                      <a:round/>
                      <a:headEnd type="none" w="med" len="med"/>
                      <a:tailEnd type="none" w="med" len="med"/>
                    </a:lnB>
                    <a:solidFill>
                      <a:schemeClr val="bg1"/>
                    </a:solidFill>
                  </a:tcPr>
                </a:tc>
                <a:extLst>
                  <a:ext uri="{0D108BD9-81ED-4DB2-BD59-A6C34878D82A}">
                    <a16:rowId xmlns:a16="http://schemas.microsoft.com/office/drawing/2014/main" val="3714318965"/>
                  </a:ext>
                </a:extLst>
              </a:tr>
            </a:tbl>
          </a:graphicData>
        </a:graphic>
      </p:graphicFrame>
      <p:sp>
        <p:nvSpPr>
          <p:cNvPr id="48" name="Elipse 47">
            <a:extLst>
              <a:ext uri="{FF2B5EF4-FFF2-40B4-BE49-F238E27FC236}">
                <a16:creationId xmlns:a16="http://schemas.microsoft.com/office/drawing/2014/main" id="{EE164AE8-ACD3-4C5F-9958-787C93C91AEA}"/>
              </a:ext>
            </a:extLst>
          </p:cNvPr>
          <p:cNvSpPr/>
          <p:nvPr/>
        </p:nvSpPr>
        <p:spPr>
          <a:xfrm>
            <a:off x="11897484" y="8777483"/>
            <a:ext cx="295940" cy="293915"/>
          </a:xfrm>
          <a:prstGeom prst="ellipse">
            <a:avLst/>
          </a:prstGeom>
          <a:solidFill>
            <a:srgbClr val="FFC0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1" name="CaixaDeTexto 50">
            <a:extLst>
              <a:ext uri="{FF2B5EF4-FFF2-40B4-BE49-F238E27FC236}">
                <a16:creationId xmlns:a16="http://schemas.microsoft.com/office/drawing/2014/main" id="{23F4418C-2D14-4AAF-A2DF-5CF67D4971A0}"/>
              </a:ext>
            </a:extLst>
          </p:cNvPr>
          <p:cNvSpPr txBox="1"/>
          <p:nvPr/>
        </p:nvSpPr>
        <p:spPr>
          <a:xfrm>
            <a:off x="2865337" y="9469400"/>
            <a:ext cx="8415189" cy="369332"/>
          </a:xfrm>
          <a:prstGeom prst="rect">
            <a:avLst/>
          </a:prstGeom>
          <a:noFill/>
        </p:spPr>
        <p:txBody>
          <a:bodyPr wrap="square">
            <a:spAutoFit/>
          </a:bodyPr>
          <a:lstStyle/>
          <a:p>
            <a:r>
              <a:rPr lang="en-US" altLang="pt-BR" b="1" dirty="0" err="1"/>
              <a:t>índice</a:t>
            </a:r>
            <a:r>
              <a:rPr lang="en-US" altLang="pt-BR" b="1" dirty="0"/>
              <a:t> de </a:t>
            </a:r>
            <a:r>
              <a:rPr lang="en-US" altLang="pt-BR" b="1" dirty="0" err="1"/>
              <a:t>satisfação</a:t>
            </a:r>
            <a:r>
              <a:rPr lang="en-US" altLang="pt-BR" b="1" dirty="0"/>
              <a:t> do time (IST) </a:t>
            </a:r>
            <a:r>
              <a:rPr lang="en-US" altLang="pt-BR" dirty="0"/>
              <a:t>= </a:t>
            </a:r>
            <a:r>
              <a:rPr lang="en-US" altLang="pt-BR" dirty="0" err="1"/>
              <a:t>pesquisa</a:t>
            </a:r>
            <a:r>
              <a:rPr lang="en-US" altLang="pt-BR" dirty="0"/>
              <a:t> </a:t>
            </a:r>
            <a:r>
              <a:rPr lang="en-US" altLang="pt-BR" dirty="0" err="1"/>
              <a:t>qualitativa</a:t>
            </a:r>
            <a:r>
              <a:rPr lang="en-US" altLang="pt-BR" dirty="0"/>
              <a:t> </a:t>
            </a:r>
            <a:r>
              <a:rPr lang="en-US" altLang="pt-BR" dirty="0" err="1"/>
              <a:t>em</a:t>
            </a:r>
            <a:r>
              <a:rPr lang="en-US" altLang="pt-BR" dirty="0"/>
              <a:t> </a:t>
            </a:r>
            <a:r>
              <a:rPr lang="en-US" altLang="pt-BR" dirty="0" err="1"/>
              <a:t>escala</a:t>
            </a:r>
            <a:r>
              <a:rPr lang="en-US" altLang="pt-BR" dirty="0"/>
              <a:t> de 1 a 10;</a:t>
            </a:r>
          </a:p>
        </p:txBody>
      </p:sp>
      <p:sp>
        <p:nvSpPr>
          <p:cNvPr id="57" name="CaixaDeTexto 56">
            <a:extLst>
              <a:ext uri="{FF2B5EF4-FFF2-40B4-BE49-F238E27FC236}">
                <a16:creationId xmlns:a16="http://schemas.microsoft.com/office/drawing/2014/main" id="{23F4418C-2D14-4AAF-A2DF-5CF67D4971A0}"/>
              </a:ext>
            </a:extLst>
          </p:cNvPr>
          <p:cNvSpPr txBox="1"/>
          <p:nvPr/>
        </p:nvSpPr>
        <p:spPr>
          <a:xfrm>
            <a:off x="2899417" y="9771084"/>
            <a:ext cx="8998067" cy="369332"/>
          </a:xfrm>
          <a:prstGeom prst="rect">
            <a:avLst/>
          </a:prstGeom>
          <a:noFill/>
        </p:spPr>
        <p:txBody>
          <a:bodyPr wrap="square">
            <a:spAutoFit/>
          </a:bodyPr>
          <a:lstStyle/>
          <a:p>
            <a:r>
              <a:rPr lang="en-US" altLang="pt-BR" b="1" dirty="0" err="1"/>
              <a:t>índice</a:t>
            </a:r>
            <a:r>
              <a:rPr lang="en-US" altLang="pt-BR" b="1" dirty="0"/>
              <a:t> de </a:t>
            </a:r>
            <a:r>
              <a:rPr lang="en-US" altLang="pt-BR" b="1" dirty="0" err="1"/>
              <a:t>satisfação</a:t>
            </a:r>
            <a:r>
              <a:rPr lang="en-US" altLang="pt-BR" b="1" dirty="0"/>
              <a:t> do </a:t>
            </a:r>
            <a:r>
              <a:rPr lang="en-US" altLang="pt-BR" b="1" dirty="0" err="1"/>
              <a:t>cliente</a:t>
            </a:r>
            <a:r>
              <a:rPr lang="en-US" altLang="pt-BR" b="1" dirty="0"/>
              <a:t> (ISC) </a:t>
            </a:r>
            <a:r>
              <a:rPr lang="en-US" altLang="pt-BR" dirty="0"/>
              <a:t>= </a:t>
            </a:r>
            <a:r>
              <a:rPr lang="en-US" altLang="pt-BR" dirty="0" err="1"/>
              <a:t>pesquisa</a:t>
            </a:r>
            <a:r>
              <a:rPr lang="en-US" altLang="pt-BR" dirty="0"/>
              <a:t> </a:t>
            </a:r>
            <a:r>
              <a:rPr lang="en-US" altLang="pt-BR" dirty="0" err="1"/>
              <a:t>qualitativa</a:t>
            </a:r>
            <a:r>
              <a:rPr lang="en-US" altLang="pt-BR" dirty="0"/>
              <a:t> </a:t>
            </a:r>
            <a:r>
              <a:rPr lang="en-US" altLang="pt-BR" dirty="0" err="1"/>
              <a:t>em</a:t>
            </a:r>
            <a:r>
              <a:rPr lang="en-US" altLang="pt-BR" dirty="0"/>
              <a:t> </a:t>
            </a:r>
            <a:r>
              <a:rPr lang="en-US" altLang="pt-BR" dirty="0" err="1"/>
              <a:t>escala</a:t>
            </a:r>
            <a:r>
              <a:rPr lang="en-US" altLang="pt-BR" dirty="0"/>
              <a:t> de 1 a 10;</a:t>
            </a:r>
          </a:p>
        </p:txBody>
      </p:sp>
    </p:spTree>
    <p:extLst>
      <p:ext uri="{BB962C8B-B14F-4D97-AF65-F5344CB8AC3E}">
        <p14:creationId xmlns:p14="http://schemas.microsoft.com/office/powerpoint/2010/main" val="7739230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ChangeArrowheads="1"/>
          </p:cNvSpPr>
          <p:nvPr/>
        </p:nvSpPr>
        <p:spPr bwMode="auto">
          <a:xfrm>
            <a:off x="-54769" y="-40482"/>
            <a:ext cx="11827670" cy="828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dirty="0">
                <a:solidFill>
                  <a:schemeClr val="tx1"/>
                </a:solidFill>
                <a:latin typeface="Cambria" panose="02040503050406030204" pitchFamily="18" charset="0"/>
              </a:rPr>
              <a:t>Métricas:  Ex.: Avaliação de sucesso em Projetos</a:t>
            </a:r>
            <a:endParaRPr lang="en-GB" altLang="pt-BR" sz="3600" dirty="0">
              <a:solidFill>
                <a:schemeClr val="tx1"/>
              </a:solidFill>
              <a:latin typeface="Cambria" panose="02040503050406030204" pitchFamily="18" charset="0"/>
            </a:endParaRPr>
          </a:p>
        </p:txBody>
      </p:sp>
      <p:grpSp>
        <p:nvGrpSpPr>
          <p:cNvPr id="51203" name="Group 6"/>
          <p:cNvGrpSpPr>
            <a:grpSpLocks noChangeAspect="1"/>
          </p:cNvGrpSpPr>
          <p:nvPr/>
        </p:nvGrpSpPr>
        <p:grpSpPr bwMode="auto">
          <a:xfrm>
            <a:off x="305272" y="1759124"/>
            <a:ext cx="9077325" cy="7241382"/>
            <a:chOff x="295" y="782"/>
            <a:chExt cx="3812" cy="3041"/>
          </a:xfrm>
        </p:grpSpPr>
        <p:sp>
          <p:nvSpPr>
            <p:cNvPr id="51211" name="AutoShape 7"/>
            <p:cNvSpPr>
              <a:spLocks noChangeAspect="1" noChangeArrowheads="1" noTextEdit="1"/>
            </p:cNvSpPr>
            <p:nvPr/>
          </p:nvSpPr>
          <p:spPr bwMode="auto">
            <a:xfrm>
              <a:off x="295" y="782"/>
              <a:ext cx="3812" cy="3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sp>
          <p:nvSpPr>
            <p:cNvPr id="51212" name="Line 8"/>
            <p:cNvSpPr>
              <a:spLocks noChangeShapeType="1"/>
            </p:cNvSpPr>
            <p:nvPr/>
          </p:nvSpPr>
          <p:spPr bwMode="auto">
            <a:xfrm>
              <a:off x="2201" y="1409"/>
              <a:ext cx="1" cy="9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3" name="Line 9"/>
            <p:cNvSpPr>
              <a:spLocks noChangeShapeType="1"/>
            </p:cNvSpPr>
            <p:nvPr/>
          </p:nvSpPr>
          <p:spPr bwMode="auto">
            <a:xfrm>
              <a:off x="883" y="1501"/>
              <a:ext cx="1" cy="9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4" name="Line 10"/>
            <p:cNvSpPr>
              <a:spLocks noChangeShapeType="1"/>
            </p:cNvSpPr>
            <p:nvPr/>
          </p:nvSpPr>
          <p:spPr bwMode="auto">
            <a:xfrm>
              <a:off x="2923" y="1501"/>
              <a:ext cx="1" cy="9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5" name="Line 11"/>
            <p:cNvSpPr>
              <a:spLocks noChangeShapeType="1"/>
            </p:cNvSpPr>
            <p:nvPr/>
          </p:nvSpPr>
          <p:spPr bwMode="auto">
            <a:xfrm>
              <a:off x="883" y="1501"/>
              <a:ext cx="1318"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6" name="Line 12"/>
            <p:cNvSpPr>
              <a:spLocks noChangeShapeType="1"/>
            </p:cNvSpPr>
            <p:nvPr/>
          </p:nvSpPr>
          <p:spPr bwMode="auto">
            <a:xfrm>
              <a:off x="2201" y="1501"/>
              <a:ext cx="72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7" name="Line 13"/>
            <p:cNvSpPr>
              <a:spLocks noChangeShapeType="1"/>
            </p:cNvSpPr>
            <p:nvPr/>
          </p:nvSpPr>
          <p:spPr bwMode="auto">
            <a:xfrm>
              <a:off x="448" y="2068"/>
              <a:ext cx="1" cy="3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8" name="Line 14"/>
            <p:cNvSpPr>
              <a:spLocks noChangeShapeType="1"/>
            </p:cNvSpPr>
            <p:nvPr/>
          </p:nvSpPr>
          <p:spPr bwMode="auto">
            <a:xfrm>
              <a:off x="448" y="2422"/>
              <a:ext cx="9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19" name="Line 15"/>
            <p:cNvSpPr>
              <a:spLocks noChangeShapeType="1"/>
            </p:cNvSpPr>
            <p:nvPr/>
          </p:nvSpPr>
          <p:spPr bwMode="auto">
            <a:xfrm>
              <a:off x="448" y="2827"/>
              <a:ext cx="9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0" name="Line 16"/>
            <p:cNvSpPr>
              <a:spLocks noChangeShapeType="1"/>
            </p:cNvSpPr>
            <p:nvPr/>
          </p:nvSpPr>
          <p:spPr bwMode="auto">
            <a:xfrm>
              <a:off x="448" y="3231"/>
              <a:ext cx="9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1" name="Line 17"/>
            <p:cNvSpPr>
              <a:spLocks noChangeShapeType="1"/>
            </p:cNvSpPr>
            <p:nvPr/>
          </p:nvSpPr>
          <p:spPr bwMode="auto">
            <a:xfrm>
              <a:off x="448" y="3636"/>
              <a:ext cx="9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2" name="Line 18"/>
            <p:cNvSpPr>
              <a:spLocks noChangeShapeType="1"/>
            </p:cNvSpPr>
            <p:nvPr/>
          </p:nvSpPr>
          <p:spPr bwMode="auto">
            <a:xfrm>
              <a:off x="448" y="2422"/>
              <a:ext cx="1" cy="40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3" name="Line 19"/>
            <p:cNvSpPr>
              <a:spLocks noChangeShapeType="1"/>
            </p:cNvSpPr>
            <p:nvPr/>
          </p:nvSpPr>
          <p:spPr bwMode="auto">
            <a:xfrm>
              <a:off x="448" y="2827"/>
              <a:ext cx="1" cy="40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4" name="Line 20"/>
            <p:cNvSpPr>
              <a:spLocks noChangeShapeType="1"/>
            </p:cNvSpPr>
            <p:nvPr/>
          </p:nvSpPr>
          <p:spPr bwMode="auto">
            <a:xfrm>
              <a:off x="448" y="3231"/>
              <a:ext cx="1" cy="40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25" name="Rectangle 21"/>
            <p:cNvSpPr>
              <a:spLocks noChangeArrowheads="1"/>
            </p:cNvSpPr>
            <p:nvPr/>
          </p:nvSpPr>
          <p:spPr bwMode="auto">
            <a:xfrm>
              <a:off x="538" y="2251"/>
              <a:ext cx="1122" cy="341"/>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26" name="Rectangle 22"/>
            <p:cNvSpPr>
              <a:spLocks noChangeArrowheads="1"/>
            </p:cNvSpPr>
            <p:nvPr/>
          </p:nvSpPr>
          <p:spPr bwMode="auto">
            <a:xfrm>
              <a:off x="675" y="2287"/>
              <a:ext cx="77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Escopo esperado</a:t>
              </a:r>
            </a:p>
          </p:txBody>
        </p:sp>
        <p:sp>
          <p:nvSpPr>
            <p:cNvPr id="51227" name="Rectangle 23"/>
            <p:cNvSpPr>
              <a:spLocks noChangeArrowheads="1"/>
            </p:cNvSpPr>
            <p:nvPr/>
          </p:nvSpPr>
          <p:spPr bwMode="auto">
            <a:xfrm>
              <a:off x="946" y="2422"/>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60 pts</a:t>
              </a:r>
            </a:p>
          </p:txBody>
        </p:sp>
        <p:sp>
          <p:nvSpPr>
            <p:cNvPr id="51228" name="Rectangle 24"/>
            <p:cNvSpPr>
              <a:spLocks noChangeArrowheads="1"/>
            </p:cNvSpPr>
            <p:nvPr/>
          </p:nvSpPr>
          <p:spPr bwMode="auto">
            <a:xfrm>
              <a:off x="538" y="2251"/>
              <a:ext cx="1122"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29" name="Rectangle 25"/>
            <p:cNvSpPr>
              <a:spLocks noChangeArrowheads="1"/>
            </p:cNvSpPr>
            <p:nvPr/>
          </p:nvSpPr>
          <p:spPr bwMode="auto">
            <a:xfrm>
              <a:off x="538" y="2656"/>
              <a:ext cx="1122" cy="341"/>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30" name="Rectangle 26"/>
            <p:cNvSpPr>
              <a:spLocks noChangeArrowheads="1"/>
            </p:cNvSpPr>
            <p:nvPr/>
          </p:nvSpPr>
          <p:spPr bwMode="auto">
            <a:xfrm>
              <a:off x="609" y="2692"/>
              <a:ext cx="91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Qualidade esperada</a:t>
              </a:r>
            </a:p>
          </p:txBody>
        </p:sp>
        <p:sp>
          <p:nvSpPr>
            <p:cNvPr id="51231" name="Rectangle 27"/>
            <p:cNvSpPr>
              <a:spLocks noChangeArrowheads="1"/>
            </p:cNvSpPr>
            <p:nvPr/>
          </p:nvSpPr>
          <p:spPr bwMode="auto">
            <a:xfrm>
              <a:off x="946" y="2827"/>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60 pts</a:t>
              </a:r>
            </a:p>
          </p:txBody>
        </p:sp>
        <p:sp>
          <p:nvSpPr>
            <p:cNvPr id="51232" name="Rectangle 28"/>
            <p:cNvSpPr>
              <a:spLocks noChangeArrowheads="1"/>
            </p:cNvSpPr>
            <p:nvPr/>
          </p:nvSpPr>
          <p:spPr bwMode="auto">
            <a:xfrm>
              <a:off x="538" y="2656"/>
              <a:ext cx="1122"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33" name="Rectangle 29"/>
            <p:cNvSpPr>
              <a:spLocks noChangeArrowheads="1"/>
            </p:cNvSpPr>
            <p:nvPr/>
          </p:nvSpPr>
          <p:spPr bwMode="auto">
            <a:xfrm>
              <a:off x="538" y="3061"/>
              <a:ext cx="1122" cy="341"/>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34" name="Rectangle 30"/>
            <p:cNvSpPr>
              <a:spLocks noChangeArrowheads="1"/>
            </p:cNvSpPr>
            <p:nvPr/>
          </p:nvSpPr>
          <p:spPr bwMode="auto">
            <a:xfrm>
              <a:off x="703" y="3097"/>
              <a:ext cx="74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Dentro do Prazo</a:t>
              </a:r>
            </a:p>
          </p:txBody>
        </p:sp>
        <p:sp>
          <p:nvSpPr>
            <p:cNvPr id="51235" name="Rectangle 31"/>
            <p:cNvSpPr>
              <a:spLocks noChangeArrowheads="1"/>
            </p:cNvSpPr>
            <p:nvPr/>
          </p:nvSpPr>
          <p:spPr bwMode="auto">
            <a:xfrm>
              <a:off x="946" y="3232"/>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60 pts</a:t>
              </a:r>
            </a:p>
          </p:txBody>
        </p:sp>
        <p:sp>
          <p:nvSpPr>
            <p:cNvPr id="51236" name="Rectangle 32"/>
            <p:cNvSpPr>
              <a:spLocks noChangeArrowheads="1"/>
            </p:cNvSpPr>
            <p:nvPr/>
          </p:nvSpPr>
          <p:spPr bwMode="auto">
            <a:xfrm>
              <a:off x="538" y="3061"/>
              <a:ext cx="1122"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37" name="Rectangle 33"/>
            <p:cNvSpPr>
              <a:spLocks noChangeArrowheads="1"/>
            </p:cNvSpPr>
            <p:nvPr/>
          </p:nvSpPr>
          <p:spPr bwMode="auto">
            <a:xfrm>
              <a:off x="538" y="3466"/>
              <a:ext cx="1122" cy="341"/>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38" name="Rectangle 34"/>
            <p:cNvSpPr>
              <a:spLocks noChangeArrowheads="1"/>
            </p:cNvSpPr>
            <p:nvPr/>
          </p:nvSpPr>
          <p:spPr bwMode="auto">
            <a:xfrm>
              <a:off x="573" y="3502"/>
              <a:ext cx="100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Dentro do Orçamento</a:t>
              </a:r>
            </a:p>
          </p:txBody>
        </p:sp>
        <p:sp>
          <p:nvSpPr>
            <p:cNvPr id="51239" name="Rectangle 35"/>
            <p:cNvSpPr>
              <a:spLocks noChangeArrowheads="1"/>
            </p:cNvSpPr>
            <p:nvPr/>
          </p:nvSpPr>
          <p:spPr bwMode="auto">
            <a:xfrm>
              <a:off x="946" y="3637"/>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60 pts</a:t>
              </a:r>
            </a:p>
          </p:txBody>
        </p:sp>
        <p:sp>
          <p:nvSpPr>
            <p:cNvPr id="51240" name="Rectangle 36"/>
            <p:cNvSpPr>
              <a:spLocks noChangeArrowheads="1"/>
            </p:cNvSpPr>
            <p:nvPr/>
          </p:nvSpPr>
          <p:spPr bwMode="auto">
            <a:xfrm>
              <a:off x="538" y="3466"/>
              <a:ext cx="1122"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41" name="Rectangle 37"/>
            <p:cNvSpPr>
              <a:spLocks noChangeArrowheads="1"/>
            </p:cNvSpPr>
            <p:nvPr/>
          </p:nvSpPr>
          <p:spPr bwMode="auto">
            <a:xfrm>
              <a:off x="311" y="1592"/>
              <a:ext cx="1149" cy="476"/>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42" name="Rectangle 38"/>
            <p:cNvSpPr>
              <a:spLocks noChangeArrowheads="1"/>
            </p:cNvSpPr>
            <p:nvPr/>
          </p:nvSpPr>
          <p:spPr bwMode="auto">
            <a:xfrm>
              <a:off x="346" y="1628"/>
              <a:ext cx="103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Atributos relacionados</a:t>
              </a:r>
            </a:p>
          </p:txBody>
        </p:sp>
        <p:sp>
          <p:nvSpPr>
            <p:cNvPr id="51243" name="Rectangle 39"/>
            <p:cNvSpPr>
              <a:spLocks noChangeArrowheads="1"/>
            </p:cNvSpPr>
            <p:nvPr/>
          </p:nvSpPr>
          <p:spPr bwMode="auto">
            <a:xfrm>
              <a:off x="585" y="1763"/>
              <a:ext cx="55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a resultados</a:t>
              </a:r>
            </a:p>
          </p:txBody>
        </p:sp>
        <p:sp>
          <p:nvSpPr>
            <p:cNvPr id="51244" name="Rectangle 40"/>
            <p:cNvSpPr>
              <a:spLocks noChangeArrowheads="1"/>
            </p:cNvSpPr>
            <p:nvPr/>
          </p:nvSpPr>
          <p:spPr bwMode="auto">
            <a:xfrm>
              <a:off x="699" y="1898"/>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640 pts</a:t>
              </a:r>
            </a:p>
          </p:txBody>
        </p:sp>
        <p:sp>
          <p:nvSpPr>
            <p:cNvPr id="51245" name="Rectangle 41"/>
            <p:cNvSpPr>
              <a:spLocks noChangeArrowheads="1"/>
            </p:cNvSpPr>
            <p:nvPr/>
          </p:nvSpPr>
          <p:spPr bwMode="auto">
            <a:xfrm>
              <a:off x="311" y="1592"/>
              <a:ext cx="1149" cy="476"/>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46" name="Line 42"/>
            <p:cNvSpPr>
              <a:spLocks noChangeShapeType="1"/>
            </p:cNvSpPr>
            <p:nvPr/>
          </p:nvSpPr>
          <p:spPr bwMode="auto">
            <a:xfrm>
              <a:off x="2923" y="2068"/>
              <a:ext cx="1" cy="9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47" name="Line 43"/>
            <p:cNvSpPr>
              <a:spLocks noChangeShapeType="1"/>
            </p:cNvSpPr>
            <p:nvPr/>
          </p:nvSpPr>
          <p:spPr bwMode="auto">
            <a:xfrm>
              <a:off x="2315" y="2160"/>
              <a:ext cx="1" cy="9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48" name="Line 44"/>
            <p:cNvSpPr>
              <a:spLocks noChangeShapeType="1"/>
            </p:cNvSpPr>
            <p:nvPr/>
          </p:nvSpPr>
          <p:spPr bwMode="auto">
            <a:xfrm>
              <a:off x="3530" y="2160"/>
              <a:ext cx="1" cy="9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49" name="Line 45"/>
            <p:cNvSpPr>
              <a:spLocks noChangeShapeType="1"/>
            </p:cNvSpPr>
            <p:nvPr/>
          </p:nvSpPr>
          <p:spPr bwMode="auto">
            <a:xfrm>
              <a:off x="2315" y="2160"/>
              <a:ext cx="608"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50" name="Line 46"/>
            <p:cNvSpPr>
              <a:spLocks noChangeShapeType="1"/>
            </p:cNvSpPr>
            <p:nvPr/>
          </p:nvSpPr>
          <p:spPr bwMode="auto">
            <a:xfrm>
              <a:off x="2923" y="2160"/>
              <a:ext cx="60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51251" name="Rectangle 47"/>
            <p:cNvSpPr>
              <a:spLocks noChangeArrowheads="1"/>
            </p:cNvSpPr>
            <p:nvPr/>
          </p:nvSpPr>
          <p:spPr bwMode="auto">
            <a:xfrm>
              <a:off x="1754" y="2251"/>
              <a:ext cx="1122" cy="34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52" name="Rectangle 48"/>
            <p:cNvSpPr>
              <a:spLocks noChangeArrowheads="1"/>
            </p:cNvSpPr>
            <p:nvPr/>
          </p:nvSpPr>
          <p:spPr bwMode="auto">
            <a:xfrm>
              <a:off x="1860" y="2287"/>
              <a:ext cx="88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Moral do Time Alta</a:t>
              </a:r>
            </a:p>
          </p:txBody>
        </p:sp>
        <p:sp>
          <p:nvSpPr>
            <p:cNvPr id="51253" name="Rectangle 49"/>
            <p:cNvSpPr>
              <a:spLocks noChangeArrowheads="1"/>
            </p:cNvSpPr>
            <p:nvPr/>
          </p:nvSpPr>
          <p:spPr bwMode="auto">
            <a:xfrm>
              <a:off x="2162" y="2422"/>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60 pts</a:t>
              </a:r>
            </a:p>
          </p:txBody>
        </p:sp>
        <p:sp>
          <p:nvSpPr>
            <p:cNvPr id="51254" name="Rectangle 50"/>
            <p:cNvSpPr>
              <a:spLocks noChangeArrowheads="1"/>
            </p:cNvSpPr>
            <p:nvPr/>
          </p:nvSpPr>
          <p:spPr bwMode="auto">
            <a:xfrm>
              <a:off x="1754" y="2251"/>
              <a:ext cx="1122"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55" name="Rectangle 51"/>
            <p:cNvSpPr>
              <a:spLocks noChangeArrowheads="1"/>
            </p:cNvSpPr>
            <p:nvPr/>
          </p:nvSpPr>
          <p:spPr bwMode="auto">
            <a:xfrm>
              <a:off x="2970" y="2251"/>
              <a:ext cx="1121" cy="34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56" name="Rectangle 52"/>
            <p:cNvSpPr>
              <a:spLocks noChangeArrowheads="1"/>
            </p:cNvSpPr>
            <p:nvPr/>
          </p:nvSpPr>
          <p:spPr bwMode="auto">
            <a:xfrm>
              <a:off x="3134" y="2287"/>
              <a:ext cx="76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Cliente satisfeito</a:t>
              </a:r>
            </a:p>
          </p:txBody>
        </p:sp>
        <p:sp>
          <p:nvSpPr>
            <p:cNvPr id="51257" name="Rectangle 53"/>
            <p:cNvSpPr>
              <a:spLocks noChangeArrowheads="1"/>
            </p:cNvSpPr>
            <p:nvPr/>
          </p:nvSpPr>
          <p:spPr bwMode="auto">
            <a:xfrm>
              <a:off x="3378" y="2422"/>
              <a:ext cx="3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200 pts</a:t>
              </a:r>
            </a:p>
          </p:txBody>
        </p:sp>
        <p:sp>
          <p:nvSpPr>
            <p:cNvPr id="51258" name="Rectangle 54"/>
            <p:cNvSpPr>
              <a:spLocks noChangeArrowheads="1"/>
            </p:cNvSpPr>
            <p:nvPr/>
          </p:nvSpPr>
          <p:spPr bwMode="auto">
            <a:xfrm>
              <a:off x="2970" y="2251"/>
              <a:ext cx="1121" cy="34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59" name="Rectangle 55"/>
            <p:cNvSpPr>
              <a:spLocks noChangeArrowheads="1"/>
            </p:cNvSpPr>
            <p:nvPr/>
          </p:nvSpPr>
          <p:spPr bwMode="auto">
            <a:xfrm>
              <a:off x="2350" y="1592"/>
              <a:ext cx="1149" cy="476"/>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60" name="Rectangle 56"/>
            <p:cNvSpPr>
              <a:spLocks noChangeArrowheads="1"/>
            </p:cNvSpPr>
            <p:nvPr/>
          </p:nvSpPr>
          <p:spPr bwMode="auto">
            <a:xfrm>
              <a:off x="2385" y="1628"/>
              <a:ext cx="103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Atributos relacionados</a:t>
              </a:r>
            </a:p>
          </p:txBody>
        </p:sp>
        <p:sp>
          <p:nvSpPr>
            <p:cNvPr id="51261" name="Rectangle 57"/>
            <p:cNvSpPr>
              <a:spLocks noChangeArrowheads="1"/>
            </p:cNvSpPr>
            <p:nvPr/>
          </p:nvSpPr>
          <p:spPr bwMode="auto">
            <a:xfrm>
              <a:off x="2676" y="1763"/>
              <a:ext cx="44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a pessoas</a:t>
              </a:r>
            </a:p>
          </p:txBody>
        </p:sp>
        <p:sp>
          <p:nvSpPr>
            <p:cNvPr id="51262" name="Rectangle 58"/>
            <p:cNvSpPr>
              <a:spLocks noChangeArrowheads="1"/>
            </p:cNvSpPr>
            <p:nvPr/>
          </p:nvSpPr>
          <p:spPr bwMode="auto">
            <a:xfrm>
              <a:off x="2738" y="1898"/>
              <a:ext cx="31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360pts</a:t>
              </a:r>
            </a:p>
          </p:txBody>
        </p:sp>
        <p:sp>
          <p:nvSpPr>
            <p:cNvPr id="51263" name="Rectangle 59"/>
            <p:cNvSpPr>
              <a:spLocks noChangeArrowheads="1"/>
            </p:cNvSpPr>
            <p:nvPr/>
          </p:nvSpPr>
          <p:spPr bwMode="auto">
            <a:xfrm>
              <a:off x="2350" y="1592"/>
              <a:ext cx="1149" cy="476"/>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64" name="Rectangle 60"/>
            <p:cNvSpPr>
              <a:spLocks noChangeArrowheads="1"/>
            </p:cNvSpPr>
            <p:nvPr/>
          </p:nvSpPr>
          <p:spPr bwMode="auto">
            <a:xfrm>
              <a:off x="1550" y="798"/>
              <a:ext cx="1302" cy="61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sp>
          <p:nvSpPr>
            <p:cNvPr id="51265" name="Rectangle 61"/>
            <p:cNvSpPr>
              <a:spLocks noChangeArrowheads="1"/>
            </p:cNvSpPr>
            <p:nvPr/>
          </p:nvSpPr>
          <p:spPr bwMode="auto">
            <a:xfrm>
              <a:off x="1585" y="834"/>
              <a:ext cx="106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Indicadores de Sucesso</a:t>
              </a:r>
            </a:p>
          </p:txBody>
        </p:sp>
        <p:sp>
          <p:nvSpPr>
            <p:cNvPr id="51266" name="Rectangle 62"/>
            <p:cNvSpPr>
              <a:spLocks noChangeArrowheads="1"/>
            </p:cNvSpPr>
            <p:nvPr/>
          </p:nvSpPr>
          <p:spPr bwMode="auto">
            <a:xfrm>
              <a:off x="1911" y="969"/>
              <a:ext cx="55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em Projetos</a:t>
              </a:r>
            </a:p>
          </p:txBody>
        </p:sp>
        <p:sp>
          <p:nvSpPr>
            <p:cNvPr id="51267" name="Rectangle 63"/>
            <p:cNvSpPr>
              <a:spLocks noChangeArrowheads="1"/>
            </p:cNvSpPr>
            <p:nvPr/>
          </p:nvSpPr>
          <p:spPr bwMode="auto">
            <a:xfrm>
              <a:off x="2017" y="1104"/>
              <a:ext cx="39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000 pts</a:t>
              </a:r>
            </a:p>
          </p:txBody>
        </p:sp>
        <p:sp>
          <p:nvSpPr>
            <p:cNvPr id="51268" name="Rectangle 64"/>
            <p:cNvSpPr>
              <a:spLocks noChangeArrowheads="1"/>
            </p:cNvSpPr>
            <p:nvPr/>
          </p:nvSpPr>
          <p:spPr bwMode="auto">
            <a:xfrm>
              <a:off x="1966" y="1239"/>
              <a:ext cx="44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100">
                  <a:solidFill>
                    <a:schemeClr val="tx1"/>
                  </a:solidFill>
                  <a:latin typeface="Calibri" panose="020F0502020204030204" pitchFamily="34" charset="0"/>
                </a:rPr>
                <a:t>1-5 rating</a:t>
              </a:r>
            </a:p>
          </p:txBody>
        </p:sp>
        <p:sp>
          <p:nvSpPr>
            <p:cNvPr id="51269" name="Rectangle 65"/>
            <p:cNvSpPr>
              <a:spLocks noChangeArrowheads="1"/>
            </p:cNvSpPr>
            <p:nvPr/>
          </p:nvSpPr>
          <p:spPr bwMode="auto">
            <a:xfrm>
              <a:off x="1550" y="798"/>
              <a:ext cx="1302" cy="611"/>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100">
                <a:solidFill>
                  <a:schemeClr val="tx1"/>
                </a:solidFill>
                <a:latin typeface="Calibri" panose="020F0502020204030204" pitchFamily="34" charset="0"/>
              </a:endParaRPr>
            </a:p>
          </p:txBody>
        </p:sp>
      </p:grpSp>
      <p:pic>
        <p:nvPicPr>
          <p:cNvPr id="527426" name="Picture 66" descr="construct_pe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1035" y="7336011"/>
            <a:ext cx="4002881" cy="2659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5" name="Imagem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627865" y="1599581"/>
            <a:ext cx="3374232" cy="153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6" name="CaixaDeTexto 2"/>
          <p:cNvSpPr txBox="1">
            <a:spLocks noChangeArrowheads="1"/>
          </p:cNvSpPr>
          <p:nvPr/>
        </p:nvSpPr>
        <p:spPr bwMode="auto">
          <a:xfrm>
            <a:off x="9665965" y="3133106"/>
            <a:ext cx="2781531"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a:solidFill>
                  <a:schemeClr val="tx1"/>
                </a:solidFill>
                <a:latin typeface="Arial" panose="020B0604020202020204" pitchFamily="34" charset="0"/>
              </a:rPr>
              <a:t>1000-900 pontos</a:t>
            </a:r>
          </a:p>
        </p:txBody>
      </p:sp>
      <p:pic>
        <p:nvPicPr>
          <p:cNvPr id="51207" name="Imagem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689777" y="3721274"/>
            <a:ext cx="3371850" cy="153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8" name="CaixaDeTexto 66"/>
          <p:cNvSpPr txBox="1">
            <a:spLocks noChangeArrowheads="1"/>
          </p:cNvSpPr>
          <p:nvPr/>
        </p:nvSpPr>
        <p:spPr bwMode="auto">
          <a:xfrm>
            <a:off x="9963622" y="5295281"/>
            <a:ext cx="258917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a:solidFill>
                  <a:schemeClr val="tx1"/>
                </a:solidFill>
                <a:latin typeface="Arial" panose="020B0604020202020204" pitchFamily="34" charset="0"/>
              </a:rPr>
              <a:t>900-750 pontos</a:t>
            </a:r>
          </a:p>
        </p:txBody>
      </p:sp>
      <p:pic>
        <p:nvPicPr>
          <p:cNvPr id="51209" name="Imagem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689777" y="6033468"/>
            <a:ext cx="3326607" cy="151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10" name="CaixaDeTexto 68"/>
          <p:cNvSpPr txBox="1">
            <a:spLocks noChangeArrowheads="1"/>
          </p:cNvSpPr>
          <p:nvPr/>
        </p:nvSpPr>
        <p:spPr bwMode="auto">
          <a:xfrm>
            <a:off x="9053985" y="7519368"/>
            <a:ext cx="43362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a:solidFill>
                  <a:schemeClr val="tx1"/>
                </a:solidFill>
                <a:latin typeface="Arial" panose="020B0604020202020204" pitchFamily="34" charset="0"/>
              </a:rPr>
              <a:t>MENOR que 750 pontos</a:t>
            </a:r>
          </a:p>
        </p:txBody>
      </p:sp>
      <p:sp>
        <p:nvSpPr>
          <p:cNvPr id="2" name="Retângulo 1">
            <a:extLst>
              <a:ext uri="{FF2B5EF4-FFF2-40B4-BE49-F238E27FC236}">
                <a16:creationId xmlns:a16="http://schemas.microsoft.com/office/drawing/2014/main" id="{A949AD10-1937-4C4C-994C-FFE7145AFAF0}"/>
              </a:ext>
            </a:extLst>
          </p:cNvPr>
          <p:cNvSpPr/>
          <p:nvPr/>
        </p:nvSpPr>
        <p:spPr>
          <a:xfrm>
            <a:off x="9647073" y="8398050"/>
            <a:ext cx="2669381" cy="1384995"/>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a:spAutoFit/>
          </a:bodyPr>
          <a:lstStyle/>
          <a:p>
            <a:pPr algn="ctr"/>
            <a:r>
              <a:rPr lang="pt-BR" sz="2800" b="1" cap="none" spc="0">
                <a:ln w="6600">
                  <a:solidFill>
                    <a:schemeClr val="accent2"/>
                  </a:solidFill>
                  <a:prstDash val="solid"/>
                </a:ln>
                <a:solidFill>
                  <a:srgbClr val="FFFFFF"/>
                </a:solidFill>
                <a:effectLst>
                  <a:outerShdw dist="38100" dir="2700000" algn="tl" rotWithShape="0">
                    <a:schemeClr val="accent2"/>
                  </a:outerShdw>
                </a:effectLst>
              </a:rPr>
              <a:t>100 pontos por não conformidade</a:t>
            </a:r>
          </a:p>
        </p:txBody>
      </p:sp>
    </p:spTree>
    <p:custDataLst>
      <p:tags r:id="rId1"/>
    </p:custDataLst>
    <p:extLst>
      <p:ext uri="{BB962C8B-B14F-4D97-AF65-F5344CB8AC3E}">
        <p14:creationId xmlns:p14="http://schemas.microsoft.com/office/powerpoint/2010/main" val="201917317"/>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9" fill="hold" nodeType="afterEffect">
                                  <p:stCondLst>
                                    <p:cond delay="0"/>
                                  </p:stCondLst>
                                  <p:childTnLst>
                                    <p:set>
                                      <p:cBhvr>
                                        <p:cTn id="6" dur="1" fill="hold">
                                          <p:stCondLst>
                                            <p:cond delay="0"/>
                                          </p:stCondLst>
                                        </p:cTn>
                                        <p:tgtEl>
                                          <p:spTgt spid="527426"/>
                                        </p:tgtEl>
                                        <p:attrNameLst>
                                          <p:attrName>style.visibility</p:attrName>
                                        </p:attrNameLst>
                                      </p:cBhvr>
                                      <p:to>
                                        <p:strVal val="visible"/>
                                      </p:to>
                                    </p:set>
                                    <p:anim calcmode="lin" valueType="num">
                                      <p:cBhvr additive="base">
                                        <p:cTn id="7" dur="500" fill="hold"/>
                                        <p:tgtEl>
                                          <p:spTgt spid="527426"/>
                                        </p:tgtEl>
                                        <p:attrNameLst>
                                          <p:attrName>ppt_x</p:attrName>
                                        </p:attrNameLst>
                                      </p:cBhvr>
                                      <p:tavLst>
                                        <p:tav tm="0">
                                          <p:val>
                                            <p:strVal val="0-#ppt_w/2"/>
                                          </p:val>
                                        </p:tav>
                                        <p:tav tm="100000">
                                          <p:val>
                                            <p:strVal val="#ppt_x"/>
                                          </p:val>
                                        </p:tav>
                                      </p:tavLst>
                                    </p:anim>
                                    <p:anim calcmode="lin" valueType="num">
                                      <p:cBhvr additive="base">
                                        <p:cTn id="8" dur="500" fill="hold"/>
                                        <p:tgtEl>
                                          <p:spTgt spid="52742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pt-BR" sz="3000" dirty="0">
                <a:solidFill>
                  <a:schemeClr val="tx1"/>
                </a:solidFill>
                <a:latin typeface="Myriad Pro" pitchFamily="34" charset="0"/>
                <a:ea typeface="MS PGothic" panose="020B0600070205080204" pitchFamily="34" charset="-128"/>
              </a:rPr>
              <a:t>Plano de projeto de implementação do EGP</a:t>
            </a:r>
          </a:p>
        </p:txBody>
      </p:sp>
      <p:graphicFrame>
        <p:nvGraphicFramePr>
          <p:cNvPr id="6" name="Diagrama 5">
            <a:extLst>
              <a:ext uri="{FF2B5EF4-FFF2-40B4-BE49-F238E27FC236}">
                <a16:creationId xmlns:a16="http://schemas.microsoft.com/office/drawing/2014/main" id="{C6211F64-E124-43D0-BC76-1C6F5E9D5211}"/>
              </a:ext>
            </a:extLst>
          </p:cNvPr>
          <p:cNvGraphicFramePr/>
          <p:nvPr>
            <p:extLst>
              <p:ext uri="{D42A27DB-BD31-4B8C-83A1-F6EECF244321}">
                <p14:modId xmlns:p14="http://schemas.microsoft.com/office/powerpoint/2010/main" val="86605196"/>
              </p:ext>
            </p:extLst>
          </p:nvPr>
        </p:nvGraphicFramePr>
        <p:xfrm>
          <a:off x="236530" y="1988231"/>
          <a:ext cx="13030182" cy="6467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tângulo 3"/>
          <p:cNvSpPr/>
          <p:nvPr/>
        </p:nvSpPr>
        <p:spPr>
          <a:xfrm>
            <a:off x="5129808" y="-3271167"/>
            <a:ext cx="1836204" cy="1890210"/>
          </a:xfrm>
          <a:prstGeom prst="rect">
            <a:avLst/>
          </a:prstGeom>
          <a:solidFill>
            <a:srgbClr val="20D6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350">
              <a:solidFill>
                <a:srgbClr val="FFFFFF"/>
              </a:solidFill>
              <a:latin typeface="Calibri"/>
            </a:endParaRPr>
          </a:p>
        </p:txBody>
      </p:sp>
      <p:sp>
        <p:nvSpPr>
          <p:cNvPr id="5" name="Retângulo 4"/>
          <p:cNvSpPr/>
          <p:nvPr/>
        </p:nvSpPr>
        <p:spPr>
          <a:xfrm>
            <a:off x="1943454" y="-3271167"/>
            <a:ext cx="1836204" cy="1890210"/>
          </a:xfrm>
          <a:prstGeom prst="rect">
            <a:avLst/>
          </a:prstGeom>
          <a:solidFill>
            <a:srgbClr val="FF970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350">
              <a:solidFill>
                <a:srgbClr val="FFFFFF"/>
              </a:solidFill>
              <a:latin typeface="Calibri"/>
            </a:endParaRPr>
          </a:p>
        </p:txBody>
      </p:sp>
    </p:spTree>
    <p:extLst>
      <p:ext uri="{BB962C8B-B14F-4D97-AF65-F5344CB8AC3E}">
        <p14:creationId xmlns:p14="http://schemas.microsoft.com/office/powerpoint/2010/main" val="3512953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8099" name="Rectangle 3"/>
          <p:cNvSpPr>
            <a:spLocks noChangeArrowheads="1"/>
          </p:cNvSpPr>
          <p:nvPr/>
        </p:nvSpPr>
        <p:spPr bwMode="auto">
          <a:xfrm>
            <a:off x="914401" y="557213"/>
            <a:ext cx="10465595" cy="597695"/>
          </a:xfrm>
          <a:prstGeom prst="rect">
            <a:avLst/>
          </a:prstGeom>
          <a:noFill/>
          <a:ln w="9525" algn="ctr">
            <a:noFill/>
            <a:miter lim="800000"/>
            <a:headEnd/>
            <a:tailEnd/>
          </a:ln>
          <a:effectLst/>
        </p:spPr>
        <p:txBody>
          <a:bodyPr anchor="ctr"/>
          <a:lstStyle/>
          <a:p>
            <a:pPr eaLnBrk="1" hangingPunct="1">
              <a:defRPr/>
            </a:pPr>
            <a:br>
              <a:rPr lang="pt-BR" sz="4431">
                <a:solidFill>
                  <a:schemeClr val="tx2"/>
                </a:solidFill>
                <a:effectLst>
                  <a:outerShdw blurRad="38100" dist="38100" dir="2700000" algn="tl">
                    <a:srgbClr val="C0C0C0"/>
                  </a:outerShdw>
                </a:effectLst>
              </a:rPr>
            </a:br>
            <a:endParaRPr lang="en-GB" sz="4431">
              <a:solidFill>
                <a:schemeClr val="tx2"/>
              </a:solidFill>
              <a:effectLst>
                <a:outerShdw blurRad="38100" dist="38100" dir="2700000" algn="tl">
                  <a:srgbClr val="C0C0C0"/>
                </a:outerShdw>
              </a:effectLst>
            </a:endParaRPr>
          </a:p>
        </p:txBody>
      </p:sp>
      <p:sp>
        <p:nvSpPr>
          <p:cNvPr id="2308101" name="Rectangle 5"/>
          <p:cNvSpPr>
            <a:spLocks noGrp="1" noChangeArrowheads="1"/>
          </p:cNvSpPr>
          <p:nvPr>
            <p:ph type="title" idx="4294967295"/>
          </p:nvPr>
        </p:nvSpPr>
        <p:spPr bwMode="auto">
          <a:xfrm>
            <a:off x="76201" y="283370"/>
            <a:ext cx="10170320" cy="809625"/>
          </a:xfrm>
          <a:prstGeom prst="rect">
            <a:avLst/>
          </a:prstGeom>
          <a:ln algn="ctr">
            <a:miter lim="800000"/>
            <a:headEnd/>
            <a:tailEnd/>
          </a:ln>
        </p:spPr>
        <p:txBody>
          <a:bodyPr anchor="ctr"/>
          <a:lstStyle/>
          <a:p>
            <a:pPr algn="l">
              <a:defRPr/>
            </a:pPr>
            <a:r>
              <a:rPr lang="pt-BR" sz="3047" b="1" dirty="0">
                <a:latin typeface="Helvetica" pitchFamily="34" charset="0"/>
                <a:ea typeface="+mn-ea"/>
                <a:cs typeface="+mn-cs"/>
              </a:rPr>
              <a:t>Quantidade de </a:t>
            </a:r>
            <a:r>
              <a:rPr lang="pt-BR" sz="3047" b="1" dirty="0" err="1">
                <a:latin typeface="Helvetica" pitchFamily="34" charset="0"/>
                <a:ea typeface="+mn-ea"/>
                <a:cs typeface="+mn-cs"/>
              </a:rPr>
              <a:t>PMO´s</a:t>
            </a:r>
            <a:r>
              <a:rPr lang="pt-BR" sz="3047" b="1" dirty="0">
                <a:latin typeface="Helvetica" pitchFamily="34" charset="0"/>
                <a:ea typeface="+mn-ea"/>
                <a:cs typeface="+mn-cs"/>
              </a:rPr>
              <a:t> na Organização</a:t>
            </a:r>
            <a:endParaRPr lang="en-US" sz="4431" dirty="0"/>
          </a:p>
        </p:txBody>
      </p:sp>
      <p:grpSp>
        <p:nvGrpSpPr>
          <p:cNvPr id="54276" name="Agrupar 1"/>
          <p:cNvGrpSpPr>
            <a:grpSpLocks/>
          </p:cNvGrpSpPr>
          <p:nvPr/>
        </p:nvGrpSpPr>
        <p:grpSpPr bwMode="auto">
          <a:xfrm>
            <a:off x="914400" y="1678783"/>
            <a:ext cx="12801600" cy="8006210"/>
            <a:chOff x="609600" y="1119188"/>
            <a:chExt cx="8534400" cy="5337473"/>
          </a:xfrm>
        </p:grpSpPr>
        <p:sp>
          <p:nvSpPr>
            <p:cNvPr id="71684" name="CaixaDeTexto 4"/>
            <p:cNvSpPr txBox="1">
              <a:spLocks noChangeArrowheads="1"/>
            </p:cNvSpPr>
            <p:nvPr/>
          </p:nvSpPr>
          <p:spPr bwMode="auto">
            <a:xfrm>
              <a:off x="4691063" y="6224588"/>
              <a:ext cx="4452937" cy="232073"/>
            </a:xfrm>
            <a:prstGeom prst="rect">
              <a:avLst/>
            </a:prstGeom>
            <a:noFill/>
            <a:ln>
              <a:noFill/>
            </a:ln>
          </p:spPr>
          <p:txBody>
            <a:bodyPr>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defRPr/>
              </a:pPr>
              <a:r>
                <a:rPr lang="pt-BR" altLang="pt-BR" sz="1662" dirty="0">
                  <a:solidFill>
                    <a:srgbClr val="0D0D0D"/>
                  </a:solidFill>
                </a:rPr>
                <a:t>Fonte: Estudo de Benchmarking em GP,  2014 - www.pmsurvey.org</a:t>
              </a:r>
            </a:p>
          </p:txBody>
        </p:sp>
        <p:pic>
          <p:nvPicPr>
            <p:cNvPr id="54278" name="Picture 11"/>
            <p:cNvPicPr>
              <a:picLocks noChangeAspect="1" noChangeArrowheads="1"/>
            </p:cNvPicPr>
            <p:nvPr/>
          </p:nvPicPr>
          <p:blipFill>
            <a:blip r:embed="rId4">
              <a:extLst>
                <a:ext uri="{28A0092B-C50C-407E-A947-70E740481C1C}">
                  <a14:useLocalDpi xmlns:a14="http://schemas.microsoft.com/office/drawing/2010/main" val="0"/>
                </a:ext>
              </a:extLst>
            </a:blip>
            <a:srcRect l="27551" t="21281" r="27620" b="24577"/>
            <a:stretch>
              <a:fillRect/>
            </a:stretch>
          </p:blipFill>
          <p:spPr bwMode="auto">
            <a:xfrm>
              <a:off x="609600" y="1119188"/>
              <a:ext cx="7510463"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pic>
        <p:sp>
          <p:nvSpPr>
            <p:cNvPr id="71686" name="CaixaDeTexto 13"/>
            <p:cNvSpPr txBox="1">
              <a:spLocks noChangeArrowheads="1"/>
            </p:cNvSpPr>
            <p:nvPr/>
          </p:nvSpPr>
          <p:spPr bwMode="auto">
            <a:xfrm>
              <a:off x="963613" y="1477963"/>
              <a:ext cx="1080638"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eaLnBrk="1" hangingPunct="1">
                <a:defRPr/>
              </a:pPr>
              <a:r>
                <a:rPr lang="pt-BR" altLang="pt-BR" sz="1662" dirty="0"/>
                <a:t>7% - Mais de 5</a:t>
              </a:r>
            </a:p>
          </p:txBody>
        </p:sp>
        <p:sp>
          <p:nvSpPr>
            <p:cNvPr id="71687" name="CaixaDeTexto 14"/>
            <p:cNvSpPr txBox="1">
              <a:spLocks noChangeArrowheads="1"/>
            </p:cNvSpPr>
            <p:nvPr/>
          </p:nvSpPr>
          <p:spPr bwMode="auto">
            <a:xfrm>
              <a:off x="1153337" y="1741488"/>
              <a:ext cx="992964"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1% - Possui 5</a:t>
              </a:r>
            </a:p>
          </p:txBody>
        </p:sp>
        <p:sp>
          <p:nvSpPr>
            <p:cNvPr id="71688" name="CaixaDeTexto 15"/>
            <p:cNvSpPr txBox="1">
              <a:spLocks noChangeArrowheads="1"/>
            </p:cNvSpPr>
            <p:nvPr/>
          </p:nvSpPr>
          <p:spPr bwMode="auto">
            <a:xfrm>
              <a:off x="1119999" y="2024063"/>
              <a:ext cx="992964"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1% - Possui 4</a:t>
              </a:r>
            </a:p>
          </p:txBody>
        </p:sp>
        <p:sp>
          <p:nvSpPr>
            <p:cNvPr id="71689" name="CaixaDeTexto 16"/>
            <p:cNvSpPr txBox="1">
              <a:spLocks noChangeArrowheads="1"/>
            </p:cNvSpPr>
            <p:nvPr/>
          </p:nvSpPr>
          <p:spPr bwMode="auto">
            <a:xfrm>
              <a:off x="1119999" y="2276475"/>
              <a:ext cx="992964"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4% - Possui 3</a:t>
              </a:r>
            </a:p>
          </p:txBody>
        </p:sp>
        <p:sp>
          <p:nvSpPr>
            <p:cNvPr id="71690" name="CaixaDeTexto 17"/>
            <p:cNvSpPr txBox="1">
              <a:spLocks noChangeArrowheads="1"/>
            </p:cNvSpPr>
            <p:nvPr/>
          </p:nvSpPr>
          <p:spPr bwMode="auto">
            <a:xfrm>
              <a:off x="1153337" y="2517775"/>
              <a:ext cx="992964"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7% - Possui 2</a:t>
              </a:r>
            </a:p>
          </p:txBody>
        </p:sp>
        <p:sp>
          <p:nvSpPr>
            <p:cNvPr id="71691" name="CaixaDeTexto 18"/>
            <p:cNvSpPr txBox="1">
              <a:spLocks noChangeArrowheads="1"/>
            </p:cNvSpPr>
            <p:nvPr/>
          </p:nvSpPr>
          <p:spPr bwMode="auto">
            <a:xfrm>
              <a:off x="1010237" y="5229225"/>
              <a:ext cx="1070977"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25% - Possui 1</a:t>
              </a:r>
            </a:p>
          </p:txBody>
        </p:sp>
        <p:sp>
          <p:nvSpPr>
            <p:cNvPr id="71692" name="CaixaDeTexto 19"/>
            <p:cNvSpPr txBox="1">
              <a:spLocks noChangeArrowheads="1"/>
            </p:cNvSpPr>
            <p:nvPr/>
          </p:nvSpPr>
          <p:spPr bwMode="auto">
            <a:xfrm>
              <a:off x="7002332" y="3536950"/>
              <a:ext cx="1085981" cy="232073"/>
            </a:xfrm>
            <a:prstGeom prst="rect">
              <a:avLst/>
            </a:prstGeom>
            <a:solidFill>
              <a:schemeClr val="bg1"/>
            </a:solid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662" dirty="0"/>
                <a:t>56% - Nenhum</a:t>
              </a:r>
            </a:p>
          </p:txBody>
        </p:sp>
      </p:grpSp>
    </p:spTree>
    <p:custDataLst>
      <p:tags r:id="rId1"/>
    </p:custDataLst>
    <p:extLst>
      <p:ext uri="{BB962C8B-B14F-4D97-AF65-F5344CB8AC3E}">
        <p14:creationId xmlns:p14="http://schemas.microsoft.com/office/powerpoint/2010/main" val="2266261049"/>
      </p:ext>
    </p:extLst>
  </p:cSld>
  <p:clrMapOvr>
    <a:masterClrMapping/>
  </p:clrMapOvr>
  <p:transition>
    <p:strips dir="rd"/>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DA63EB0B-99E2-47CB-9857-543946090FD9}"/>
              </a:ext>
            </a:extLst>
          </p:cNvPr>
          <p:cNvPicPr>
            <a:picLocks noChangeAspect="1"/>
          </p:cNvPicPr>
          <p:nvPr/>
        </p:nvPicPr>
        <p:blipFill>
          <a:blip r:embed="rId2"/>
          <a:stretch>
            <a:fillRect/>
          </a:stretch>
        </p:blipFill>
        <p:spPr>
          <a:xfrm>
            <a:off x="809328" y="2263180"/>
            <a:ext cx="11153249" cy="7191793"/>
          </a:xfrm>
          <a:prstGeom prst="rect">
            <a:avLst/>
          </a:prstGeom>
        </p:spPr>
      </p:pic>
      <p:sp>
        <p:nvSpPr>
          <p:cNvPr id="5" name="Rectangle 2">
            <a:extLst>
              <a:ext uri="{FF2B5EF4-FFF2-40B4-BE49-F238E27FC236}">
                <a16:creationId xmlns:a16="http://schemas.microsoft.com/office/drawing/2014/main" id="{FB0BB90F-C0A3-480E-9DF4-8FE50907A147}"/>
              </a:ext>
            </a:extLst>
          </p:cNvPr>
          <p:cNvSpPr>
            <a:spLocks noGrp="1" noChangeArrowheads="1"/>
          </p:cNvSpPr>
          <p:nvPr>
            <p:ph type="title"/>
          </p:nvPr>
        </p:nvSpPr>
        <p:spPr bwMode="auto">
          <a:xfrm>
            <a:off x="685800" y="28337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latin typeface="+mn-lt"/>
              </a:rPr>
              <a:t>PMO-Definição</a:t>
            </a:r>
          </a:p>
        </p:txBody>
      </p:sp>
    </p:spTree>
    <p:extLst>
      <p:ext uri="{BB962C8B-B14F-4D97-AF65-F5344CB8AC3E}">
        <p14:creationId xmlns:p14="http://schemas.microsoft.com/office/powerpoint/2010/main" val="2396070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bwMode="auto">
          <a:xfrm>
            <a:off x="702470" y="0"/>
            <a:ext cx="9503568" cy="1057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300" dirty="0">
                <a:solidFill>
                  <a:schemeClr val="tx1"/>
                </a:solidFill>
              </a:rPr>
              <a:t>O que é um modelo  de maturidade em Gerenciamento de Projetos?</a:t>
            </a:r>
          </a:p>
        </p:txBody>
      </p:sp>
      <p:sp>
        <p:nvSpPr>
          <p:cNvPr id="56323" name="Rectangle 3"/>
          <p:cNvSpPr>
            <a:spLocks noGrp="1" noChangeArrowheads="1"/>
          </p:cNvSpPr>
          <p:nvPr>
            <p:ph type="body" idx="4294967295"/>
          </p:nvPr>
        </p:nvSpPr>
        <p:spPr>
          <a:xfrm>
            <a:off x="338138" y="2012158"/>
            <a:ext cx="12853988" cy="6965156"/>
          </a:xfrm>
          <a:prstGeom prst="rect">
            <a:avLst/>
          </a:prstGeom>
        </p:spPr>
        <p:txBody>
          <a:bodyPr/>
          <a:lstStyle/>
          <a:p>
            <a:pPr marL="907257" indent="-907257"/>
            <a:r>
              <a:rPr lang="pt-BR" altLang="pt-BR">
                <a:solidFill>
                  <a:srgbClr val="0000FF"/>
                </a:solidFill>
              </a:rPr>
              <a:t>Uma forma de mensurar o estágio de uma organização na habilidade de gerenciar os seus projetos</a:t>
            </a:r>
            <a:r>
              <a:rPr lang="pt-BR" altLang="pt-BR"/>
              <a:t>.</a:t>
            </a:r>
          </a:p>
          <a:p>
            <a:pPr marL="907257" indent="-907257"/>
            <a:r>
              <a:rPr lang="pt-BR" altLang="pt-BR"/>
              <a:t>Sugestão para a elaboração de um </a:t>
            </a:r>
            <a:r>
              <a:rPr lang="pt-BR" altLang="pt-BR" b="1"/>
              <a:t>plano de crescimento </a:t>
            </a:r>
            <a:r>
              <a:rPr lang="pt-BR" altLang="pt-BR"/>
              <a:t>para atingir o maior nível de maturidade, proporcionando:</a:t>
            </a:r>
          </a:p>
          <a:p>
            <a:pPr marL="1955007" lvl="2" indent="-678657"/>
            <a:r>
              <a:rPr lang="pt-BR" altLang="pt-BR">
                <a:solidFill>
                  <a:schemeClr val="tx1"/>
                </a:solidFill>
              </a:rPr>
              <a:t>Alto índice de sucesso;</a:t>
            </a:r>
          </a:p>
          <a:p>
            <a:pPr marL="1955007" lvl="2" indent="-678657"/>
            <a:r>
              <a:rPr lang="pt-BR" altLang="pt-BR">
                <a:solidFill>
                  <a:schemeClr val="tx1"/>
                </a:solidFill>
              </a:rPr>
              <a:t>Alta produtividade;</a:t>
            </a:r>
          </a:p>
          <a:p>
            <a:pPr marL="1955007" lvl="2" indent="-678657"/>
            <a:r>
              <a:rPr lang="pt-BR" altLang="pt-BR">
                <a:solidFill>
                  <a:schemeClr val="tx1"/>
                </a:solidFill>
              </a:rPr>
              <a:t>Alta satisfação profissional e baixo nível de stress.</a:t>
            </a:r>
          </a:p>
        </p:txBody>
      </p:sp>
      <p:pic>
        <p:nvPicPr>
          <p:cNvPr id="56324" name="Picture 4" descr="foto_top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4732" y="7196138"/>
            <a:ext cx="6400800" cy="2469357"/>
          </a:xfrm>
          <a:prstGeom prst="rect">
            <a:avLst/>
          </a:prstGeom>
          <a:noFill/>
          <a:ln>
            <a:noFill/>
          </a:ln>
          <a:effectLst>
            <a:outerShdw dist="107763" dir="81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235259464"/>
      </p:ext>
    </p:extLst>
  </p:cSld>
  <p:clrMapOvr>
    <a:masterClrMapping/>
  </p:clrMapOvr>
  <p:transition spd="slow">
    <p:strips dir="rd"/>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bwMode="auto">
          <a:xfrm>
            <a:off x="-161925" y="16670"/>
            <a:ext cx="11418095"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150" dirty="0">
                <a:solidFill>
                  <a:schemeClr val="tx1"/>
                </a:solidFill>
                <a:latin typeface="Arial" panose="020B0604020202020204" pitchFamily="34" charset="0"/>
              </a:rPr>
              <a:t>Maturidade em Projetos na Estrutura organizacional</a:t>
            </a:r>
          </a:p>
        </p:txBody>
      </p:sp>
      <p:sp>
        <p:nvSpPr>
          <p:cNvPr id="498691" name="Rectangle 3"/>
          <p:cNvSpPr>
            <a:spLocks noChangeArrowheads="1"/>
          </p:cNvSpPr>
          <p:nvPr/>
        </p:nvSpPr>
        <p:spPr bwMode="auto">
          <a:xfrm>
            <a:off x="161925" y="1902620"/>
            <a:ext cx="12672739" cy="3369099"/>
          </a:xfrm>
          <a:prstGeom prst="rect">
            <a:avLst/>
          </a:prstGeom>
          <a:noFill/>
          <a:ln>
            <a:noFill/>
          </a:ln>
          <a:effectLst/>
        </p:spPr>
        <p:txBody>
          <a:bodyPr wrap="square" lIns="136145" tIns="68058" rIns="136145" bIns="68058">
            <a:spAutoFit/>
          </a:bodyPr>
          <a:lstStyle/>
          <a:p>
            <a:pPr>
              <a:defRPr/>
            </a:pPr>
            <a:r>
              <a:rPr lang="pt-BR" sz="3000" dirty="0">
                <a:effectLst>
                  <a:outerShdw blurRad="38100" dist="38100" dir="2700000" algn="tl">
                    <a:srgbClr val="C0C0C0"/>
                  </a:outerShdw>
                </a:effectLst>
              </a:rPr>
              <a:t>Maturidade </a:t>
            </a:r>
            <a:r>
              <a:rPr lang="pt-BR" sz="3000" dirty="0"/>
              <a:t>pode ser definida </a:t>
            </a:r>
            <a:r>
              <a:rPr lang="pt-BR" sz="3000" dirty="0">
                <a:solidFill>
                  <a:srgbClr val="0000FF"/>
                </a:solidFill>
              </a:rPr>
              <a:t>como o grau/estágio em que uma determinada organização pratica o gerenciamento de projetos.</a:t>
            </a:r>
          </a:p>
          <a:p>
            <a:pPr>
              <a:defRPr/>
            </a:pPr>
            <a:endParaRPr lang="pt-BR" sz="3000" dirty="0">
              <a:solidFill>
                <a:srgbClr val="0000FF"/>
              </a:solidFill>
              <a:effectLst>
                <a:outerShdw blurRad="38100" dist="38100" dir="2700000" algn="tl">
                  <a:srgbClr val="C0C0C0"/>
                </a:outerShdw>
              </a:effectLst>
            </a:endParaRPr>
          </a:p>
          <a:p>
            <a:pPr>
              <a:defRPr/>
            </a:pPr>
            <a:r>
              <a:rPr lang="pt-BR" sz="3000" dirty="0"/>
              <a:t>Quanto maior a </a:t>
            </a:r>
            <a:r>
              <a:rPr lang="pt-BR" sz="3000" u="sng" dirty="0"/>
              <a:t>maturidade organizacional em gerenciamento de projetos</a:t>
            </a:r>
            <a:r>
              <a:rPr lang="pt-BR" sz="3000" dirty="0"/>
              <a:t>, </a:t>
            </a:r>
            <a:r>
              <a:rPr lang="pt-BR" sz="3000" u="sng" dirty="0"/>
              <a:t>maiores serão as chances de </a:t>
            </a:r>
            <a:r>
              <a:rPr lang="pt-BR" sz="3000" u="sng" dirty="0">
                <a:effectLst>
                  <a:outerShdw blurRad="38100" dist="38100" dir="2700000" algn="tl">
                    <a:srgbClr val="C0C0C0"/>
                  </a:outerShdw>
                </a:effectLst>
              </a:rPr>
              <a:t>sucesso</a:t>
            </a:r>
            <a:r>
              <a:rPr lang="pt-BR" sz="3000" u="sng" dirty="0"/>
              <a:t> nos projetos </a:t>
            </a:r>
            <a:r>
              <a:rPr lang="pt-BR" sz="3000" dirty="0"/>
              <a:t>e maior será a </a:t>
            </a:r>
            <a:r>
              <a:rPr lang="pt-BR" sz="3000" dirty="0">
                <a:effectLst>
                  <a:outerShdw blurRad="38100" dist="38100" dir="2700000" algn="tl">
                    <a:srgbClr val="C0C0C0"/>
                  </a:outerShdw>
                </a:effectLst>
              </a:rPr>
              <a:t>competência</a:t>
            </a:r>
            <a:r>
              <a:rPr lang="pt-BR" sz="3000" dirty="0"/>
              <a:t> para se conduzir projetos complexos.</a:t>
            </a:r>
          </a:p>
          <a:p>
            <a:pPr>
              <a:defRPr/>
            </a:pPr>
            <a:endParaRPr lang="pt-BR" sz="3000" dirty="0"/>
          </a:p>
        </p:txBody>
      </p:sp>
      <p:grpSp>
        <p:nvGrpSpPr>
          <p:cNvPr id="2" name="Group 26"/>
          <p:cNvGrpSpPr>
            <a:grpSpLocks noChangeAspect="1"/>
          </p:cNvGrpSpPr>
          <p:nvPr/>
        </p:nvGrpSpPr>
        <p:grpSpPr bwMode="auto">
          <a:xfrm>
            <a:off x="9332665" y="5947993"/>
            <a:ext cx="707232" cy="709613"/>
            <a:chOff x="3405" y="1702"/>
            <a:chExt cx="297" cy="298"/>
          </a:xfrm>
        </p:grpSpPr>
        <p:sp>
          <p:nvSpPr>
            <p:cNvPr id="57356" name="Freeform 27"/>
            <p:cNvSpPr>
              <a:spLocks/>
            </p:cNvSpPr>
            <p:nvPr/>
          </p:nvSpPr>
          <p:spPr bwMode="auto">
            <a:xfrm>
              <a:off x="3613" y="1740"/>
              <a:ext cx="51" cy="51"/>
            </a:xfrm>
            <a:custGeom>
              <a:avLst/>
              <a:gdLst>
                <a:gd name="T0" fmla="*/ 0 w 370"/>
                <a:gd name="T1" fmla="*/ 0 h 370"/>
                <a:gd name="T2" fmla="*/ 0 w 370"/>
                <a:gd name="T3" fmla="*/ 0 h 370"/>
                <a:gd name="T4" fmla="*/ 0 w 370"/>
                <a:gd name="T5" fmla="*/ 0 h 370"/>
                <a:gd name="T6" fmla="*/ 0 w 370"/>
                <a:gd name="T7" fmla="*/ 0 h 370"/>
                <a:gd name="T8" fmla="*/ 0 w 370"/>
                <a:gd name="T9" fmla="*/ 0 h 370"/>
                <a:gd name="T10" fmla="*/ 0 w 370"/>
                <a:gd name="T11" fmla="*/ 0 h 370"/>
                <a:gd name="T12" fmla="*/ 0 w 370"/>
                <a:gd name="T13" fmla="*/ 0 h 370"/>
                <a:gd name="T14" fmla="*/ 0 60000 65536"/>
                <a:gd name="T15" fmla="*/ 0 60000 65536"/>
                <a:gd name="T16" fmla="*/ 0 60000 65536"/>
                <a:gd name="T17" fmla="*/ 0 60000 65536"/>
                <a:gd name="T18" fmla="*/ 0 60000 65536"/>
                <a:gd name="T19" fmla="*/ 0 60000 65536"/>
                <a:gd name="T20" fmla="*/ 0 60000 65536"/>
                <a:gd name="T21" fmla="*/ 0 w 370"/>
                <a:gd name="T22" fmla="*/ 0 h 370"/>
                <a:gd name="T23" fmla="*/ 370 w 370"/>
                <a:gd name="T24" fmla="*/ 370 h 3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0" h="370">
                  <a:moveTo>
                    <a:pt x="185" y="370"/>
                  </a:moveTo>
                  <a:lnTo>
                    <a:pt x="185" y="370"/>
                  </a:lnTo>
                  <a:cubicBezTo>
                    <a:pt x="287" y="370"/>
                    <a:pt x="370" y="287"/>
                    <a:pt x="370" y="185"/>
                  </a:cubicBezTo>
                  <a:cubicBezTo>
                    <a:pt x="370" y="83"/>
                    <a:pt x="287" y="0"/>
                    <a:pt x="185" y="0"/>
                  </a:cubicBezTo>
                  <a:cubicBezTo>
                    <a:pt x="83" y="0"/>
                    <a:pt x="0" y="83"/>
                    <a:pt x="0" y="185"/>
                  </a:cubicBezTo>
                  <a:cubicBezTo>
                    <a:pt x="0" y="287"/>
                    <a:pt x="83" y="370"/>
                    <a:pt x="185" y="370"/>
                  </a:cubicBezTo>
                  <a:close/>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57" name="Freeform 28"/>
            <p:cNvSpPr>
              <a:spLocks/>
            </p:cNvSpPr>
            <p:nvPr/>
          </p:nvSpPr>
          <p:spPr bwMode="auto">
            <a:xfrm>
              <a:off x="3405" y="1702"/>
              <a:ext cx="297" cy="298"/>
            </a:xfrm>
            <a:custGeom>
              <a:avLst/>
              <a:gdLst>
                <a:gd name="T0" fmla="*/ 0 w 2148"/>
                <a:gd name="T1" fmla="*/ 0 h 2148"/>
                <a:gd name="T2" fmla="*/ 0 w 2148"/>
                <a:gd name="T3" fmla="*/ 0 h 2148"/>
                <a:gd name="T4" fmla="*/ 0 w 2148"/>
                <a:gd name="T5" fmla="*/ 0 h 2148"/>
                <a:gd name="T6" fmla="*/ 0 w 2148"/>
                <a:gd name="T7" fmla="*/ 0 h 2148"/>
                <a:gd name="T8" fmla="*/ 0 w 2148"/>
                <a:gd name="T9" fmla="*/ 0 h 2148"/>
                <a:gd name="T10" fmla="*/ 0 w 2148"/>
                <a:gd name="T11" fmla="*/ 0 h 2148"/>
                <a:gd name="T12" fmla="*/ 0 w 2148"/>
                <a:gd name="T13" fmla="*/ 0 h 2148"/>
                <a:gd name="T14" fmla="*/ 0 w 2148"/>
                <a:gd name="T15" fmla="*/ 0 h 2148"/>
                <a:gd name="T16" fmla="*/ 0 60000 65536"/>
                <a:gd name="T17" fmla="*/ 0 60000 65536"/>
                <a:gd name="T18" fmla="*/ 0 60000 65536"/>
                <a:gd name="T19" fmla="*/ 0 60000 65536"/>
                <a:gd name="T20" fmla="*/ 0 60000 65536"/>
                <a:gd name="T21" fmla="*/ 0 60000 65536"/>
                <a:gd name="T22" fmla="*/ 0 60000 65536"/>
                <a:gd name="T23" fmla="*/ 0 60000 65536"/>
                <a:gd name="T24" fmla="*/ 0 w 2148"/>
                <a:gd name="T25" fmla="*/ 0 h 2148"/>
                <a:gd name="T26" fmla="*/ 2148 w 2148"/>
                <a:gd name="T27" fmla="*/ 2148 h 21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48" h="2148">
                  <a:moveTo>
                    <a:pt x="2148" y="952"/>
                  </a:moveTo>
                  <a:lnTo>
                    <a:pt x="2148" y="952"/>
                  </a:lnTo>
                  <a:lnTo>
                    <a:pt x="2148" y="0"/>
                  </a:lnTo>
                  <a:lnTo>
                    <a:pt x="1196" y="0"/>
                  </a:lnTo>
                  <a:lnTo>
                    <a:pt x="0" y="1196"/>
                  </a:lnTo>
                  <a:lnTo>
                    <a:pt x="952" y="2148"/>
                  </a:lnTo>
                  <a:lnTo>
                    <a:pt x="2148" y="952"/>
                  </a:lnTo>
                  <a:close/>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58" name="Freeform 29"/>
            <p:cNvSpPr>
              <a:spLocks/>
            </p:cNvSpPr>
            <p:nvPr/>
          </p:nvSpPr>
          <p:spPr bwMode="auto">
            <a:xfrm>
              <a:off x="3613" y="1740"/>
              <a:ext cx="51" cy="51"/>
            </a:xfrm>
            <a:custGeom>
              <a:avLst/>
              <a:gdLst>
                <a:gd name="T0" fmla="*/ 0 w 370"/>
                <a:gd name="T1" fmla="*/ 0 h 370"/>
                <a:gd name="T2" fmla="*/ 0 w 370"/>
                <a:gd name="T3" fmla="*/ 0 h 370"/>
                <a:gd name="T4" fmla="*/ 0 w 370"/>
                <a:gd name="T5" fmla="*/ 0 h 370"/>
                <a:gd name="T6" fmla="*/ 0 w 370"/>
                <a:gd name="T7" fmla="*/ 0 h 370"/>
                <a:gd name="T8" fmla="*/ 0 w 370"/>
                <a:gd name="T9" fmla="*/ 0 h 370"/>
                <a:gd name="T10" fmla="*/ 0 w 370"/>
                <a:gd name="T11" fmla="*/ 0 h 370"/>
                <a:gd name="T12" fmla="*/ 0 w 370"/>
                <a:gd name="T13" fmla="*/ 0 h 370"/>
                <a:gd name="T14" fmla="*/ 0 60000 65536"/>
                <a:gd name="T15" fmla="*/ 0 60000 65536"/>
                <a:gd name="T16" fmla="*/ 0 60000 65536"/>
                <a:gd name="T17" fmla="*/ 0 60000 65536"/>
                <a:gd name="T18" fmla="*/ 0 60000 65536"/>
                <a:gd name="T19" fmla="*/ 0 60000 65536"/>
                <a:gd name="T20" fmla="*/ 0 60000 65536"/>
                <a:gd name="T21" fmla="*/ 0 w 370"/>
                <a:gd name="T22" fmla="*/ 0 h 370"/>
                <a:gd name="T23" fmla="*/ 370 w 370"/>
                <a:gd name="T24" fmla="*/ 370 h 3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0" h="370">
                  <a:moveTo>
                    <a:pt x="185" y="0"/>
                  </a:moveTo>
                  <a:lnTo>
                    <a:pt x="185" y="0"/>
                  </a:lnTo>
                  <a:cubicBezTo>
                    <a:pt x="287" y="0"/>
                    <a:pt x="370" y="83"/>
                    <a:pt x="370" y="185"/>
                  </a:cubicBezTo>
                  <a:cubicBezTo>
                    <a:pt x="370" y="287"/>
                    <a:pt x="287" y="370"/>
                    <a:pt x="185" y="370"/>
                  </a:cubicBezTo>
                  <a:cubicBezTo>
                    <a:pt x="83" y="370"/>
                    <a:pt x="0" y="287"/>
                    <a:pt x="0" y="185"/>
                  </a:cubicBezTo>
                  <a:cubicBezTo>
                    <a:pt x="0" y="83"/>
                    <a:pt x="83" y="0"/>
                    <a:pt x="185" y="0"/>
                  </a:cubicBezTo>
                  <a:close/>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59" name="Freeform 30"/>
            <p:cNvSpPr>
              <a:spLocks/>
            </p:cNvSpPr>
            <p:nvPr/>
          </p:nvSpPr>
          <p:spPr bwMode="auto">
            <a:xfrm>
              <a:off x="3511" y="1857"/>
              <a:ext cx="37" cy="37"/>
            </a:xfrm>
            <a:custGeom>
              <a:avLst/>
              <a:gdLst>
                <a:gd name="T0" fmla="*/ 0 w 266"/>
                <a:gd name="T1" fmla="*/ 0 h 266"/>
                <a:gd name="T2" fmla="*/ 0 w 266"/>
                <a:gd name="T3" fmla="*/ 0 h 266"/>
                <a:gd name="T4" fmla="*/ 0 w 266"/>
                <a:gd name="T5" fmla="*/ 0 h 266"/>
                <a:gd name="T6" fmla="*/ 0 60000 65536"/>
                <a:gd name="T7" fmla="*/ 0 60000 65536"/>
                <a:gd name="T8" fmla="*/ 0 60000 65536"/>
                <a:gd name="T9" fmla="*/ 0 w 266"/>
                <a:gd name="T10" fmla="*/ 0 h 266"/>
                <a:gd name="T11" fmla="*/ 266 w 266"/>
                <a:gd name="T12" fmla="*/ 266 h 266"/>
              </a:gdLst>
              <a:ahLst/>
              <a:cxnLst>
                <a:cxn ang="T6">
                  <a:pos x="T0" y="T1"/>
                </a:cxn>
                <a:cxn ang="T7">
                  <a:pos x="T2" y="T3"/>
                </a:cxn>
                <a:cxn ang="T8">
                  <a:pos x="T4" y="T5"/>
                </a:cxn>
              </a:cxnLst>
              <a:rect l="T9" t="T10" r="T11" b="T12"/>
              <a:pathLst>
                <a:path w="266" h="266">
                  <a:moveTo>
                    <a:pt x="266" y="0"/>
                  </a:moveTo>
                  <a:lnTo>
                    <a:pt x="266" y="0"/>
                  </a:lnTo>
                  <a:lnTo>
                    <a:pt x="0" y="266"/>
                  </a:lnTo>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60" name="Freeform 31"/>
            <p:cNvSpPr>
              <a:spLocks/>
            </p:cNvSpPr>
            <p:nvPr/>
          </p:nvSpPr>
          <p:spPr bwMode="auto">
            <a:xfrm>
              <a:off x="3548" y="1794"/>
              <a:ext cx="13" cy="63"/>
            </a:xfrm>
            <a:custGeom>
              <a:avLst/>
              <a:gdLst>
                <a:gd name="T0" fmla="*/ 0 w 100"/>
                <a:gd name="T1" fmla="*/ 0 h 452"/>
                <a:gd name="T2" fmla="*/ 0 w 100"/>
                <a:gd name="T3" fmla="*/ 0 h 452"/>
                <a:gd name="T4" fmla="*/ 0 w 100"/>
                <a:gd name="T5" fmla="*/ 0 h 452"/>
                <a:gd name="T6" fmla="*/ 0 60000 65536"/>
                <a:gd name="T7" fmla="*/ 0 60000 65536"/>
                <a:gd name="T8" fmla="*/ 0 60000 65536"/>
                <a:gd name="T9" fmla="*/ 0 w 100"/>
                <a:gd name="T10" fmla="*/ 0 h 452"/>
                <a:gd name="T11" fmla="*/ 100 w 100"/>
                <a:gd name="T12" fmla="*/ 452 h 452"/>
              </a:gdLst>
              <a:ahLst/>
              <a:cxnLst>
                <a:cxn ang="T6">
                  <a:pos x="T0" y="T1"/>
                </a:cxn>
                <a:cxn ang="T7">
                  <a:pos x="T2" y="T3"/>
                </a:cxn>
                <a:cxn ang="T8">
                  <a:pos x="T4" y="T5"/>
                </a:cxn>
              </a:cxnLst>
              <a:rect l="T9" t="T10" r="T11" b="T12"/>
              <a:pathLst>
                <a:path w="100" h="452">
                  <a:moveTo>
                    <a:pt x="100" y="0"/>
                  </a:moveTo>
                  <a:lnTo>
                    <a:pt x="100" y="0"/>
                  </a:lnTo>
                  <a:lnTo>
                    <a:pt x="0" y="452"/>
                  </a:lnTo>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61" name="Freeform 32"/>
            <p:cNvSpPr>
              <a:spLocks/>
            </p:cNvSpPr>
            <p:nvPr/>
          </p:nvSpPr>
          <p:spPr bwMode="auto">
            <a:xfrm>
              <a:off x="3548" y="1843"/>
              <a:ext cx="62" cy="14"/>
            </a:xfrm>
            <a:custGeom>
              <a:avLst/>
              <a:gdLst>
                <a:gd name="T0" fmla="*/ 0 w 453"/>
                <a:gd name="T1" fmla="*/ 0 h 100"/>
                <a:gd name="T2" fmla="*/ 0 w 453"/>
                <a:gd name="T3" fmla="*/ 0 h 100"/>
                <a:gd name="T4" fmla="*/ 0 w 453"/>
                <a:gd name="T5" fmla="*/ 0 h 100"/>
                <a:gd name="T6" fmla="*/ 0 60000 65536"/>
                <a:gd name="T7" fmla="*/ 0 60000 65536"/>
                <a:gd name="T8" fmla="*/ 0 60000 65536"/>
                <a:gd name="T9" fmla="*/ 0 w 453"/>
                <a:gd name="T10" fmla="*/ 0 h 100"/>
                <a:gd name="T11" fmla="*/ 453 w 453"/>
                <a:gd name="T12" fmla="*/ 100 h 100"/>
              </a:gdLst>
              <a:ahLst/>
              <a:cxnLst>
                <a:cxn ang="T6">
                  <a:pos x="T0" y="T1"/>
                </a:cxn>
                <a:cxn ang="T7">
                  <a:pos x="T2" y="T3"/>
                </a:cxn>
                <a:cxn ang="T8">
                  <a:pos x="T4" y="T5"/>
                </a:cxn>
              </a:cxnLst>
              <a:rect l="T9" t="T10" r="T11" b="T12"/>
              <a:pathLst>
                <a:path w="453" h="100">
                  <a:moveTo>
                    <a:pt x="453" y="0"/>
                  </a:moveTo>
                  <a:lnTo>
                    <a:pt x="453" y="0"/>
                  </a:lnTo>
                  <a:lnTo>
                    <a:pt x="0" y="100"/>
                  </a:lnTo>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62" name="Freeform 33"/>
            <p:cNvSpPr>
              <a:spLocks/>
            </p:cNvSpPr>
            <p:nvPr/>
          </p:nvSpPr>
          <p:spPr bwMode="auto">
            <a:xfrm>
              <a:off x="3526" y="1838"/>
              <a:ext cx="40" cy="41"/>
            </a:xfrm>
            <a:custGeom>
              <a:avLst/>
              <a:gdLst>
                <a:gd name="T0" fmla="*/ 0 w 293"/>
                <a:gd name="T1" fmla="*/ 0 h 294"/>
                <a:gd name="T2" fmla="*/ 0 w 293"/>
                <a:gd name="T3" fmla="*/ 0 h 294"/>
                <a:gd name="T4" fmla="*/ 0 w 293"/>
                <a:gd name="T5" fmla="*/ 0 h 294"/>
                <a:gd name="T6" fmla="*/ 0 60000 65536"/>
                <a:gd name="T7" fmla="*/ 0 60000 65536"/>
                <a:gd name="T8" fmla="*/ 0 60000 65536"/>
                <a:gd name="T9" fmla="*/ 0 w 293"/>
                <a:gd name="T10" fmla="*/ 0 h 294"/>
                <a:gd name="T11" fmla="*/ 293 w 293"/>
                <a:gd name="T12" fmla="*/ 294 h 294"/>
              </a:gdLst>
              <a:ahLst/>
              <a:cxnLst>
                <a:cxn ang="T6">
                  <a:pos x="T0" y="T1"/>
                </a:cxn>
                <a:cxn ang="T7">
                  <a:pos x="T2" y="T3"/>
                </a:cxn>
                <a:cxn ang="T8">
                  <a:pos x="T4" y="T5"/>
                </a:cxn>
              </a:cxnLst>
              <a:rect l="T9" t="T10" r="T11" b="T12"/>
              <a:pathLst>
                <a:path w="293" h="294">
                  <a:moveTo>
                    <a:pt x="0" y="0"/>
                  </a:moveTo>
                  <a:lnTo>
                    <a:pt x="0" y="0"/>
                  </a:lnTo>
                  <a:lnTo>
                    <a:pt x="293" y="294"/>
                  </a:lnTo>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sp>
          <p:nvSpPr>
            <p:cNvPr id="57363" name="Freeform 34"/>
            <p:cNvSpPr>
              <a:spLocks/>
            </p:cNvSpPr>
            <p:nvPr/>
          </p:nvSpPr>
          <p:spPr bwMode="auto">
            <a:xfrm>
              <a:off x="3512" y="1852"/>
              <a:ext cx="41" cy="40"/>
            </a:xfrm>
            <a:custGeom>
              <a:avLst/>
              <a:gdLst>
                <a:gd name="T0" fmla="*/ 0 w 294"/>
                <a:gd name="T1" fmla="*/ 0 h 294"/>
                <a:gd name="T2" fmla="*/ 0 w 294"/>
                <a:gd name="T3" fmla="*/ 0 h 294"/>
                <a:gd name="T4" fmla="*/ 0 w 294"/>
                <a:gd name="T5" fmla="*/ 0 h 294"/>
                <a:gd name="T6" fmla="*/ 0 60000 65536"/>
                <a:gd name="T7" fmla="*/ 0 60000 65536"/>
                <a:gd name="T8" fmla="*/ 0 60000 65536"/>
                <a:gd name="T9" fmla="*/ 0 w 294"/>
                <a:gd name="T10" fmla="*/ 0 h 294"/>
                <a:gd name="T11" fmla="*/ 294 w 294"/>
                <a:gd name="T12" fmla="*/ 294 h 294"/>
              </a:gdLst>
              <a:ahLst/>
              <a:cxnLst>
                <a:cxn ang="T6">
                  <a:pos x="T0" y="T1"/>
                </a:cxn>
                <a:cxn ang="T7">
                  <a:pos x="T2" y="T3"/>
                </a:cxn>
                <a:cxn ang="T8">
                  <a:pos x="T4" y="T5"/>
                </a:cxn>
              </a:cxnLst>
              <a:rect l="T9" t="T10" r="T11" b="T12"/>
              <a:pathLst>
                <a:path w="294" h="294">
                  <a:moveTo>
                    <a:pt x="0" y="0"/>
                  </a:moveTo>
                  <a:lnTo>
                    <a:pt x="0" y="0"/>
                  </a:lnTo>
                  <a:lnTo>
                    <a:pt x="294" y="294"/>
                  </a:lnTo>
                </a:path>
              </a:pathLst>
            </a:custGeom>
            <a:noFill/>
            <a:ln w="12700" cap="rnd">
              <a:solidFill>
                <a:srgbClr val="FEFEF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pt-BR"/>
            </a:p>
          </p:txBody>
        </p:sp>
      </p:grpSp>
      <p:grpSp>
        <p:nvGrpSpPr>
          <p:cNvPr id="57350" name="Agrupar 15"/>
          <p:cNvGrpSpPr>
            <a:grpSpLocks/>
          </p:cNvGrpSpPr>
          <p:nvPr/>
        </p:nvGrpSpPr>
        <p:grpSpPr bwMode="auto">
          <a:xfrm>
            <a:off x="1817440" y="5805118"/>
            <a:ext cx="8127207" cy="1209675"/>
            <a:chOff x="396487" y="3464992"/>
            <a:chExt cx="5417809" cy="805852"/>
          </a:xfrm>
        </p:grpSpPr>
        <p:grpSp>
          <p:nvGrpSpPr>
            <p:cNvPr id="4" name="Group 40"/>
            <p:cNvGrpSpPr/>
            <p:nvPr/>
          </p:nvGrpSpPr>
          <p:grpSpPr>
            <a:xfrm rot="5400000">
              <a:off x="2860968" y="1317517"/>
              <a:ext cx="775855" cy="5130800"/>
              <a:chOff x="6406152" y="1314448"/>
              <a:chExt cx="822960" cy="5442303"/>
            </a:xfrm>
            <a:solidFill>
              <a:schemeClr val="accent5"/>
            </a:solidFill>
          </p:grpSpPr>
          <p:sp>
            <p:nvSpPr>
              <p:cNvPr id="19" name="Rounded Rectangle 41"/>
              <p:cNvSpPr/>
              <p:nvPr/>
            </p:nvSpPr>
            <p:spPr>
              <a:xfrm>
                <a:off x="6609085" y="1314448"/>
                <a:ext cx="401001" cy="5442303"/>
              </a:xfrm>
              <a:prstGeom prst="roundRect">
                <a:avLst>
                  <a:gd name="adj" fmla="val 50000"/>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 name="Oval 42"/>
              <p:cNvSpPr/>
              <p:nvPr/>
            </p:nvSpPr>
            <p:spPr>
              <a:xfrm>
                <a:off x="6406152" y="1314450"/>
                <a:ext cx="822960" cy="822960"/>
              </a:xfrm>
              <a:prstGeom prst="ellipse">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18" name="Oval 48"/>
            <p:cNvSpPr/>
            <p:nvPr/>
          </p:nvSpPr>
          <p:spPr>
            <a:xfrm>
              <a:off x="396487" y="3464992"/>
              <a:ext cx="776241" cy="797921"/>
            </a:xfrm>
            <a:prstGeom prst="ellipse">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300" dirty="0"/>
            </a:p>
          </p:txBody>
        </p:sp>
      </p:grpSp>
      <p:sp>
        <p:nvSpPr>
          <p:cNvPr id="57351" name="CaixaDeTexto 20"/>
          <p:cNvSpPr txBox="1">
            <a:spLocks noChangeArrowheads="1"/>
          </p:cNvSpPr>
          <p:nvPr/>
        </p:nvSpPr>
        <p:spPr bwMode="auto">
          <a:xfrm>
            <a:off x="3000922" y="6162306"/>
            <a:ext cx="556338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400">
                <a:solidFill>
                  <a:schemeClr val="bg1"/>
                </a:solidFill>
                <a:latin typeface="Calibri" panose="020F0502020204030204" pitchFamily="34" charset="0"/>
              </a:rPr>
              <a:t>Maturidade em gerenciamento de Projetos</a:t>
            </a:r>
          </a:p>
        </p:txBody>
      </p:sp>
      <p:sp>
        <p:nvSpPr>
          <p:cNvPr id="57352" name="Retângulo 21"/>
          <p:cNvSpPr>
            <a:spLocks noChangeArrowheads="1"/>
          </p:cNvSpPr>
          <p:nvPr/>
        </p:nvSpPr>
        <p:spPr bwMode="auto">
          <a:xfrm>
            <a:off x="8915672" y="5640813"/>
            <a:ext cx="926857"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9900">
                <a:solidFill>
                  <a:schemeClr val="bg1"/>
                </a:solidFill>
                <a:latin typeface="Arial" panose="020B0604020202020204" pitchFamily="34" charset="0"/>
              </a:rPr>
              <a:t>+</a:t>
            </a:r>
          </a:p>
        </p:txBody>
      </p:sp>
      <p:sp>
        <p:nvSpPr>
          <p:cNvPr id="57353" name="CaixaDeTexto 22"/>
          <p:cNvSpPr txBox="1">
            <a:spLocks noChangeArrowheads="1"/>
          </p:cNvSpPr>
          <p:nvPr/>
        </p:nvSpPr>
        <p:spPr bwMode="auto">
          <a:xfrm>
            <a:off x="2050803" y="5440788"/>
            <a:ext cx="607859"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9900">
                <a:solidFill>
                  <a:schemeClr val="bg1"/>
                </a:solidFill>
                <a:latin typeface="Arial" panose="020B0604020202020204" pitchFamily="34" charset="0"/>
              </a:rPr>
              <a:t>-</a:t>
            </a:r>
          </a:p>
        </p:txBody>
      </p:sp>
    </p:spTree>
    <p:custDataLst>
      <p:tags r:id="rId1"/>
    </p:custDataLst>
    <p:extLst>
      <p:ext uri="{BB962C8B-B14F-4D97-AF65-F5344CB8AC3E}">
        <p14:creationId xmlns:p14="http://schemas.microsoft.com/office/powerpoint/2010/main" val="2951503847"/>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bwMode="auto">
          <a:xfrm>
            <a:off x="485776" y="411958"/>
            <a:ext cx="8676480" cy="10596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900" dirty="0">
                <a:solidFill>
                  <a:schemeClr val="tx1"/>
                </a:solidFill>
                <a:latin typeface="Arial" panose="020B0604020202020204" pitchFamily="34" charset="0"/>
              </a:rPr>
              <a:t>           Modelos de Maturidade</a:t>
            </a:r>
          </a:p>
        </p:txBody>
      </p:sp>
      <p:sp>
        <p:nvSpPr>
          <p:cNvPr id="500739" name="Rectangle 3"/>
          <p:cNvSpPr>
            <a:spLocks noChangeArrowheads="1"/>
          </p:cNvSpPr>
          <p:nvPr/>
        </p:nvSpPr>
        <p:spPr bwMode="auto">
          <a:xfrm>
            <a:off x="485776" y="1309688"/>
            <a:ext cx="10853738" cy="8447412"/>
          </a:xfrm>
          <a:prstGeom prst="rect">
            <a:avLst/>
          </a:prstGeom>
          <a:noFill/>
          <a:ln>
            <a:noFill/>
          </a:ln>
          <a:effectLst/>
        </p:spPr>
        <p:txBody>
          <a:bodyPr lIns="136145" tIns="68058" rIns="136145" bIns="68058">
            <a:spAutoFit/>
          </a:bodyPr>
          <a:lstStyle/>
          <a:p>
            <a:pPr>
              <a:defRPr/>
            </a:pPr>
            <a:endParaRPr lang="pt-BR" sz="3000" dirty="0"/>
          </a:p>
          <a:p>
            <a:pPr>
              <a:defRPr/>
            </a:pPr>
            <a:r>
              <a:rPr lang="pt-BR" sz="3000" dirty="0">
                <a:solidFill>
                  <a:srgbClr val="800000"/>
                </a:solidFill>
                <a:effectLst>
                  <a:outerShdw blurRad="38100" dist="38100" dir="2700000" algn="tl">
                    <a:srgbClr val="C0C0C0"/>
                  </a:outerShdw>
                </a:effectLst>
              </a:rPr>
              <a:t>Um modelo de maturidade </a:t>
            </a:r>
            <a:r>
              <a:rPr lang="pt-BR" sz="3000" dirty="0"/>
              <a:t>é uma forma de mensurar o estágio de uma organização nas práticas e habilidade de gerenciar seus projetos. Então são mecanismos capazes de qualificar a maturidade. Estes modelos auxiliam a elaboração de processos, indicam melhores práticas buscando com que as organizações se desenvolvam  de forma constante.</a:t>
            </a:r>
          </a:p>
          <a:p>
            <a:pPr>
              <a:defRPr/>
            </a:pPr>
            <a:endParaRPr lang="pt-BR" sz="3000" u="sng" dirty="0"/>
          </a:p>
          <a:p>
            <a:pPr>
              <a:defRPr/>
            </a:pPr>
            <a:r>
              <a:rPr lang="pt-BR" sz="3000" dirty="0"/>
              <a:t>A partir da </a:t>
            </a:r>
            <a:r>
              <a:rPr lang="pt-BR" sz="3000" dirty="0">
                <a:solidFill>
                  <a:srgbClr val="FF0000"/>
                </a:solidFill>
              </a:rPr>
              <a:t>comparação das práticas da organização com as preconizadas pelo modelo</a:t>
            </a:r>
            <a:r>
              <a:rPr lang="pt-BR" sz="3000" dirty="0"/>
              <a:t>, é possível determinar qual evolução necessária para se atingir o próximo nível de maturidade.</a:t>
            </a:r>
          </a:p>
          <a:p>
            <a:pPr>
              <a:spcBef>
                <a:spcPct val="50000"/>
              </a:spcBef>
              <a:buFontTx/>
              <a:buChar char="•"/>
              <a:defRPr/>
            </a:pPr>
            <a:r>
              <a:rPr lang="pt-BR" sz="3000" dirty="0"/>
              <a:t> Existem aproximadamente 30 modelos de avaliação de maturidade.</a:t>
            </a:r>
          </a:p>
          <a:p>
            <a:pPr>
              <a:spcBef>
                <a:spcPct val="50000"/>
              </a:spcBef>
              <a:buFontTx/>
              <a:buChar char="•"/>
              <a:defRPr/>
            </a:pPr>
            <a:r>
              <a:rPr lang="pt-BR" sz="3000" dirty="0"/>
              <a:t> SEI (Software </a:t>
            </a:r>
            <a:r>
              <a:rPr lang="pt-BR" sz="3000" dirty="0" err="1"/>
              <a:t>Engenieering</a:t>
            </a:r>
            <a:r>
              <a:rPr lang="pt-BR" sz="3000" dirty="0"/>
              <a:t> </a:t>
            </a:r>
            <a:r>
              <a:rPr lang="pt-BR" sz="3000" dirty="0" err="1"/>
              <a:t>Institute</a:t>
            </a:r>
            <a:r>
              <a:rPr lang="pt-BR" sz="3000" dirty="0"/>
              <a:t>) com o lançamento do CMMI nos anos 90, foi o precursor.</a:t>
            </a:r>
          </a:p>
          <a:p>
            <a:pPr>
              <a:defRPr/>
            </a:pPr>
            <a:r>
              <a:rPr lang="pt-BR" sz="3000" dirty="0">
                <a:effectLst>
                  <a:outerShdw blurRad="38100" dist="38100" dir="2700000" algn="tl">
                    <a:srgbClr val="C0C0C0"/>
                  </a:outerShdw>
                </a:effectLst>
              </a:rPr>
              <a:t> </a:t>
            </a:r>
          </a:p>
        </p:txBody>
      </p:sp>
      <p:pic>
        <p:nvPicPr>
          <p:cNvPr id="58372" name="Picture 5" descr="http://fabianabigao.com.br/wp-content/uploads/2011/02/GerenciamentoProjeto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74424" y="5935588"/>
            <a:ext cx="2386013"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466640225"/>
      </p:ext>
    </p:extLst>
  </p:cSld>
  <p:clrMapOvr>
    <a:masterClrMapping/>
  </p:clrMapOvr>
  <p:transition>
    <p:strips dir="rd"/>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bwMode="auto">
          <a:xfrm>
            <a:off x="685800" y="283370"/>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dirty="0">
                <a:solidFill>
                  <a:schemeClr val="tx1"/>
                </a:solidFill>
              </a:rPr>
              <a:t>Maturidade - Modelos</a:t>
            </a:r>
          </a:p>
        </p:txBody>
      </p:sp>
      <p:sp>
        <p:nvSpPr>
          <p:cNvPr id="455683" name="Rectangle 3"/>
          <p:cNvSpPr>
            <a:spLocks noChangeArrowheads="1"/>
          </p:cNvSpPr>
          <p:nvPr/>
        </p:nvSpPr>
        <p:spPr bwMode="auto">
          <a:xfrm>
            <a:off x="161925" y="1254920"/>
            <a:ext cx="12672739" cy="6693086"/>
          </a:xfrm>
          <a:prstGeom prst="rect">
            <a:avLst/>
          </a:prstGeom>
          <a:noFill/>
          <a:ln>
            <a:noFill/>
          </a:ln>
          <a:effectLst/>
        </p:spPr>
        <p:txBody>
          <a:bodyPr wrap="square" lIns="136145" tIns="68058" rIns="136145" bIns="68058">
            <a:spAutoFit/>
          </a:bodyPr>
          <a:lstStyle/>
          <a:p>
            <a:pPr>
              <a:defRPr/>
            </a:pPr>
            <a:r>
              <a:rPr lang="pt-BR" sz="3600" dirty="0">
                <a:effectLst>
                  <a:outerShdw blurRad="38100" dist="38100" dir="2700000" algn="tl">
                    <a:srgbClr val="C0C0C0"/>
                  </a:outerShdw>
                </a:effectLst>
                <a:latin typeface="Calibri" panose="020F0502020204030204" pitchFamily="34" charset="0"/>
              </a:rPr>
              <a:t>Características comuns dos modelos de maturidade:</a:t>
            </a:r>
          </a:p>
          <a:p>
            <a:pPr>
              <a:defRPr/>
            </a:pPr>
            <a:endParaRPr lang="pt-BR" sz="3000" dirty="0">
              <a:effectLst>
                <a:outerShdw blurRad="38100" dist="38100" dir="2700000" algn="tl">
                  <a:srgbClr val="C0C0C0"/>
                </a:outerShdw>
              </a:effectLst>
              <a:latin typeface="Calibri" panose="020F0502020204030204" pitchFamily="34" charset="0"/>
            </a:endParaRPr>
          </a:p>
          <a:p>
            <a:pPr marL="514350" indent="-514350">
              <a:buClr>
                <a:srgbClr val="FF0000"/>
              </a:buClr>
              <a:buFont typeface="Wingdings" pitchFamily="2" charset="2"/>
              <a:buChar char="ü"/>
              <a:defRPr/>
            </a:pPr>
            <a:r>
              <a:rPr lang="pt-BR" sz="3600" dirty="0">
                <a:latin typeface="Calibri" pitchFamily="34" charset="0"/>
              </a:rPr>
              <a:t>Divididos em Níveis de evolução.</a:t>
            </a:r>
          </a:p>
          <a:p>
            <a:pPr marL="514350" indent="-514350">
              <a:buClr>
                <a:srgbClr val="FF0000"/>
              </a:buClr>
              <a:buFont typeface="Wingdings" pitchFamily="2" charset="2"/>
              <a:buChar char="ü"/>
              <a:defRPr/>
            </a:pPr>
            <a:endParaRPr lang="pt-BR" sz="3600" dirty="0">
              <a:latin typeface="Calibri" pitchFamily="34" charset="0"/>
            </a:endParaRPr>
          </a:p>
          <a:p>
            <a:pPr marL="514350" indent="-514350">
              <a:buClr>
                <a:srgbClr val="FF0000"/>
              </a:buClr>
              <a:buFont typeface="Wingdings" pitchFamily="2" charset="2"/>
              <a:buChar char="ü"/>
              <a:defRPr/>
            </a:pPr>
            <a:r>
              <a:rPr lang="pt-BR" sz="3600" dirty="0">
                <a:latin typeface="Calibri" pitchFamily="34" charset="0"/>
              </a:rPr>
              <a:t>Utilizam-se de Questionários para determinar qual o grau ou estágio de maturidade atual.</a:t>
            </a:r>
          </a:p>
          <a:p>
            <a:pPr marL="514350" indent="-514350">
              <a:buClr>
                <a:srgbClr val="FF0000"/>
              </a:buClr>
              <a:buFont typeface="Wingdings" pitchFamily="2" charset="2"/>
              <a:buChar char="ü"/>
              <a:defRPr/>
            </a:pPr>
            <a:endParaRPr lang="pt-BR" sz="3600" dirty="0">
              <a:latin typeface="Calibri" pitchFamily="34" charset="0"/>
            </a:endParaRPr>
          </a:p>
          <a:p>
            <a:pPr marL="514350" indent="-514350">
              <a:buClr>
                <a:srgbClr val="FF0000"/>
              </a:buClr>
              <a:buFont typeface="Wingdings" pitchFamily="2" charset="2"/>
              <a:buChar char="ü"/>
              <a:defRPr/>
            </a:pPr>
            <a:r>
              <a:rPr lang="pt-BR" sz="3600" dirty="0">
                <a:latin typeface="Calibri" pitchFamily="34" charset="0"/>
              </a:rPr>
              <a:t>Baseados nas respostas, calcula-se a pontuação e emite-se uma avaliação.</a:t>
            </a:r>
          </a:p>
          <a:p>
            <a:pPr marL="514350" indent="-514350">
              <a:buClr>
                <a:srgbClr val="FF0000"/>
              </a:buClr>
              <a:buFont typeface="Wingdings" pitchFamily="2" charset="2"/>
              <a:buChar char="ü"/>
              <a:defRPr/>
            </a:pPr>
            <a:endParaRPr lang="pt-BR" sz="3600" dirty="0">
              <a:latin typeface="Calibri" pitchFamily="34" charset="0"/>
            </a:endParaRPr>
          </a:p>
          <a:p>
            <a:pPr marL="514350" indent="-514350">
              <a:buClr>
                <a:srgbClr val="FF0000"/>
              </a:buClr>
              <a:buFont typeface="Wingdings" pitchFamily="2" charset="2"/>
              <a:buChar char="ü"/>
              <a:defRPr/>
            </a:pPr>
            <a:r>
              <a:rPr lang="pt-BR" sz="3600" dirty="0">
                <a:latin typeface="Calibri" pitchFamily="34" charset="0"/>
              </a:rPr>
              <a:t>Sugerem um plano de melhorias para se atingir o nível subsequente.</a:t>
            </a:r>
          </a:p>
        </p:txBody>
      </p:sp>
      <p:pic>
        <p:nvPicPr>
          <p:cNvPr id="59396" name="Picture 5" descr="http://t1.gstatic.com/images?q=tbn:ANd9GcSXvL4ItoRk0l_g0c67qYhIuJ8q8DqVEmG-6psMQxzSsuYKj24ev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2216" y="7519764"/>
            <a:ext cx="3617120" cy="254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793867089"/>
      </p:ext>
    </p:extLst>
  </p:cSld>
  <p:clrMapOvr>
    <a:masterClrMapping/>
  </p:clrMapOvr>
  <p:transition>
    <p:strips dir="rd"/>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bwMode="auto">
          <a:xfrm>
            <a:off x="485776" y="411958"/>
            <a:ext cx="7560470" cy="10596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dirty="0">
                <a:solidFill>
                  <a:schemeClr val="tx1"/>
                </a:solidFill>
                <a:latin typeface="Arial" panose="020B0604020202020204" pitchFamily="34" charset="0"/>
              </a:rPr>
              <a:t>N</a:t>
            </a:r>
            <a:r>
              <a:rPr lang="pt-BR" altLang="pt-BR" dirty="0">
                <a:solidFill>
                  <a:schemeClr val="tx1"/>
                </a:solidFill>
              </a:rPr>
              <a:t>í</a:t>
            </a:r>
            <a:r>
              <a:rPr lang="pt-BR" altLang="pt-BR" dirty="0">
                <a:solidFill>
                  <a:schemeClr val="tx1"/>
                </a:solidFill>
                <a:latin typeface="Arial" panose="020B0604020202020204" pitchFamily="34" charset="0"/>
              </a:rPr>
              <a:t>vel de Maturidade-Evidências</a:t>
            </a:r>
          </a:p>
        </p:txBody>
      </p:sp>
      <p:sp>
        <p:nvSpPr>
          <p:cNvPr id="60419" name="Rectangle 3"/>
          <p:cNvSpPr>
            <a:spLocks noGrp="1" noChangeArrowheads="1"/>
          </p:cNvSpPr>
          <p:nvPr>
            <p:ph type="body" idx="4294967295"/>
          </p:nvPr>
        </p:nvSpPr>
        <p:spPr>
          <a:xfrm>
            <a:off x="47625" y="1507332"/>
            <a:ext cx="13003063" cy="7467600"/>
          </a:xfrm>
          <a:prstGeom prst="rect">
            <a:avLst/>
          </a:prstGeom>
        </p:spPr>
        <p:txBody>
          <a:bodyPr/>
          <a:lstStyle/>
          <a:p>
            <a:r>
              <a:rPr lang="pt-BR" altLang="pt-BR" sz="3300" b="1" dirty="0"/>
              <a:t>Maturidade</a:t>
            </a:r>
            <a:r>
              <a:rPr lang="pt-BR" altLang="pt-BR" sz="3300" dirty="0"/>
              <a:t> em gerenciamento de projetos está </a:t>
            </a:r>
            <a:r>
              <a:rPr lang="pt-BR" altLang="pt-BR" sz="3300" b="1" dirty="0"/>
              <a:t>positivamente associada à melhor performance. Fazendo parte inclusive do marketing das empresas;</a:t>
            </a:r>
          </a:p>
          <a:p>
            <a:r>
              <a:rPr lang="pt-BR" altLang="pt-BR" sz="3300" dirty="0"/>
              <a:t>As </a:t>
            </a:r>
            <a:r>
              <a:rPr lang="pt-BR" altLang="pt-BR" sz="3300" b="1" dirty="0"/>
              <a:t>organizações diferem</a:t>
            </a:r>
            <a:r>
              <a:rPr lang="pt-BR" altLang="pt-BR" sz="3300" dirty="0"/>
              <a:t> drasticamente </a:t>
            </a:r>
            <a:r>
              <a:rPr lang="pt-BR" altLang="pt-BR" sz="3300" b="1" dirty="0"/>
              <a:t>em seus níveis</a:t>
            </a:r>
            <a:r>
              <a:rPr lang="pt-BR" altLang="pt-BR" sz="3300" dirty="0"/>
              <a:t> de maturidade, mesmo as </a:t>
            </a:r>
            <a:r>
              <a:rPr lang="pt-BR" altLang="pt-BR" sz="3300" b="1" dirty="0"/>
              <a:t>pertencentes a um mesmo ramo</a:t>
            </a:r>
            <a:r>
              <a:rPr lang="pt-BR" altLang="pt-BR" sz="3300" dirty="0"/>
              <a:t>;</a:t>
            </a:r>
          </a:p>
          <a:p>
            <a:r>
              <a:rPr lang="pt-BR" altLang="pt-BR" sz="3300" dirty="0"/>
              <a:t>Mesmo empresas com </a:t>
            </a:r>
            <a:r>
              <a:rPr lang="pt-BR" altLang="pt-BR" sz="3300" b="1" dirty="0"/>
              <a:t>níveis altos de maturidade podem evoluir</a:t>
            </a:r>
            <a:r>
              <a:rPr lang="pt-BR" altLang="pt-BR" sz="3300" dirty="0"/>
              <a:t>. É fundamental </a:t>
            </a:r>
            <a:r>
              <a:rPr lang="pt-BR" altLang="pt-BR" sz="3300" b="1" dirty="0"/>
              <a:t>uma análise</a:t>
            </a:r>
            <a:r>
              <a:rPr lang="pt-BR" altLang="pt-BR" sz="3300" dirty="0"/>
              <a:t> para saber </a:t>
            </a:r>
            <a:r>
              <a:rPr lang="pt-BR" altLang="pt-BR" sz="3300" b="1" dirty="0"/>
              <a:t>onde aplicar seus investimentos</a:t>
            </a:r>
            <a:r>
              <a:rPr lang="pt-BR" altLang="pt-BR" sz="3300" dirty="0"/>
              <a:t> em gerência de projetos;</a:t>
            </a:r>
          </a:p>
          <a:p>
            <a:r>
              <a:rPr lang="pt-BR" altLang="pt-BR" sz="3300" dirty="0"/>
              <a:t>Empresas </a:t>
            </a:r>
            <a:r>
              <a:rPr lang="pt-BR" altLang="pt-BR" sz="3300" b="1" dirty="0"/>
              <a:t>mais maduras perdem menos dinheiro</a:t>
            </a:r>
            <a:r>
              <a:rPr lang="pt-BR" altLang="pt-BR" sz="3300" dirty="0"/>
              <a:t> no processo de gerenciamento de projetos;</a:t>
            </a:r>
          </a:p>
          <a:p>
            <a:r>
              <a:rPr lang="pt-BR" altLang="pt-BR" sz="3300" dirty="0"/>
              <a:t>Empresas </a:t>
            </a:r>
            <a:r>
              <a:rPr lang="pt-BR" altLang="pt-BR" sz="3300" b="1" dirty="0"/>
              <a:t>mais maduras tem normalmente um resultado de projeto mais previsível</a:t>
            </a:r>
            <a:r>
              <a:rPr lang="pt-BR" altLang="pt-BR" sz="3300" dirty="0"/>
              <a:t>. Pela capacitação dos recursos e uso de uma metodologia padronizada na empresa, o que por si só  não é garantia de sucesso. Apenas aumentam a probabilidade de sucesso do projetos.</a:t>
            </a:r>
          </a:p>
          <a:p>
            <a:endParaRPr lang="pt-BR" altLang="pt-BR" dirty="0"/>
          </a:p>
        </p:txBody>
      </p:sp>
      <p:pic>
        <p:nvPicPr>
          <p:cNvPr id="60420" name="Picture 5" descr="http://blog.wilsonfreitas.net/wp-content/uploads/2009/09/valorizacao-das-pessoas-upgrad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74424" y="8815908"/>
            <a:ext cx="2112170" cy="1293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160055011"/>
      </p:ext>
    </p:extLst>
  </p:cSld>
  <p:clrMapOvr>
    <a:masterClrMapping/>
  </p:clrMapOvr>
  <p:transition spd="slow">
    <p:strips dir="rd"/>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54"/>
          <p:cNvSpPr>
            <a:spLocks noChangeArrowheads="1"/>
          </p:cNvSpPr>
          <p:nvPr/>
        </p:nvSpPr>
        <p:spPr bwMode="auto">
          <a:xfrm>
            <a:off x="-161925" y="0"/>
            <a:ext cx="10141745" cy="1037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br>
              <a:rPr lang="pt-BR" altLang="pt-BR" sz="2250" dirty="0">
                <a:solidFill>
                  <a:schemeClr val="tx1"/>
                </a:solidFill>
                <a:latin typeface="Verdana" panose="020B0604030504040204" pitchFamily="34" charset="0"/>
              </a:rPr>
            </a:br>
            <a:r>
              <a:rPr lang="pt-BR" altLang="pt-BR" sz="2250" dirty="0">
                <a:solidFill>
                  <a:schemeClr val="tx1"/>
                </a:solidFill>
                <a:latin typeface="Verdana" panose="020B0604030504040204" pitchFamily="34" charset="0"/>
              </a:rPr>
              <a:t> </a:t>
            </a:r>
            <a:r>
              <a:rPr lang="pt-BR" altLang="pt-BR" sz="3600" dirty="0">
                <a:solidFill>
                  <a:schemeClr val="tx1"/>
                </a:solidFill>
                <a:latin typeface="Helvetica" panose="020B0500000000000000" pitchFamily="34" charset="0"/>
              </a:rPr>
              <a:t>Maturidade – Exemplos de evolução</a:t>
            </a:r>
          </a:p>
        </p:txBody>
      </p:sp>
      <p:pic>
        <p:nvPicPr>
          <p:cNvPr id="61443" name="Imagem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172" y="1255068"/>
            <a:ext cx="13204031" cy="848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671706218"/>
      </p:ext>
    </p:extLst>
  </p:cSld>
  <p:clrMapOvr>
    <a:masterClrMapping/>
  </p:clrMapOvr>
  <p:transition>
    <p:strips dir="rd"/>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bwMode="auto">
          <a:xfrm>
            <a:off x="0" y="1"/>
            <a:ext cx="11984832" cy="747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a:solidFill>
                  <a:schemeClr val="tx1"/>
                </a:solidFill>
                <a:latin typeface="Arial" panose="020B0604020202020204" pitchFamily="34" charset="0"/>
              </a:rPr>
              <a:t>Exemplos (mais conhecidos) de Modelos de Maturidade</a:t>
            </a:r>
          </a:p>
        </p:txBody>
      </p:sp>
      <p:sp>
        <p:nvSpPr>
          <p:cNvPr id="62467" name="Rectangle 3"/>
          <p:cNvSpPr>
            <a:spLocks noGrp="1" noChangeArrowheads="1"/>
          </p:cNvSpPr>
          <p:nvPr>
            <p:ph type="body" idx="4294967295"/>
          </p:nvPr>
        </p:nvSpPr>
        <p:spPr>
          <a:xfrm>
            <a:off x="-15823" y="1615108"/>
            <a:ext cx="13138519" cy="7467600"/>
          </a:xfrm>
          <a:prstGeom prst="rect">
            <a:avLst/>
          </a:prstGeom>
        </p:spPr>
        <p:txBody>
          <a:bodyPr/>
          <a:lstStyle/>
          <a:p>
            <a:r>
              <a:rPr lang="pt-BR" altLang="pt-BR" sz="3750" b="1" dirty="0"/>
              <a:t>OPM3</a:t>
            </a:r>
            <a:r>
              <a:rPr lang="pt-BR" altLang="pt-BR" sz="3750" dirty="0"/>
              <a:t> - </a:t>
            </a:r>
            <a:r>
              <a:rPr lang="pt-BR" altLang="pt-BR" sz="3750" dirty="0" err="1"/>
              <a:t>Organizational</a:t>
            </a:r>
            <a:r>
              <a:rPr lang="pt-BR" altLang="pt-BR" sz="3750" dirty="0"/>
              <a:t> Project Management </a:t>
            </a:r>
            <a:r>
              <a:rPr lang="pt-BR" altLang="pt-BR" sz="3750" dirty="0" err="1"/>
              <a:t>Maturity</a:t>
            </a:r>
            <a:r>
              <a:rPr lang="pt-BR" altLang="pt-BR" sz="3750" dirty="0"/>
              <a:t> Model (PMI) (descontinuado);</a:t>
            </a:r>
          </a:p>
          <a:p>
            <a:r>
              <a:rPr lang="pt-BR" altLang="pt-BR" sz="3750" b="1" dirty="0"/>
              <a:t>KPMMM</a:t>
            </a:r>
            <a:r>
              <a:rPr lang="pt-BR" altLang="pt-BR" sz="3750" dirty="0"/>
              <a:t> – </a:t>
            </a:r>
            <a:r>
              <a:rPr lang="pt-BR" altLang="pt-BR" sz="3750" dirty="0" err="1"/>
              <a:t>Kerzner</a:t>
            </a:r>
            <a:r>
              <a:rPr lang="pt-BR" altLang="pt-BR" sz="3750" dirty="0"/>
              <a:t> Project Management </a:t>
            </a:r>
            <a:r>
              <a:rPr lang="pt-BR" altLang="pt-BR" sz="3750" dirty="0" err="1"/>
              <a:t>Maturity</a:t>
            </a:r>
            <a:r>
              <a:rPr lang="pt-BR" altLang="pt-BR" sz="3750" dirty="0"/>
              <a:t> Model;</a:t>
            </a:r>
          </a:p>
          <a:p>
            <a:r>
              <a:rPr lang="pt-BR" altLang="pt-BR" sz="3750" b="1" dirty="0"/>
              <a:t>CMMI </a:t>
            </a:r>
            <a:r>
              <a:rPr lang="pt-BR" altLang="pt-BR" sz="3750" dirty="0"/>
              <a:t>– </a:t>
            </a:r>
            <a:r>
              <a:rPr lang="pt-BR" altLang="pt-BR" sz="3750" dirty="0" err="1"/>
              <a:t>Capability</a:t>
            </a:r>
            <a:r>
              <a:rPr lang="pt-BR" altLang="pt-BR" sz="3750" dirty="0"/>
              <a:t> </a:t>
            </a:r>
            <a:r>
              <a:rPr lang="pt-BR" altLang="pt-BR" sz="3750" dirty="0" err="1"/>
              <a:t>Maturity</a:t>
            </a:r>
            <a:r>
              <a:rPr lang="pt-BR" altLang="pt-BR" sz="3750" dirty="0"/>
              <a:t> Model </a:t>
            </a:r>
            <a:r>
              <a:rPr lang="pt-BR" altLang="pt-BR" sz="3750" dirty="0" err="1"/>
              <a:t>Integration</a:t>
            </a:r>
            <a:endParaRPr lang="pt-BR" altLang="pt-BR" sz="3750" dirty="0"/>
          </a:p>
          <a:p>
            <a:r>
              <a:rPr lang="pt-BR" altLang="pt-BR" sz="3750" b="1" dirty="0"/>
              <a:t>Center for Business </a:t>
            </a:r>
            <a:r>
              <a:rPr lang="pt-BR" altLang="pt-BR" sz="3750" b="1" dirty="0" err="1"/>
              <a:t>Practices</a:t>
            </a:r>
            <a:r>
              <a:rPr lang="pt-BR" altLang="pt-BR" sz="3750" b="1" dirty="0"/>
              <a:t> (PMMM), </a:t>
            </a:r>
            <a:r>
              <a:rPr lang="pt-BR" altLang="pt-BR" sz="3750" dirty="0"/>
              <a:t>PM </a:t>
            </a:r>
            <a:r>
              <a:rPr lang="pt-BR" altLang="pt-BR" sz="3750" dirty="0" err="1"/>
              <a:t>Solutions</a:t>
            </a:r>
            <a:r>
              <a:rPr lang="pt-BR" altLang="pt-BR" sz="3750" dirty="0"/>
              <a:t>;</a:t>
            </a:r>
          </a:p>
          <a:p>
            <a:r>
              <a:rPr lang="pt-BR" altLang="pt-BR" sz="3750" b="1" dirty="0"/>
              <a:t>Modelo MMGP </a:t>
            </a:r>
            <a:r>
              <a:rPr lang="pt-BR" altLang="pt-BR" sz="3750" dirty="0"/>
              <a:t>(Prof. Darcy Prado);</a:t>
            </a:r>
          </a:p>
          <a:p>
            <a:r>
              <a:rPr lang="pt-BR" altLang="pt-BR" sz="3750" b="1" dirty="0" err="1"/>
              <a:t>Berkley</a:t>
            </a:r>
            <a:r>
              <a:rPr lang="pt-BR" altLang="pt-BR" sz="3750" b="1" dirty="0"/>
              <a:t> Project Management </a:t>
            </a:r>
            <a:r>
              <a:rPr lang="pt-BR" altLang="pt-BR" sz="3750" b="1" dirty="0" err="1"/>
              <a:t>Maturity</a:t>
            </a:r>
            <a:r>
              <a:rPr lang="pt-BR" altLang="pt-BR" sz="3750" b="1" dirty="0"/>
              <a:t> Model </a:t>
            </a:r>
            <a:r>
              <a:rPr lang="pt-BR" altLang="pt-BR" sz="3750" dirty="0"/>
              <a:t>(PM3);</a:t>
            </a:r>
          </a:p>
          <a:p>
            <a:r>
              <a:rPr lang="pt-BR" altLang="pt-BR" sz="3750" b="1" dirty="0"/>
              <a:t>ESI </a:t>
            </a:r>
            <a:r>
              <a:rPr lang="pt-BR" altLang="pt-BR" sz="3750" b="1" dirty="0" err="1"/>
              <a:t>International’s</a:t>
            </a:r>
            <a:r>
              <a:rPr lang="pt-BR" altLang="pt-BR" sz="3750" b="1" dirty="0"/>
              <a:t> Project Framework</a:t>
            </a:r>
            <a:r>
              <a:rPr lang="pt-BR" altLang="pt-BR" sz="3750" dirty="0"/>
              <a:t>.</a:t>
            </a:r>
          </a:p>
          <a:p>
            <a:pPr>
              <a:buFont typeface="Monotype Sorts" pitchFamily="2" charset="2"/>
              <a:buNone/>
            </a:pPr>
            <a:endParaRPr lang="pt-BR" altLang="pt-BR" b="1" dirty="0"/>
          </a:p>
        </p:txBody>
      </p:sp>
      <p:pic>
        <p:nvPicPr>
          <p:cNvPr id="62468" name="Picture 2" descr="C:\Users\Rafael\Desktop\primeiro-luga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4264" y="6943700"/>
            <a:ext cx="375999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063735929"/>
      </p:ext>
    </p:extLst>
  </p:cSld>
  <p:clrMapOvr>
    <a:masterClrMapping/>
  </p:clrMapOvr>
  <p:transition spd="slow">
    <p:strips dir="rd"/>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95838" y="4783460"/>
            <a:ext cx="2145506" cy="1426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40981" y="7951812"/>
            <a:ext cx="2900363" cy="2131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34738" y="2527133"/>
            <a:ext cx="1906606" cy="167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3" name="Rectangle 2"/>
          <p:cNvSpPr>
            <a:spLocks noChangeArrowheads="1"/>
          </p:cNvSpPr>
          <p:nvPr/>
        </p:nvSpPr>
        <p:spPr bwMode="auto">
          <a:xfrm>
            <a:off x="1" y="1511470"/>
            <a:ext cx="1140857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O modelo genérico é baseado em níveis, através do qual o processo uma organização poderá ser avaliado como:</a:t>
            </a:r>
          </a:p>
        </p:txBody>
      </p:sp>
      <p:sp>
        <p:nvSpPr>
          <p:cNvPr id="63494" name="Rectangle 3"/>
          <p:cNvSpPr>
            <a:spLocks noChangeArrowheads="1"/>
          </p:cNvSpPr>
          <p:nvPr/>
        </p:nvSpPr>
        <p:spPr bwMode="auto">
          <a:xfrm>
            <a:off x="1" y="2643918"/>
            <a:ext cx="11501438" cy="7432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231775" indent="-24765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pPr>
            <a:r>
              <a:rPr lang="pt-PT" altLang="pt-BR" sz="3000" dirty="0">
                <a:solidFill>
                  <a:srgbClr val="3603C5"/>
                </a:solidFill>
                <a:latin typeface="Calibri" panose="020F0502020204030204" pitchFamily="34" charset="0"/>
                <a:ea typeface="Verdana" panose="020B0604030504040204" pitchFamily="34" charset="0"/>
                <a:cs typeface="Calibri" panose="020F0502020204030204" pitchFamily="34" charset="0"/>
              </a:rPr>
              <a:t>Nível 1 (Inicial) </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Processos são </a:t>
            </a:r>
            <a:r>
              <a:rPr lang="pt-PT" altLang="pt-BR" sz="3000" i="1" dirty="0">
                <a:solidFill>
                  <a:schemeClr val="tx1"/>
                </a:solidFill>
                <a:latin typeface="Calibri" panose="020F0502020204030204" pitchFamily="34" charset="0"/>
                <a:ea typeface="Verdana" panose="020B0604030504040204" pitchFamily="34" charset="0"/>
                <a:cs typeface="Calibri" panose="020F0502020204030204" pitchFamily="34" charset="0"/>
              </a:rPr>
              <a:t>ad hoc</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esporádicos, desorganizados e caóticos (o sucesso depende de esforço pessoal).</a:t>
            </a:r>
          </a:p>
          <a:p>
            <a:pPr>
              <a:spcBef>
                <a:spcPct val="0"/>
              </a:spcBef>
            </a:pPr>
            <a:endParaRPr lang="pt-PT" altLang="pt-BR" sz="1500" dirty="0">
              <a:solidFill>
                <a:srgbClr val="3603C5"/>
              </a:solidFill>
              <a:latin typeface="Calibri" panose="020F0502020204030204" pitchFamily="34" charset="0"/>
              <a:ea typeface="Verdana" panose="020B0604030504040204" pitchFamily="34" charset="0"/>
              <a:cs typeface="Calibri" panose="020F0502020204030204" pitchFamily="34" charset="0"/>
            </a:endParaRPr>
          </a:p>
          <a:p>
            <a:pPr>
              <a:spcBef>
                <a:spcPct val="0"/>
              </a:spcBef>
            </a:pPr>
            <a:r>
              <a:rPr lang="pt-PT" altLang="pt-BR" sz="3000" dirty="0">
                <a:solidFill>
                  <a:srgbClr val="3603C5"/>
                </a:solidFill>
                <a:latin typeface="Calibri" panose="020F0502020204030204" pitchFamily="34" charset="0"/>
                <a:ea typeface="Verdana" panose="020B0604030504040204" pitchFamily="34" charset="0"/>
                <a:cs typeface="Calibri" panose="020F0502020204030204" pitchFamily="34" charset="0"/>
              </a:rPr>
              <a:t>Nível 2 (Repetível/Gerenciado) </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Processos com um padrão de regularidade. Algum investimento em treinamento de GP em SW de gestão de projetos. Conhecimento tácito. Foco escopo, prazo, custo.</a:t>
            </a:r>
          </a:p>
          <a:p>
            <a:pPr>
              <a:spcBef>
                <a:spcPct val="0"/>
              </a:spcBef>
            </a:pPr>
            <a:endParaRPr lang="pt-PT" altLang="pt-BR" sz="1500" dirty="0">
              <a:solidFill>
                <a:srgbClr val="3603C5"/>
              </a:solidFill>
              <a:latin typeface="Calibri" panose="020F0502020204030204" pitchFamily="34" charset="0"/>
              <a:ea typeface="Verdana" panose="020B0604030504040204" pitchFamily="34" charset="0"/>
              <a:cs typeface="Calibri" panose="020F0502020204030204" pitchFamily="34" charset="0"/>
            </a:endParaRPr>
          </a:p>
          <a:p>
            <a:pPr>
              <a:spcBef>
                <a:spcPct val="0"/>
              </a:spcBef>
            </a:pPr>
            <a:r>
              <a:rPr lang="pt-PT" altLang="pt-BR" sz="3000" dirty="0">
                <a:solidFill>
                  <a:srgbClr val="3603C5"/>
                </a:solidFill>
                <a:latin typeface="Calibri" panose="020F0502020204030204" pitchFamily="34" charset="0"/>
                <a:ea typeface="Verdana" panose="020B0604030504040204" pitchFamily="34" charset="0"/>
                <a:cs typeface="Calibri" panose="020F0502020204030204" pitchFamily="34" charset="0"/>
              </a:rPr>
              <a:t>Nível 3 (Definido) </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Processos padronizados, documentados e comunicados, método disseminado. Frequentemente existe um PMO.</a:t>
            </a:r>
          </a:p>
          <a:p>
            <a:pPr>
              <a:spcBef>
                <a:spcPct val="0"/>
              </a:spcBef>
            </a:pPr>
            <a:endParaRPr lang="pt-PT" altLang="pt-BR" sz="15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a:spcBef>
                <a:spcPct val="0"/>
              </a:spcBef>
            </a:pPr>
            <a:r>
              <a:rPr lang="pt-PT" altLang="pt-BR" sz="3000" dirty="0">
                <a:solidFill>
                  <a:srgbClr val="3603C5"/>
                </a:solidFill>
                <a:latin typeface="Calibri" panose="020F0502020204030204" pitchFamily="34" charset="0"/>
                <a:ea typeface="Verdana" panose="020B0604030504040204" pitchFamily="34" charset="0"/>
                <a:cs typeface="Calibri" panose="020F0502020204030204" pitchFamily="34" charset="0"/>
              </a:rPr>
              <a:t>Nível 4 (Gerenciado Quantitativamente) </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Projetos monitorados e controlados (Indicadores de desempenho e previsibilidade). Metodologia consolidada. PMO operacional.  Base de conhecimento operacional.</a:t>
            </a:r>
          </a:p>
          <a:p>
            <a:pPr>
              <a:spcBef>
                <a:spcPct val="0"/>
              </a:spcBef>
            </a:pPr>
            <a:endParaRPr lang="pt-PT" altLang="pt-BR" sz="1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a:spcBef>
                <a:spcPct val="0"/>
              </a:spcBef>
            </a:pPr>
            <a:r>
              <a:rPr lang="pt-PT" altLang="pt-BR" sz="3000" dirty="0">
                <a:solidFill>
                  <a:srgbClr val="3603C5"/>
                </a:solidFill>
                <a:latin typeface="Calibri" panose="020F0502020204030204" pitchFamily="34" charset="0"/>
                <a:ea typeface="Verdana" panose="020B0604030504040204" pitchFamily="34" charset="0"/>
                <a:cs typeface="Calibri" panose="020F0502020204030204" pitchFamily="34" charset="0"/>
              </a:rPr>
              <a:t>Nível 5 (Otimizando) </a:t>
            </a:r>
            <a:r>
              <a:rPr lang="pt-PT" altLang="pt-BR" sz="3000" dirty="0">
                <a:solidFill>
                  <a:schemeClr val="tx1"/>
                </a:solidFill>
                <a:latin typeface="Calibri" panose="020F0502020204030204" pitchFamily="34" charset="0"/>
                <a:ea typeface="Verdana" panose="020B0604030504040204" pitchFamily="34" charset="0"/>
                <a:cs typeface="Calibri" panose="020F0502020204030204" pitchFamily="34" charset="0"/>
              </a:rPr>
              <a:t>– Boas práticas implementadas (melhoria contínua: PDCA). Sugestões/tecnologias são bem vindas. Para otimização dos serviços oferecidos. Criatividade presente.</a:t>
            </a:r>
          </a:p>
        </p:txBody>
      </p:sp>
      <p:sp>
        <p:nvSpPr>
          <p:cNvPr id="63495" name="Rectangle 2"/>
          <p:cNvSpPr txBox="1">
            <a:spLocks noChangeArrowheads="1"/>
          </p:cNvSpPr>
          <p:nvPr/>
        </p:nvSpPr>
        <p:spPr bwMode="auto">
          <a:xfrm>
            <a:off x="449288" y="494810"/>
            <a:ext cx="1141809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50000"/>
              </a:spcBef>
              <a:buFontTx/>
              <a:buNone/>
            </a:pPr>
            <a:r>
              <a:rPr lang="pt-BR" altLang="pt-BR" sz="3600" dirty="0">
                <a:solidFill>
                  <a:schemeClr val="tx1"/>
                </a:solidFill>
                <a:latin typeface="Arial" panose="020B0604020202020204" pitchFamily="34" charset="0"/>
                <a:ea typeface="MS PGothic" panose="020B0600070205080204" pitchFamily="34" charset="-128"/>
                <a:sym typeface="Arial" panose="020B0604020202020204" pitchFamily="34" charset="0"/>
              </a:rPr>
              <a:t>	Modelos de Maturidade em Projetos </a:t>
            </a:r>
            <a:br>
              <a:rPr lang="pt-BR" altLang="pt-BR" sz="3600" dirty="0">
                <a:solidFill>
                  <a:schemeClr val="tx1"/>
                </a:solidFill>
                <a:latin typeface="Arial" panose="020B0604020202020204" pitchFamily="34" charset="0"/>
                <a:ea typeface="MS PGothic" panose="020B0600070205080204" pitchFamily="34" charset="-128"/>
                <a:sym typeface="Arial" panose="020B0604020202020204" pitchFamily="34" charset="0"/>
              </a:rPr>
            </a:br>
            <a:endParaRPr lang="pt-BR" altLang="pt-BR" sz="3600" dirty="0">
              <a:solidFill>
                <a:schemeClr val="tx1"/>
              </a:solidFill>
              <a:latin typeface="Arial" panose="020B0604020202020204" pitchFamily="34" charset="0"/>
              <a:ea typeface="MS PGothic" panose="020B0600070205080204" pitchFamily="34" charset="-128"/>
              <a:sym typeface="Arial" panose="020B0604020202020204" pitchFamily="34" charset="0"/>
            </a:endParaRPr>
          </a:p>
        </p:txBody>
      </p:sp>
    </p:spTree>
    <p:custDataLst>
      <p:tags r:id="rId1"/>
    </p:custDataLst>
    <p:extLst>
      <p:ext uri="{BB962C8B-B14F-4D97-AF65-F5344CB8AC3E}">
        <p14:creationId xmlns:p14="http://schemas.microsoft.com/office/powerpoint/2010/main" val="4200048110"/>
      </p:ext>
    </p:extLst>
  </p:cSld>
  <p:clrMapOvr>
    <a:masterClrMapping/>
  </p:clrMapOvr>
  <p:transition>
    <p:strips dir="rd"/>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8"/>
          <p:cNvSpPr>
            <a:spLocks noChangeArrowheads="1"/>
          </p:cNvSpPr>
          <p:nvPr/>
        </p:nvSpPr>
        <p:spPr bwMode="auto">
          <a:xfrm>
            <a:off x="485776" y="1"/>
            <a:ext cx="1141809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dirty="0">
                <a:solidFill>
                  <a:schemeClr val="tx1"/>
                </a:solidFill>
                <a:latin typeface="Calibri" panose="020F0502020204030204" pitchFamily="34" charset="0"/>
              </a:rPr>
              <a:t>CMMI – Aplicação Prática</a:t>
            </a:r>
          </a:p>
        </p:txBody>
      </p:sp>
      <p:sp>
        <p:nvSpPr>
          <p:cNvPr id="65539" name="Rectangle 2"/>
          <p:cNvSpPr>
            <a:spLocks noChangeArrowheads="1"/>
          </p:cNvSpPr>
          <p:nvPr/>
        </p:nvSpPr>
        <p:spPr bwMode="auto">
          <a:xfrm>
            <a:off x="538163" y="2821782"/>
            <a:ext cx="12296501" cy="628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lstStyle>
            <a:lvl1pPr marL="282575" indent="-282575">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lnSpc>
                <a:spcPct val="135000"/>
              </a:lnSpc>
              <a:buClr>
                <a:srgbClr val="C00000"/>
              </a:buClr>
              <a:buFont typeface="Wingdings" panose="05000000000000000000" pitchFamily="2" charset="2"/>
              <a:buChar char="Ø"/>
            </a:pPr>
            <a:r>
              <a:rPr lang="pt-BR" altLang="pt-BR" sz="3000" dirty="0">
                <a:solidFill>
                  <a:srgbClr val="000000"/>
                </a:solidFill>
                <a:latin typeface="Calibri" panose="020F0502020204030204" pitchFamily="34" charset="0"/>
              </a:rPr>
              <a:t>A aplicação das melhores práticas sugeridas pelo CMMI na </a:t>
            </a:r>
            <a:r>
              <a:rPr lang="pt-BR" altLang="pt-BR" sz="3000" i="1" dirty="0">
                <a:solidFill>
                  <a:srgbClr val="000000"/>
                </a:solidFill>
                <a:latin typeface="Calibri" panose="020F0502020204030204" pitchFamily="34" charset="0"/>
              </a:rPr>
              <a:t>TCS</a:t>
            </a:r>
            <a:r>
              <a:rPr lang="pt-BR" altLang="pt-BR" sz="3000" dirty="0">
                <a:solidFill>
                  <a:srgbClr val="000000"/>
                </a:solidFill>
                <a:latin typeface="Calibri" panose="020F0502020204030204" pitchFamily="34" charset="0"/>
              </a:rPr>
              <a:t> vem agregando significativamente na qualidade de seus produtos e serviços .</a:t>
            </a:r>
          </a:p>
          <a:p>
            <a:pPr eaLnBrk="1" hangingPunct="1">
              <a:lnSpc>
                <a:spcPct val="135000"/>
              </a:lnSpc>
              <a:buClr>
                <a:srgbClr val="C00000"/>
              </a:buClr>
              <a:buFont typeface="Wingdings" panose="05000000000000000000" pitchFamily="2" charset="2"/>
              <a:buChar char="Ø"/>
            </a:pPr>
            <a:r>
              <a:rPr lang="pt-BR" altLang="pt-BR" sz="3000" dirty="0">
                <a:solidFill>
                  <a:srgbClr val="000000"/>
                </a:solidFill>
                <a:latin typeface="Calibri" panose="020F0502020204030204" pitchFamily="34" charset="0"/>
              </a:rPr>
              <a:t>Uma das práticas muito importante é a confecção de um documento chamado </a:t>
            </a:r>
            <a:r>
              <a:rPr lang="pt-BR" altLang="pt-BR" sz="3000" dirty="0" err="1">
                <a:solidFill>
                  <a:srgbClr val="000000"/>
                </a:solidFill>
                <a:latin typeface="Calibri" panose="020F0502020204030204" pitchFamily="34" charset="0"/>
              </a:rPr>
              <a:t>Defect</a:t>
            </a:r>
            <a:r>
              <a:rPr lang="pt-BR" altLang="pt-BR" sz="3000" dirty="0">
                <a:solidFill>
                  <a:srgbClr val="000000"/>
                </a:solidFill>
                <a:latin typeface="Calibri" panose="020F0502020204030204" pitchFamily="34" charset="0"/>
              </a:rPr>
              <a:t> </a:t>
            </a:r>
            <a:r>
              <a:rPr lang="pt-BR" altLang="pt-BR" sz="3000" dirty="0" err="1">
                <a:solidFill>
                  <a:srgbClr val="000000"/>
                </a:solidFill>
                <a:latin typeface="Calibri" panose="020F0502020204030204" pitchFamily="34" charset="0"/>
              </a:rPr>
              <a:t>Prevention</a:t>
            </a:r>
            <a:r>
              <a:rPr lang="pt-BR" altLang="pt-BR" sz="3000" dirty="0">
                <a:solidFill>
                  <a:srgbClr val="000000"/>
                </a:solidFill>
                <a:latin typeface="Calibri" panose="020F0502020204030204" pitchFamily="34" charset="0"/>
              </a:rPr>
              <a:t>. </a:t>
            </a:r>
          </a:p>
          <a:p>
            <a:pPr eaLnBrk="1" hangingPunct="1">
              <a:lnSpc>
                <a:spcPct val="135000"/>
              </a:lnSpc>
              <a:buClr>
                <a:srgbClr val="C00000"/>
              </a:buClr>
              <a:buFont typeface="Wingdings" panose="05000000000000000000" pitchFamily="2" charset="2"/>
              <a:buChar char="Ø"/>
            </a:pPr>
            <a:r>
              <a:rPr lang="pt-BR" altLang="pt-BR" sz="3000" dirty="0" err="1">
                <a:solidFill>
                  <a:srgbClr val="000000"/>
                </a:solidFill>
                <a:latin typeface="Calibri" panose="020F0502020204030204" pitchFamily="34" charset="0"/>
              </a:rPr>
              <a:t>Defect</a:t>
            </a:r>
            <a:r>
              <a:rPr lang="pt-BR" altLang="pt-BR" sz="3000" dirty="0">
                <a:solidFill>
                  <a:srgbClr val="000000"/>
                </a:solidFill>
                <a:latin typeface="Calibri" panose="020F0502020204030204" pitchFamily="34" charset="0"/>
              </a:rPr>
              <a:t> </a:t>
            </a:r>
            <a:r>
              <a:rPr lang="pt-BR" altLang="pt-BR" sz="3000" dirty="0" err="1">
                <a:solidFill>
                  <a:srgbClr val="000000"/>
                </a:solidFill>
                <a:latin typeface="Calibri" panose="020F0502020204030204" pitchFamily="34" charset="0"/>
              </a:rPr>
              <a:t>Prevention</a:t>
            </a:r>
            <a:r>
              <a:rPr lang="pt-BR" altLang="pt-BR" sz="3000" dirty="0">
                <a:solidFill>
                  <a:srgbClr val="000000"/>
                </a:solidFill>
                <a:latin typeface="Calibri" panose="020F0502020204030204" pitchFamily="34" charset="0"/>
              </a:rPr>
              <a:t> basicamente possui o objetivo de listar os defeitos encontrados ao longo das fases de projetos de desenvolvimento de SW, analisar a causa raiz do defeito e definir as ações preventivas/corretivas e registrar. </a:t>
            </a:r>
          </a:p>
          <a:p>
            <a:pPr eaLnBrk="1" hangingPunct="1">
              <a:lnSpc>
                <a:spcPct val="135000"/>
              </a:lnSpc>
              <a:buClr>
                <a:srgbClr val="C00000"/>
              </a:buClr>
              <a:buFont typeface="Wingdings" panose="05000000000000000000" pitchFamily="2" charset="2"/>
              <a:buChar char="Ø"/>
            </a:pPr>
            <a:r>
              <a:rPr lang="pt-BR" altLang="pt-BR" sz="3000" dirty="0">
                <a:solidFill>
                  <a:srgbClr val="000000"/>
                </a:solidFill>
                <a:latin typeface="Calibri" panose="020F0502020204030204" pitchFamily="34" charset="0"/>
              </a:rPr>
              <a:t>O objetivo desta prática é obter melhoria nos processo vigentes, modificando-o exatamente nos pontos onde há falha para que o problema não venha se repetir. </a:t>
            </a:r>
          </a:p>
        </p:txBody>
      </p:sp>
      <p:sp>
        <p:nvSpPr>
          <p:cNvPr id="65540" name="Rectangle 6"/>
          <p:cNvSpPr>
            <a:spLocks noChangeArrowheads="1"/>
          </p:cNvSpPr>
          <p:nvPr/>
        </p:nvSpPr>
        <p:spPr bwMode="auto">
          <a:xfrm>
            <a:off x="1222773" y="1399084"/>
            <a:ext cx="9944100" cy="1153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marL="282575" indent="-282575">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buClr>
                <a:srgbClr val="000099"/>
              </a:buClr>
              <a:buFontTx/>
              <a:buNone/>
            </a:pPr>
            <a:r>
              <a:rPr lang="pt-BR" altLang="pt-BR" sz="3000" dirty="0">
                <a:solidFill>
                  <a:srgbClr val="000000"/>
                </a:solidFill>
                <a:latin typeface="Calibri" panose="020F0502020204030204" pitchFamily="34" charset="0"/>
              </a:rPr>
              <a:t> </a:t>
            </a:r>
            <a:r>
              <a:rPr lang="pt-BR" altLang="pt-BR" sz="3000" dirty="0">
                <a:solidFill>
                  <a:srgbClr val="FF0000"/>
                </a:solidFill>
                <a:latin typeface="Calibri" panose="020F0502020204030204" pitchFamily="34" charset="0"/>
              </a:rPr>
              <a:t>Aplicação do CMMI –Empresa no nível 5</a:t>
            </a:r>
          </a:p>
          <a:p>
            <a:pPr algn="ctr" eaLnBrk="1" hangingPunct="1">
              <a:buClr>
                <a:srgbClr val="000099"/>
              </a:buClr>
              <a:buFontTx/>
              <a:buNone/>
            </a:pPr>
            <a:r>
              <a:rPr lang="pt-BR" altLang="pt-BR" sz="3000" dirty="0">
                <a:solidFill>
                  <a:srgbClr val="FF0000"/>
                </a:solidFill>
                <a:latin typeface="Calibri" panose="020F0502020204030204" pitchFamily="34" charset="0"/>
              </a:rPr>
              <a:t>Tata </a:t>
            </a:r>
            <a:r>
              <a:rPr lang="pt-BR" altLang="pt-BR" sz="3000" dirty="0" err="1">
                <a:solidFill>
                  <a:srgbClr val="FF0000"/>
                </a:solidFill>
                <a:latin typeface="Calibri" panose="020F0502020204030204" pitchFamily="34" charset="0"/>
              </a:rPr>
              <a:t>Consultancy</a:t>
            </a:r>
            <a:r>
              <a:rPr lang="pt-BR" altLang="pt-BR" sz="3000" dirty="0">
                <a:solidFill>
                  <a:srgbClr val="FF0000"/>
                </a:solidFill>
                <a:latin typeface="Calibri" panose="020F0502020204030204" pitchFamily="34" charset="0"/>
              </a:rPr>
              <a:t> Service (TCS) </a:t>
            </a:r>
          </a:p>
        </p:txBody>
      </p:sp>
    </p:spTree>
    <p:custDataLst>
      <p:tags r:id="rId1"/>
    </p:custDataLst>
    <p:extLst>
      <p:ext uri="{BB962C8B-B14F-4D97-AF65-F5344CB8AC3E}">
        <p14:creationId xmlns:p14="http://schemas.microsoft.com/office/powerpoint/2010/main" val="3842482584"/>
      </p:ext>
    </p:extLst>
  </p:cSld>
  <p:clrMapOvr>
    <a:masterClrMapping/>
  </p:clrMapOvr>
  <p:transition spd="slow" advClick="0">
    <p:strips dir="rd"/>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3"/>
          <a:srcRect l="15300" t="27362" r="17513" b="10634"/>
          <a:stretch>
            <a:fillRect/>
          </a:stretch>
        </p:blipFill>
        <p:spPr bwMode="auto">
          <a:xfrm>
            <a:off x="-10740" y="1903140"/>
            <a:ext cx="8289131" cy="5295900"/>
          </a:xfrm>
          <a:prstGeom prst="rect">
            <a:avLst/>
          </a:prstGeom>
          <a:ln>
            <a:noFill/>
          </a:ln>
          <a:effectLst>
            <a:outerShdw blurRad="292100" dist="139700" dir="2700000" algn="tl" rotWithShape="0">
              <a:srgbClr val="333333">
                <a:alpha val="65000"/>
              </a:srgbClr>
            </a:outerShdw>
          </a:effectLst>
        </p:spPr>
      </p:pic>
      <p:pic>
        <p:nvPicPr>
          <p:cNvPr id="3" name="Picture 4"/>
          <p:cNvPicPr>
            <a:picLocks noChangeAspect="1" noChangeArrowheads="1"/>
          </p:cNvPicPr>
          <p:nvPr/>
        </p:nvPicPr>
        <p:blipFill>
          <a:blip r:embed="rId4"/>
          <a:srcRect l="15771" t="24609" r="16536" b="5469"/>
          <a:stretch>
            <a:fillRect/>
          </a:stretch>
        </p:blipFill>
        <p:spPr bwMode="auto">
          <a:xfrm>
            <a:off x="5561856" y="3415308"/>
            <a:ext cx="7524750" cy="5381625"/>
          </a:xfrm>
          <a:prstGeom prst="rect">
            <a:avLst/>
          </a:prstGeom>
          <a:ln>
            <a:noFill/>
          </a:ln>
          <a:effectLst>
            <a:outerShdw blurRad="292100" dist="139700" dir="2700000" algn="tl" rotWithShape="0">
              <a:srgbClr val="333333">
                <a:alpha val="65000"/>
              </a:srgbClr>
            </a:outerShdw>
          </a:effectLst>
        </p:spPr>
      </p:pic>
      <p:sp>
        <p:nvSpPr>
          <p:cNvPr id="66564" name="TextBox 38"/>
          <p:cNvSpPr txBox="1">
            <a:spLocks noChangeArrowheads="1"/>
          </p:cNvSpPr>
          <p:nvPr/>
        </p:nvSpPr>
        <p:spPr bwMode="auto">
          <a:xfrm>
            <a:off x="128588" y="9172576"/>
            <a:ext cx="122620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400">
                <a:solidFill>
                  <a:schemeClr val="tx1"/>
                </a:solidFill>
                <a:latin typeface="Calibri" panose="020F0502020204030204" pitchFamily="34" charset="0"/>
              </a:rPr>
              <a:t>Proposição de ideias, registro e divulgação de lições aprendidas e de reconhecimento à inovação</a:t>
            </a:r>
            <a:r>
              <a:rPr lang="pt-BR" altLang="pt-BR" sz="2400">
                <a:solidFill>
                  <a:schemeClr val="tx2"/>
                </a:solidFill>
                <a:latin typeface="Calibri" panose="020F0502020204030204" pitchFamily="34" charset="0"/>
              </a:rPr>
              <a:t> </a:t>
            </a:r>
            <a:endParaRPr lang="pt-BR" altLang="pt-BR" sz="2400" i="1">
              <a:solidFill>
                <a:schemeClr val="tx2"/>
              </a:solidFill>
              <a:latin typeface="Calibri" panose="020F0502020204030204" pitchFamily="34" charset="0"/>
            </a:endParaRPr>
          </a:p>
        </p:txBody>
      </p:sp>
      <p:sp>
        <p:nvSpPr>
          <p:cNvPr id="66565" name="Rectangle 8"/>
          <p:cNvSpPr>
            <a:spLocks noChangeArrowheads="1"/>
          </p:cNvSpPr>
          <p:nvPr/>
        </p:nvSpPr>
        <p:spPr bwMode="auto">
          <a:xfrm>
            <a:off x="16670" y="42863"/>
            <a:ext cx="11418093"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34742" tIns="66194" rIns="134742" bIns="66194"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a:solidFill>
                  <a:schemeClr val="tx1"/>
                </a:solidFill>
                <a:latin typeface="Calibri" panose="020F0502020204030204" pitchFamily="34" charset="0"/>
              </a:rPr>
              <a:t>Exemplo de Registro de Lições aprendidas e ideias</a:t>
            </a:r>
          </a:p>
        </p:txBody>
      </p:sp>
    </p:spTree>
    <p:custDataLst>
      <p:tags r:id="rId1"/>
    </p:custDataLst>
    <p:extLst>
      <p:ext uri="{BB962C8B-B14F-4D97-AF65-F5344CB8AC3E}">
        <p14:creationId xmlns:p14="http://schemas.microsoft.com/office/powerpoint/2010/main" val="3835458017"/>
      </p:ext>
    </p:extLst>
  </p:cSld>
  <p:clrMapOvr>
    <a:masterClrMapping/>
  </p:clrMapOvr>
  <p:transition>
    <p:strips dir="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tângulo de cantos arredondados 30"/>
          <p:cNvSpPr/>
          <p:nvPr/>
        </p:nvSpPr>
        <p:spPr>
          <a:xfrm>
            <a:off x="9175998" y="2309814"/>
            <a:ext cx="1597820" cy="169307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pt-BR"/>
          </a:p>
        </p:txBody>
      </p:sp>
      <p:sp>
        <p:nvSpPr>
          <p:cNvPr id="29" name="Retângulo de cantos arredondados 28"/>
          <p:cNvSpPr/>
          <p:nvPr/>
        </p:nvSpPr>
        <p:spPr>
          <a:xfrm>
            <a:off x="4584948" y="2088359"/>
            <a:ext cx="1597820" cy="268843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pt-BR"/>
          </a:p>
        </p:txBody>
      </p:sp>
      <p:sp>
        <p:nvSpPr>
          <p:cNvPr id="2" name="Retângulo de cantos arredondados 1"/>
          <p:cNvSpPr/>
          <p:nvPr/>
        </p:nvSpPr>
        <p:spPr>
          <a:xfrm>
            <a:off x="-3720" y="2100264"/>
            <a:ext cx="1597818" cy="205502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pt-BR"/>
          </a:p>
        </p:txBody>
      </p:sp>
      <p:sp>
        <p:nvSpPr>
          <p:cNvPr id="5" name="Retângulo 4"/>
          <p:cNvSpPr/>
          <p:nvPr/>
        </p:nvSpPr>
        <p:spPr bwMode="auto">
          <a:xfrm>
            <a:off x="408236" y="2100264"/>
            <a:ext cx="4026695" cy="7665245"/>
          </a:xfrm>
          <a:prstGeom prst="rect">
            <a:avLst/>
          </a:prstGeom>
        </p:spPr>
        <p:style>
          <a:lnRef idx="2">
            <a:schemeClr val="dk1"/>
          </a:lnRef>
          <a:fillRef idx="1">
            <a:schemeClr val="lt1"/>
          </a:fillRef>
          <a:effectRef idx="0">
            <a:schemeClr val="dk1"/>
          </a:effectRef>
          <a:fontRef idx="minor">
            <a:schemeClr val="dk1"/>
          </a:fontRef>
        </p:style>
      </p:sp>
      <p:sp>
        <p:nvSpPr>
          <p:cNvPr id="6" name="Retângulo 5"/>
          <p:cNvSpPr/>
          <p:nvPr/>
        </p:nvSpPr>
        <p:spPr bwMode="auto">
          <a:xfrm>
            <a:off x="505867" y="1557339"/>
            <a:ext cx="3895725" cy="7850982"/>
          </a:xfrm>
          <a:prstGeom prst="rect">
            <a:avLst/>
          </a:prstGeom>
        </p:spPr>
        <p:style>
          <a:lnRef idx="0">
            <a:scrgbClr r="0" g="0" b="0"/>
          </a:lnRef>
          <a:fillRef idx="0">
            <a:scrgbClr r="0" g="0" b="0"/>
          </a:fillRef>
          <a:effectRef idx="0">
            <a:scrgbClr r="0" g="0" b="0"/>
          </a:effectRef>
          <a:fontRef idx="minor">
            <a:schemeClr val="lt1"/>
          </a:fontRef>
        </p:style>
        <p:txBody>
          <a:bodyPr lIns="160020" tIns="533691" rIns="160020" bIns="160020" spcCol="1270"/>
          <a:lstStyle/>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e implementar uma  Metodologia</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Métricas (</a:t>
            </a:r>
            <a:r>
              <a:rPr lang="pt-BR" sz="2100" dirty="0" err="1">
                <a:solidFill>
                  <a:schemeClr val="tx1"/>
                </a:solidFill>
                <a:latin typeface="Calibri" panose="020F0502020204030204" pitchFamily="34" charset="0"/>
              </a:rPr>
              <a:t>KPI’s</a:t>
            </a:r>
            <a:r>
              <a:rPr lang="pt-BR" sz="2100" dirty="0">
                <a:solidFill>
                  <a:schemeClr val="tx1"/>
                </a:solidFill>
                <a:latin typeface="Calibri" panose="020F0502020204030204" pitchFamily="34" charset="0"/>
              </a:rPr>
              <a:t>)</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Implementar Base de Conhecimento</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Selecionar ferramentas e técnicas e padronizar</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modelos de documentos e padronizar</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Implementar mecanismo de alocação de recurso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Implementar mecanismo de apontamento de hora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Acompanhar melhores práticas do mercado, avaliar e implementar (se agregar valor)</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método para geração de propostas para terceiros e mercado</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Indicar GP e recursos mais adequados ao perfil do projeto (mapa de competência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Consolidar informações</a:t>
            </a:r>
          </a:p>
          <a:p>
            <a:pPr marL="0" lvl="1" defTabSz="1000125">
              <a:lnSpc>
                <a:spcPct val="90000"/>
              </a:lnSpc>
              <a:spcAft>
                <a:spcPct val="15000"/>
              </a:spcAft>
              <a:defRPr/>
            </a:pPr>
            <a:endParaRPr lang="pt-BR" sz="2100" dirty="0">
              <a:solidFill>
                <a:schemeClr val="tx1"/>
              </a:solidFill>
              <a:latin typeface="Calibri" panose="020F0502020204030204" pitchFamily="34" charset="0"/>
            </a:endParaRPr>
          </a:p>
        </p:txBody>
      </p:sp>
      <p:grpSp>
        <p:nvGrpSpPr>
          <p:cNvPr id="15367" name="Grupo 6"/>
          <p:cNvGrpSpPr>
            <a:grpSpLocks/>
          </p:cNvGrpSpPr>
          <p:nvPr/>
        </p:nvGrpSpPr>
        <p:grpSpPr bwMode="auto">
          <a:xfrm>
            <a:off x="-184697" y="1285877"/>
            <a:ext cx="823914" cy="7386638"/>
            <a:chOff x="1" y="792102"/>
            <a:chExt cx="548755" cy="4924735"/>
          </a:xfrm>
        </p:grpSpPr>
        <p:sp>
          <p:nvSpPr>
            <p:cNvPr id="8" name="Retângulo 7"/>
            <p:cNvSpPr/>
            <p:nvPr/>
          </p:nvSpPr>
          <p:spPr>
            <a:xfrm rot="16200000">
              <a:off x="-2101391" y="2893494"/>
              <a:ext cx="4605628" cy="40284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Retângulo 8"/>
            <p:cNvSpPr/>
            <p:nvPr/>
          </p:nvSpPr>
          <p:spPr>
            <a:xfrm rot="16200000">
              <a:off x="-1955479" y="3212602"/>
              <a:ext cx="4605627" cy="4028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533691" bIns="0" spcCol="1270"/>
            <a:lstStyle/>
            <a:p>
              <a:pPr algn="r" defTabSz="2000250">
                <a:lnSpc>
                  <a:spcPct val="90000"/>
                </a:lnSpc>
                <a:spcAft>
                  <a:spcPct val="35000"/>
                </a:spcAft>
                <a:defRPr/>
              </a:pPr>
              <a:r>
                <a:rPr lang="pt-BR" b="0" dirty="0">
                  <a:solidFill>
                    <a:schemeClr val="bg1"/>
                  </a:solidFill>
                </a:rPr>
                <a:t>Organização</a:t>
              </a:r>
            </a:p>
          </p:txBody>
        </p:sp>
      </p:grpSp>
      <p:grpSp>
        <p:nvGrpSpPr>
          <p:cNvPr id="15368" name="Grupo 13"/>
          <p:cNvGrpSpPr>
            <a:grpSpLocks/>
          </p:cNvGrpSpPr>
          <p:nvPr/>
        </p:nvGrpSpPr>
        <p:grpSpPr bwMode="auto">
          <a:xfrm>
            <a:off x="4732586" y="1728789"/>
            <a:ext cx="757238" cy="6998495"/>
            <a:chOff x="2819230" y="732694"/>
            <a:chExt cx="506097" cy="4665016"/>
          </a:xfrm>
        </p:grpSpPr>
        <p:sp>
          <p:nvSpPr>
            <p:cNvPr id="15" name="Retângulo 14"/>
            <p:cNvSpPr/>
            <p:nvPr/>
          </p:nvSpPr>
          <p:spPr>
            <a:xfrm rot="16200000">
              <a:off x="820859" y="2893242"/>
              <a:ext cx="4606286" cy="40264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Retângulo 15"/>
            <p:cNvSpPr/>
            <p:nvPr/>
          </p:nvSpPr>
          <p:spPr>
            <a:xfrm rot="16200000">
              <a:off x="717411" y="2834513"/>
              <a:ext cx="4606286" cy="4026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533691" bIns="0" spcCol="1270"/>
            <a:lstStyle/>
            <a:p>
              <a:pPr algn="r" defTabSz="2000250">
                <a:lnSpc>
                  <a:spcPct val="90000"/>
                </a:lnSpc>
                <a:spcAft>
                  <a:spcPct val="35000"/>
                </a:spcAft>
                <a:defRPr/>
              </a:pPr>
              <a:r>
                <a:rPr lang="pt-BR" b="0" dirty="0">
                  <a:solidFill>
                    <a:schemeClr val="bg1"/>
                  </a:solidFill>
                </a:rPr>
                <a:t>Capital Intelectual</a:t>
              </a:r>
            </a:p>
          </p:txBody>
        </p:sp>
      </p:grpSp>
      <p:grpSp>
        <p:nvGrpSpPr>
          <p:cNvPr id="15369" name="Grupo 19"/>
          <p:cNvGrpSpPr>
            <a:grpSpLocks/>
          </p:cNvGrpSpPr>
          <p:nvPr/>
        </p:nvGrpSpPr>
        <p:grpSpPr bwMode="auto">
          <a:xfrm>
            <a:off x="9303545" y="773908"/>
            <a:ext cx="647700" cy="8165306"/>
            <a:chOff x="6018252" y="936120"/>
            <a:chExt cx="432515" cy="5442161"/>
          </a:xfrm>
        </p:grpSpPr>
        <p:sp>
          <p:nvSpPr>
            <p:cNvPr id="21" name="Retângulo 20"/>
            <p:cNvSpPr/>
            <p:nvPr/>
          </p:nvSpPr>
          <p:spPr>
            <a:xfrm rot="16200000">
              <a:off x="3917318" y="3037054"/>
              <a:ext cx="4605760" cy="40389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2" name="Retângulo 21"/>
            <p:cNvSpPr/>
            <p:nvPr/>
          </p:nvSpPr>
          <p:spPr>
            <a:xfrm rot="16200000">
              <a:off x="3945940" y="3873454"/>
              <a:ext cx="4605760" cy="4038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533691" bIns="0" spcCol="1270"/>
            <a:lstStyle/>
            <a:p>
              <a:pPr algn="r" defTabSz="2000250">
                <a:lnSpc>
                  <a:spcPct val="90000"/>
                </a:lnSpc>
                <a:spcAft>
                  <a:spcPct val="35000"/>
                </a:spcAft>
                <a:defRPr/>
              </a:pPr>
              <a:r>
                <a:rPr lang="pt-BR" b="0" dirty="0">
                  <a:solidFill>
                    <a:schemeClr val="bg1"/>
                  </a:solidFill>
                </a:rPr>
                <a:t>Estratégia</a:t>
              </a:r>
            </a:p>
          </p:txBody>
        </p:sp>
      </p:grpSp>
      <p:sp>
        <p:nvSpPr>
          <p:cNvPr id="15370" name="Rectangle 2"/>
          <p:cNvSpPr>
            <a:spLocks noChangeArrowheads="1"/>
          </p:cNvSpPr>
          <p:nvPr/>
        </p:nvSpPr>
        <p:spPr bwMode="auto">
          <a:xfrm>
            <a:off x="233363" y="288132"/>
            <a:ext cx="1056322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dirty="0">
                <a:solidFill>
                  <a:schemeClr val="tx1"/>
                </a:solidFill>
                <a:latin typeface="Arial" panose="020B0604020202020204" pitchFamily="34" charset="0"/>
              </a:rPr>
              <a:t>Cadeia de Valor-PMO - EGP</a:t>
            </a:r>
            <a:endParaRPr lang="en-GB" altLang="pt-BR" sz="3600" dirty="0">
              <a:solidFill>
                <a:schemeClr val="tx1"/>
              </a:solidFill>
              <a:latin typeface="Arial" panose="020B0604020202020204" pitchFamily="34" charset="0"/>
            </a:endParaRPr>
          </a:p>
        </p:txBody>
      </p:sp>
      <p:sp>
        <p:nvSpPr>
          <p:cNvPr id="25" name="Retângulo 24"/>
          <p:cNvSpPr/>
          <p:nvPr/>
        </p:nvSpPr>
        <p:spPr bwMode="auto">
          <a:xfrm>
            <a:off x="5082630" y="2100264"/>
            <a:ext cx="3976688" cy="7670007"/>
          </a:xfrm>
          <a:prstGeom prst="rect">
            <a:avLst/>
          </a:prstGeom>
        </p:spPr>
        <p:style>
          <a:lnRef idx="2">
            <a:schemeClr val="dk1"/>
          </a:lnRef>
          <a:fillRef idx="1">
            <a:schemeClr val="lt1"/>
          </a:fillRef>
          <a:effectRef idx="0">
            <a:schemeClr val="dk1"/>
          </a:effectRef>
          <a:fontRef idx="minor">
            <a:schemeClr val="dk1"/>
          </a:fontRef>
        </p:style>
      </p:sp>
      <p:sp>
        <p:nvSpPr>
          <p:cNvPr id="26" name="Retângulo 25"/>
          <p:cNvSpPr/>
          <p:nvPr/>
        </p:nvSpPr>
        <p:spPr bwMode="auto">
          <a:xfrm>
            <a:off x="9571285" y="2121696"/>
            <a:ext cx="3924300" cy="7665243"/>
          </a:xfrm>
          <a:prstGeom prst="rect">
            <a:avLst/>
          </a:prstGeom>
        </p:spPr>
        <p:style>
          <a:lnRef idx="2">
            <a:schemeClr val="dk1"/>
          </a:lnRef>
          <a:fillRef idx="1">
            <a:schemeClr val="lt1"/>
          </a:fillRef>
          <a:effectRef idx="0">
            <a:schemeClr val="dk1"/>
          </a:effectRef>
          <a:fontRef idx="minor">
            <a:schemeClr val="dk1"/>
          </a:fontRef>
        </p:style>
      </p:sp>
      <p:sp>
        <p:nvSpPr>
          <p:cNvPr id="30" name="Retângulo 29"/>
          <p:cNvSpPr/>
          <p:nvPr/>
        </p:nvSpPr>
        <p:spPr>
          <a:xfrm>
            <a:off x="5101680" y="4176714"/>
            <a:ext cx="123825" cy="3509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a:p>
        </p:txBody>
      </p:sp>
      <p:sp>
        <p:nvSpPr>
          <p:cNvPr id="13" name="Retângulo 12"/>
          <p:cNvSpPr/>
          <p:nvPr/>
        </p:nvSpPr>
        <p:spPr bwMode="auto">
          <a:xfrm>
            <a:off x="5061198" y="1331121"/>
            <a:ext cx="3998120" cy="8470106"/>
          </a:xfrm>
          <a:prstGeom prst="rect">
            <a:avLst/>
          </a:prstGeom>
        </p:spPr>
        <p:style>
          <a:lnRef idx="0">
            <a:scrgbClr r="0" g="0" b="0"/>
          </a:lnRef>
          <a:fillRef idx="0">
            <a:scrgbClr r="0" g="0" b="0"/>
          </a:fillRef>
          <a:effectRef idx="0">
            <a:scrgbClr r="0" g="0" b="0"/>
          </a:effectRef>
          <a:fontRef idx="minor">
            <a:schemeClr val="lt1"/>
          </a:fontRef>
        </p:style>
        <p:txBody>
          <a:bodyPr lIns="160020" tIns="533691" rIns="160020" bIns="160020" spcCol="1270"/>
          <a:lstStyle/>
          <a:p>
            <a:pPr marL="171450" lvl="1" indent="-171450" defTabSz="1000125">
              <a:lnSpc>
                <a:spcPct val="90000"/>
              </a:lnSpc>
              <a:spcAft>
                <a:spcPct val="15000"/>
              </a:spcAft>
              <a:buFontTx/>
              <a:buChar char="••"/>
              <a:defRPr/>
            </a:pPr>
            <a:endParaRPr lang="pt-BR" sz="2100" dirty="0">
              <a:solidFill>
                <a:schemeClr val="tx1"/>
              </a:solidFill>
              <a:latin typeface="Calibri" panose="020F0502020204030204" pitchFamily="34" charset="0"/>
            </a:endParaRP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Recrutar, selecionar e definir base salarial</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Criar plano de carreira</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Promover treinamentos de capacitação</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a:t>
            </a:r>
            <a:r>
              <a:rPr lang="pt-BR" sz="2100" dirty="0" err="1">
                <a:solidFill>
                  <a:schemeClr val="tx1"/>
                </a:solidFill>
                <a:latin typeface="Calibri" panose="020F0502020204030204" pitchFamily="34" charset="0"/>
              </a:rPr>
              <a:t>Workshop’s</a:t>
            </a:r>
            <a:r>
              <a:rPr lang="pt-BR" sz="2100" dirty="0">
                <a:solidFill>
                  <a:schemeClr val="tx1"/>
                </a:solidFill>
                <a:latin typeface="Calibri" panose="020F0502020204030204" pitchFamily="34" charset="0"/>
              </a:rPr>
              <a:t> para troca de experiência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Atuar como segundo nível de escalação, suporte</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Atuar como consultor/tutor para os gestores de projeto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Criar mecanismos de avaliação de desempenho</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o código de ética do profissional</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Implementar universidade corporativa e-</a:t>
            </a:r>
            <a:r>
              <a:rPr lang="pt-BR" sz="2100" dirty="0" err="1">
                <a:solidFill>
                  <a:schemeClr val="tx1"/>
                </a:solidFill>
                <a:latin typeface="Calibri" panose="020F0502020204030204" pitchFamily="34" charset="0"/>
              </a:rPr>
              <a:t>learning</a:t>
            </a:r>
            <a:endParaRPr lang="pt-BR" sz="2100" dirty="0">
              <a:solidFill>
                <a:schemeClr val="tx1"/>
              </a:solidFill>
              <a:latin typeface="Calibri" panose="020F0502020204030204" pitchFamily="34" charset="0"/>
            </a:endParaRP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Desenvolver mecanismo de apoio administrativo para gestores de projetos</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Pesquisa de clima organizacional</a:t>
            </a:r>
          </a:p>
          <a:p>
            <a:pPr marL="171450" lvl="1" indent="-171450" defTabSz="1000125">
              <a:lnSpc>
                <a:spcPct val="90000"/>
              </a:lnSpc>
              <a:spcAft>
                <a:spcPct val="15000"/>
              </a:spcAft>
              <a:buFontTx/>
              <a:buChar char="••"/>
              <a:defRPr/>
            </a:pPr>
            <a:r>
              <a:rPr lang="pt-BR" sz="2100" dirty="0">
                <a:solidFill>
                  <a:schemeClr val="tx1"/>
                </a:solidFill>
                <a:latin typeface="Calibri" panose="020F0502020204030204" pitchFamily="34" charset="0"/>
              </a:rPr>
              <a:t>Otimização de uso de            recursos compartilhados</a:t>
            </a:r>
          </a:p>
        </p:txBody>
      </p:sp>
      <p:sp>
        <p:nvSpPr>
          <p:cNvPr id="19" name="Retângulo 18"/>
          <p:cNvSpPr/>
          <p:nvPr/>
        </p:nvSpPr>
        <p:spPr bwMode="auto">
          <a:xfrm>
            <a:off x="9571285" y="1421608"/>
            <a:ext cx="3845719" cy="7684293"/>
          </a:xfrm>
          <a:prstGeom prst="rect">
            <a:avLst/>
          </a:prstGeom>
        </p:spPr>
        <p:style>
          <a:lnRef idx="0">
            <a:scrgbClr r="0" g="0" b="0"/>
          </a:lnRef>
          <a:fillRef idx="0">
            <a:scrgbClr r="0" g="0" b="0"/>
          </a:fillRef>
          <a:effectRef idx="0">
            <a:scrgbClr r="0" g="0" b="0"/>
          </a:effectRef>
          <a:fontRef idx="minor">
            <a:schemeClr val="lt1"/>
          </a:fontRef>
        </p:style>
        <p:txBody>
          <a:bodyPr lIns="160020" tIns="533691" rIns="160020" bIns="160020"/>
          <a:lstStyle>
            <a:lvl1pPr marL="342900" indent="-342900" defTabSz="666750">
              <a:defRPr sz="1000">
                <a:solidFill>
                  <a:schemeClr val="tx1"/>
                </a:solidFill>
                <a:latin typeface="Helvetica" panose="020B0604020202020204" pitchFamily="34" charset="0"/>
              </a:defRPr>
            </a:lvl1pPr>
            <a:lvl2pPr marL="114300" indent="-114300" defTabSz="666750">
              <a:defRPr sz="1000">
                <a:solidFill>
                  <a:schemeClr val="tx1"/>
                </a:solidFill>
                <a:latin typeface="Helvetica" panose="020B0604020202020204" pitchFamily="34" charset="0"/>
              </a:defRPr>
            </a:lvl2pPr>
            <a:lvl3pPr marL="1143000" indent="-228600" defTabSz="666750">
              <a:defRPr sz="1000">
                <a:solidFill>
                  <a:schemeClr val="tx1"/>
                </a:solidFill>
                <a:latin typeface="Helvetica" panose="020B0604020202020204" pitchFamily="34" charset="0"/>
              </a:defRPr>
            </a:lvl3pPr>
            <a:lvl4pPr marL="1600200" indent="-228600" defTabSz="666750">
              <a:defRPr sz="1000">
                <a:solidFill>
                  <a:schemeClr val="tx1"/>
                </a:solidFill>
                <a:latin typeface="Helvetica" panose="020B0604020202020204" pitchFamily="34" charset="0"/>
              </a:defRPr>
            </a:lvl4pPr>
            <a:lvl5pPr marL="2057400" indent="-228600" defTabSz="666750">
              <a:defRPr sz="1000">
                <a:solidFill>
                  <a:schemeClr val="tx1"/>
                </a:solidFill>
                <a:latin typeface="Helvetica" panose="020B0604020202020204" pitchFamily="34" charset="0"/>
              </a:defRPr>
            </a:lvl5pPr>
            <a:lvl6pPr marL="2514600" indent="-228600" defTabSz="666750" eaLnBrk="0" fontAlgn="base" hangingPunct="0">
              <a:spcBef>
                <a:spcPct val="0"/>
              </a:spcBef>
              <a:spcAft>
                <a:spcPct val="0"/>
              </a:spcAft>
              <a:defRPr sz="1000">
                <a:solidFill>
                  <a:schemeClr val="tx1"/>
                </a:solidFill>
                <a:latin typeface="Helvetica" panose="020B0604020202020204" pitchFamily="34" charset="0"/>
              </a:defRPr>
            </a:lvl6pPr>
            <a:lvl7pPr marL="2971800" indent="-228600" defTabSz="666750" eaLnBrk="0" fontAlgn="base" hangingPunct="0">
              <a:spcBef>
                <a:spcPct val="0"/>
              </a:spcBef>
              <a:spcAft>
                <a:spcPct val="0"/>
              </a:spcAft>
              <a:defRPr sz="1000">
                <a:solidFill>
                  <a:schemeClr val="tx1"/>
                </a:solidFill>
                <a:latin typeface="Helvetica" panose="020B0604020202020204" pitchFamily="34" charset="0"/>
              </a:defRPr>
            </a:lvl7pPr>
            <a:lvl8pPr marL="3429000" indent="-228600" defTabSz="666750" eaLnBrk="0" fontAlgn="base" hangingPunct="0">
              <a:spcBef>
                <a:spcPct val="0"/>
              </a:spcBef>
              <a:spcAft>
                <a:spcPct val="0"/>
              </a:spcAft>
              <a:defRPr sz="1000">
                <a:solidFill>
                  <a:schemeClr val="tx1"/>
                </a:solidFill>
                <a:latin typeface="Helvetica" panose="020B0604020202020204" pitchFamily="34" charset="0"/>
              </a:defRPr>
            </a:lvl8pPr>
            <a:lvl9pPr marL="3886200" indent="-228600" defTabSz="666750" eaLnBrk="0" fontAlgn="base" hangingPunct="0">
              <a:spcBef>
                <a:spcPct val="0"/>
              </a:spcBef>
              <a:spcAft>
                <a:spcPct val="0"/>
              </a:spcAft>
              <a:defRPr sz="1000">
                <a:solidFill>
                  <a:schemeClr val="tx1"/>
                </a:solidFill>
                <a:latin typeface="Helvetica" panose="020B0604020202020204" pitchFamily="34" charset="0"/>
              </a:defRPr>
            </a:lvl9pPr>
          </a:lstStyle>
          <a:p>
            <a:pPr lvl="1">
              <a:lnSpc>
                <a:spcPct val="90000"/>
              </a:lnSpc>
              <a:spcAft>
                <a:spcPct val="15000"/>
              </a:spcAft>
              <a:buFontTx/>
              <a:buChar char="•"/>
              <a:defRPr/>
            </a:pPr>
            <a:endParaRPr lang="pt-BR" sz="2100" dirty="0">
              <a:latin typeface="Calibri" panose="020F0502020204030204" pitchFamily="34" charset="0"/>
            </a:endParaRPr>
          </a:p>
          <a:p>
            <a:pPr lvl="1">
              <a:lnSpc>
                <a:spcPct val="90000"/>
              </a:lnSpc>
              <a:spcAft>
                <a:spcPct val="15000"/>
              </a:spcAft>
              <a:buFontTx/>
              <a:buChar char="•"/>
              <a:defRPr/>
            </a:pPr>
            <a:r>
              <a:rPr lang="pt-BR" sz="2100" dirty="0">
                <a:latin typeface="Calibri" panose="020F0502020204030204" pitchFamily="34" charset="0"/>
              </a:rPr>
              <a:t>Monitorar  e Controlar  o </a:t>
            </a:r>
            <a:br>
              <a:rPr lang="pt-BR" sz="2100" dirty="0">
                <a:latin typeface="Calibri" panose="020F0502020204030204" pitchFamily="34" charset="0"/>
              </a:rPr>
            </a:br>
            <a:r>
              <a:rPr lang="pt-BR" sz="2100" dirty="0">
                <a:latin typeface="Calibri" panose="020F0502020204030204" pitchFamily="34" charset="0"/>
              </a:rPr>
              <a:t>Desempenho </a:t>
            </a:r>
            <a:br>
              <a:rPr lang="pt-BR" sz="2100" dirty="0">
                <a:latin typeface="Calibri" panose="020F0502020204030204" pitchFamily="34" charset="0"/>
              </a:rPr>
            </a:br>
            <a:r>
              <a:rPr lang="pt-BR" sz="2100" dirty="0">
                <a:latin typeface="Calibri" panose="020F0502020204030204" pitchFamily="34" charset="0"/>
              </a:rPr>
              <a:t>dos  Projetos </a:t>
            </a:r>
          </a:p>
          <a:p>
            <a:pPr lvl="1">
              <a:lnSpc>
                <a:spcPct val="90000"/>
              </a:lnSpc>
              <a:spcAft>
                <a:spcPct val="15000"/>
              </a:spcAft>
              <a:buFontTx/>
              <a:buChar char="•"/>
              <a:defRPr/>
            </a:pPr>
            <a:r>
              <a:rPr lang="pt-BR" sz="2100" dirty="0">
                <a:latin typeface="Calibri" panose="020F0502020204030204" pitchFamily="34" charset="0"/>
              </a:rPr>
              <a:t>Informar o status dos projetos para alta gerência</a:t>
            </a:r>
          </a:p>
          <a:p>
            <a:pPr lvl="1">
              <a:lnSpc>
                <a:spcPct val="90000"/>
              </a:lnSpc>
              <a:spcAft>
                <a:spcPct val="15000"/>
              </a:spcAft>
              <a:buFontTx/>
              <a:buChar char="•"/>
              <a:defRPr/>
            </a:pPr>
            <a:r>
              <a:rPr lang="pt-BR" sz="2100" dirty="0">
                <a:latin typeface="Calibri" panose="020F0502020204030204" pitchFamily="34" charset="0"/>
              </a:rPr>
              <a:t>Participar do planejamento estratégico da empresa</a:t>
            </a:r>
          </a:p>
          <a:p>
            <a:pPr lvl="1">
              <a:lnSpc>
                <a:spcPct val="90000"/>
              </a:lnSpc>
              <a:spcAft>
                <a:spcPct val="15000"/>
              </a:spcAft>
              <a:buFontTx/>
              <a:buChar char="•"/>
              <a:defRPr/>
            </a:pPr>
            <a:r>
              <a:rPr lang="pt-BR" sz="2100" dirty="0">
                <a:latin typeface="Calibri" panose="020F0502020204030204" pitchFamily="34" charset="0"/>
              </a:rPr>
              <a:t>Identificar, categorizar, selecionar e priorizar projetos (gestão de portfólio)</a:t>
            </a:r>
          </a:p>
          <a:p>
            <a:pPr lvl="1">
              <a:lnSpc>
                <a:spcPct val="90000"/>
              </a:lnSpc>
              <a:spcAft>
                <a:spcPct val="15000"/>
              </a:spcAft>
              <a:buFontTx/>
              <a:buChar char="•"/>
              <a:defRPr/>
            </a:pPr>
            <a:r>
              <a:rPr lang="pt-BR" sz="2100" dirty="0">
                <a:latin typeface="Calibri" panose="020F0502020204030204" pitchFamily="34" charset="0"/>
              </a:rPr>
              <a:t>Conduzir auditorias em projetos e pós projetos</a:t>
            </a:r>
          </a:p>
          <a:p>
            <a:pPr lvl="1">
              <a:lnSpc>
                <a:spcPct val="90000"/>
              </a:lnSpc>
              <a:spcAft>
                <a:spcPct val="15000"/>
              </a:spcAft>
              <a:buFontTx/>
              <a:buChar char="•"/>
              <a:defRPr/>
            </a:pPr>
            <a:r>
              <a:rPr lang="pt-BR" sz="2100" dirty="0">
                <a:latin typeface="Calibri" panose="020F0502020204030204" pitchFamily="34" charset="0"/>
              </a:rPr>
              <a:t>Promover aconselhamento  à alta direção</a:t>
            </a:r>
          </a:p>
          <a:p>
            <a:pPr lvl="1">
              <a:lnSpc>
                <a:spcPct val="90000"/>
              </a:lnSpc>
              <a:spcAft>
                <a:spcPct val="15000"/>
              </a:spcAft>
              <a:buFontTx/>
              <a:buChar char="•"/>
              <a:defRPr/>
            </a:pPr>
            <a:r>
              <a:rPr lang="pt-BR" sz="2100" dirty="0">
                <a:latin typeface="Calibri" panose="020F0502020204030204" pitchFamily="34" charset="0"/>
              </a:rPr>
              <a:t>Avaliar o performance do PMO</a:t>
            </a:r>
          </a:p>
          <a:p>
            <a:pPr lvl="1">
              <a:lnSpc>
                <a:spcPct val="90000"/>
              </a:lnSpc>
              <a:spcAft>
                <a:spcPct val="15000"/>
              </a:spcAft>
              <a:buFontTx/>
              <a:buChar char="•"/>
              <a:defRPr/>
            </a:pPr>
            <a:r>
              <a:rPr lang="pt-BR" sz="2100" dirty="0">
                <a:latin typeface="Calibri" panose="020F0502020204030204" pitchFamily="34" charset="0"/>
              </a:rPr>
              <a:t>Ativação de sala de guerra, se necessário</a:t>
            </a:r>
          </a:p>
          <a:p>
            <a:pPr lvl="1">
              <a:lnSpc>
                <a:spcPct val="90000"/>
              </a:lnSpc>
              <a:spcAft>
                <a:spcPct val="15000"/>
              </a:spcAft>
              <a:buFontTx/>
              <a:buChar char="•"/>
              <a:defRPr/>
            </a:pPr>
            <a:r>
              <a:rPr lang="pt-BR" sz="2100" dirty="0">
                <a:latin typeface="Calibri" panose="020F0502020204030204" pitchFamily="34" charset="0"/>
              </a:rPr>
              <a:t>Avaliar, selecionar e classificar fornecedores de serviços</a:t>
            </a:r>
          </a:p>
          <a:p>
            <a:pPr lvl="1">
              <a:lnSpc>
                <a:spcPct val="90000"/>
              </a:lnSpc>
              <a:spcAft>
                <a:spcPct val="15000"/>
              </a:spcAft>
              <a:buFontTx/>
              <a:buChar char="•"/>
              <a:defRPr/>
            </a:pPr>
            <a:r>
              <a:rPr lang="pt-BR" sz="2100" dirty="0">
                <a:latin typeface="Calibri" panose="020F0502020204030204" pitchFamily="34" charset="0"/>
              </a:rPr>
              <a:t>melhoria contínua (ouvidoria), benchmarking de mercado</a:t>
            </a:r>
          </a:p>
          <a:p>
            <a:pPr lvl="1">
              <a:lnSpc>
                <a:spcPct val="90000"/>
              </a:lnSpc>
              <a:spcAft>
                <a:spcPct val="15000"/>
              </a:spcAft>
              <a:buFontTx/>
              <a:buChar char="•"/>
              <a:defRPr/>
            </a:pPr>
            <a:endParaRPr lang="pt-BR" sz="2400" dirty="0">
              <a:latin typeface="Calibri" panose="020F0502020204030204" pitchFamily="34" charset="0"/>
            </a:endParaRPr>
          </a:p>
          <a:p>
            <a:pPr lvl="1">
              <a:lnSpc>
                <a:spcPct val="90000"/>
              </a:lnSpc>
              <a:spcAft>
                <a:spcPct val="15000"/>
              </a:spcAft>
              <a:buFontTx/>
              <a:buChar char="•"/>
              <a:defRPr/>
            </a:pPr>
            <a:endParaRPr lang="pt-BR" sz="2400" dirty="0">
              <a:solidFill>
                <a:srgbClr val="FFFFFF"/>
              </a:solidFill>
              <a:latin typeface="Times New Roman" panose="02020603050405020304" pitchFamily="18" charset="0"/>
            </a:endParaRPr>
          </a:p>
        </p:txBody>
      </p:sp>
      <p:sp>
        <p:nvSpPr>
          <p:cNvPr id="28" name="Right Arrow 99"/>
          <p:cNvSpPr/>
          <p:nvPr/>
        </p:nvSpPr>
        <p:spPr bwMode="auto">
          <a:xfrm>
            <a:off x="377280" y="1285876"/>
            <a:ext cx="12856368" cy="742950"/>
          </a:xfrm>
          <a:prstGeom prst="rightArrow">
            <a:avLst>
              <a:gd name="adj1" fmla="val 70402"/>
              <a:gd name="adj2" fmla="val 50000"/>
            </a:avLst>
          </a:prstGeom>
          <a:ln>
            <a:headEnd/>
            <a:tailEnd/>
          </a:ln>
        </p:spPr>
        <p:style>
          <a:lnRef idx="2">
            <a:schemeClr val="dk1">
              <a:shade val="50000"/>
            </a:schemeClr>
          </a:lnRef>
          <a:fillRef idx="1">
            <a:schemeClr val="dk1"/>
          </a:fillRef>
          <a:effectRef idx="0">
            <a:schemeClr val="dk1"/>
          </a:effectRef>
          <a:fontRef idx="minor">
            <a:schemeClr val="lt1"/>
          </a:fontRef>
        </p:style>
        <p:txBody>
          <a:bodyPr lIns="162000" tIns="0" bIns="0" anchor="ctr"/>
          <a:lstStyle/>
          <a:p>
            <a:pPr marL="285750" indent="-285750">
              <a:lnSpc>
                <a:spcPts val="1800"/>
              </a:lnSpc>
              <a:buSzPct val="80000"/>
              <a:defRPr/>
            </a:pPr>
            <a:r>
              <a:rPr lang="pt-BR" dirty="0">
                <a:solidFill>
                  <a:schemeClr val="bg1"/>
                </a:solidFill>
                <a:ea typeface="Arial" pitchFamily="-111" charset="0"/>
                <a:cs typeface="Arial" pitchFamily="-111" charset="0"/>
              </a:rPr>
              <a:t>                  </a:t>
            </a:r>
            <a:r>
              <a:rPr lang="pt-BR" dirty="0">
                <a:solidFill>
                  <a:schemeClr val="bg1"/>
                </a:solidFill>
                <a:latin typeface="Calibri" panose="020F0502020204030204" pitchFamily="34" charset="0"/>
                <a:ea typeface="Arial" pitchFamily="-111" charset="0"/>
                <a:cs typeface="Arial" pitchFamily="-111" charset="0"/>
              </a:rPr>
              <a:t>Padronização		                                  Retenção                                                       Diferenciação Competitiva</a:t>
            </a:r>
          </a:p>
        </p:txBody>
      </p:sp>
      <p:grpSp>
        <p:nvGrpSpPr>
          <p:cNvPr id="15377" name="Elipse 3"/>
          <p:cNvGrpSpPr>
            <a:grpSpLocks/>
          </p:cNvGrpSpPr>
          <p:nvPr/>
        </p:nvGrpSpPr>
        <p:grpSpPr bwMode="auto">
          <a:xfrm>
            <a:off x="7978230" y="8651084"/>
            <a:ext cx="1864518" cy="1462088"/>
            <a:chOff x="3395" y="3633"/>
            <a:chExt cx="783" cy="614"/>
          </a:xfrm>
        </p:grpSpPr>
        <p:sp>
          <p:nvSpPr>
            <p:cNvPr id="15388" name="Elipse 3"/>
            <p:cNvSpPr>
              <a:spLocks noChangeArrowheads="1"/>
            </p:cNvSpPr>
            <p:nvPr/>
          </p:nvSpPr>
          <p:spPr bwMode="auto">
            <a:xfrm>
              <a:off x="3395" y="3633"/>
              <a:ext cx="783" cy="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15389" name="Text Box 18"/>
            <p:cNvSpPr txBox="1">
              <a:spLocks noChangeArrowheads="1"/>
            </p:cNvSpPr>
            <p:nvPr/>
          </p:nvSpPr>
          <p:spPr bwMode="auto">
            <a:xfrm>
              <a:off x="3537" y="3736"/>
              <a:ext cx="501"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2700">
                <a:solidFill>
                  <a:srgbClr val="FFFFFF"/>
                </a:solidFill>
              </a:endParaRPr>
            </a:p>
          </p:txBody>
        </p:sp>
      </p:grpSp>
      <p:sp>
        <p:nvSpPr>
          <p:cNvPr id="15378" name="Picture 2" descr="http://evolvebr.files.wordpress.com/2011/04/pmo.jpg"/>
          <p:cNvSpPr>
            <a:spLocks noChangeAspect="1" noChangeArrowheads="1"/>
          </p:cNvSpPr>
          <p:nvPr/>
        </p:nvSpPr>
        <p:spPr bwMode="auto">
          <a:xfrm>
            <a:off x="8380660" y="8827296"/>
            <a:ext cx="1047750" cy="1054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grpSp>
        <p:nvGrpSpPr>
          <p:cNvPr id="15379" name="Elipse 32"/>
          <p:cNvGrpSpPr>
            <a:grpSpLocks/>
          </p:cNvGrpSpPr>
          <p:nvPr/>
        </p:nvGrpSpPr>
        <p:grpSpPr bwMode="auto">
          <a:xfrm>
            <a:off x="3358605" y="8651084"/>
            <a:ext cx="1857375" cy="1462088"/>
            <a:chOff x="1455" y="3633"/>
            <a:chExt cx="780" cy="614"/>
          </a:xfrm>
        </p:grpSpPr>
        <p:sp>
          <p:nvSpPr>
            <p:cNvPr id="15386" name="Elipse 32"/>
            <p:cNvSpPr>
              <a:spLocks noChangeArrowheads="1"/>
            </p:cNvSpPr>
            <p:nvPr/>
          </p:nvSpPr>
          <p:spPr bwMode="auto">
            <a:xfrm>
              <a:off x="1455" y="3633"/>
              <a:ext cx="780" cy="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15387" name="Text Box 22"/>
            <p:cNvSpPr txBox="1">
              <a:spLocks noChangeArrowheads="1"/>
            </p:cNvSpPr>
            <p:nvPr/>
          </p:nvSpPr>
          <p:spPr bwMode="auto">
            <a:xfrm>
              <a:off x="1597" y="3736"/>
              <a:ext cx="500"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2700">
                <a:solidFill>
                  <a:srgbClr val="FFFFFF"/>
                </a:solidFill>
              </a:endParaRPr>
            </a:p>
          </p:txBody>
        </p:sp>
      </p:grpSp>
      <p:grpSp>
        <p:nvGrpSpPr>
          <p:cNvPr id="15380" name="Elipse 33"/>
          <p:cNvGrpSpPr>
            <a:grpSpLocks/>
          </p:cNvGrpSpPr>
          <p:nvPr/>
        </p:nvGrpSpPr>
        <p:grpSpPr bwMode="auto">
          <a:xfrm>
            <a:off x="11964442" y="8651084"/>
            <a:ext cx="1864518" cy="1462088"/>
            <a:chOff x="5069" y="3633"/>
            <a:chExt cx="783" cy="614"/>
          </a:xfrm>
        </p:grpSpPr>
        <p:sp>
          <p:nvSpPr>
            <p:cNvPr id="15384" name="Elipse 33"/>
            <p:cNvSpPr>
              <a:spLocks noChangeArrowheads="1"/>
            </p:cNvSpPr>
            <p:nvPr/>
          </p:nvSpPr>
          <p:spPr bwMode="auto">
            <a:xfrm>
              <a:off x="5069" y="3633"/>
              <a:ext cx="783" cy="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15385" name="Text Box 25"/>
            <p:cNvSpPr txBox="1">
              <a:spLocks noChangeArrowheads="1"/>
            </p:cNvSpPr>
            <p:nvPr/>
          </p:nvSpPr>
          <p:spPr bwMode="auto">
            <a:xfrm>
              <a:off x="5211" y="3736"/>
              <a:ext cx="501"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2700">
                <a:solidFill>
                  <a:srgbClr val="FFFFFF"/>
                </a:solidFill>
              </a:endParaRPr>
            </a:p>
          </p:txBody>
        </p:sp>
      </p:grpSp>
      <p:sp>
        <p:nvSpPr>
          <p:cNvPr id="15381" name="Picture 4" descr="http://www.ricardo-vargas.com/wp-content/uploads/6483092.jpg"/>
          <p:cNvSpPr>
            <a:spLocks noChangeAspect="1" noChangeArrowheads="1"/>
          </p:cNvSpPr>
          <p:nvPr/>
        </p:nvSpPr>
        <p:spPr bwMode="auto">
          <a:xfrm>
            <a:off x="3811043" y="8817771"/>
            <a:ext cx="1002506"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15382" name="Picture 2" descr="https://encrypted-tbn0.gstatic.com/images?q=tbn:ANd9GcS9gBu1SZ_nf1FWPCOXRRKOQcsFl0K0KmBaBrzPVNn2QudkWm4tbA"/>
          <p:cNvSpPr>
            <a:spLocks noChangeAspect="1" noChangeArrowheads="1"/>
          </p:cNvSpPr>
          <p:nvPr/>
        </p:nvSpPr>
        <p:spPr bwMode="auto">
          <a:xfrm>
            <a:off x="12274005" y="8874921"/>
            <a:ext cx="1281113" cy="959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2700">
              <a:solidFill>
                <a:schemeClr val="tx1"/>
              </a:solidFill>
              <a:latin typeface="Arial" panose="020B0604020202020204" pitchFamily="34" charset="0"/>
            </a:endParaRPr>
          </a:p>
        </p:txBody>
      </p:sp>
      <p:sp>
        <p:nvSpPr>
          <p:cNvPr id="35" name="Shape 822"/>
          <p:cNvSpPr txBox="1"/>
          <p:nvPr/>
        </p:nvSpPr>
        <p:spPr>
          <a:xfrm>
            <a:off x="9826080" y="9141621"/>
            <a:ext cx="1962150" cy="507206"/>
          </a:xfrm>
          <a:prstGeom prst="rect">
            <a:avLst/>
          </a:prstGeom>
          <a:noFill/>
          <a:ln>
            <a:noFill/>
          </a:ln>
        </p:spPr>
        <p:txBody>
          <a:bodyPr lIns="137138" tIns="68550" rIns="137138" bIns="68550"/>
          <a:lstStyle/>
          <a:p>
            <a:pPr>
              <a:spcBef>
                <a:spcPts val="0"/>
              </a:spcBef>
              <a:spcAft>
                <a:spcPts val="0"/>
              </a:spcAft>
              <a:buSzPct val="25000"/>
              <a:defRPr/>
            </a:pPr>
            <a:r>
              <a:rPr lang="en-US" sz="1575" dirty="0">
                <a:solidFill>
                  <a:schemeClr val="dk1"/>
                </a:solidFill>
                <a:latin typeface="Calibri"/>
                <a:ea typeface="Calibri"/>
                <a:cs typeface="Calibri"/>
                <a:sym typeface="Calibri"/>
              </a:rPr>
              <a:t>Fonte:  </a:t>
            </a:r>
            <a:r>
              <a:rPr lang="en-US" sz="1575" dirty="0" err="1">
                <a:solidFill>
                  <a:schemeClr val="dk1"/>
                </a:solidFill>
                <a:latin typeface="Calibri"/>
                <a:ea typeface="Calibri"/>
                <a:cs typeface="Calibri"/>
                <a:sym typeface="Calibri"/>
              </a:rPr>
              <a:t>Pallesi</a:t>
            </a:r>
            <a:r>
              <a:rPr lang="en-US" sz="1575" dirty="0">
                <a:solidFill>
                  <a:schemeClr val="dk1"/>
                </a:solidFill>
                <a:latin typeface="Calibri"/>
                <a:ea typeface="Calibri"/>
                <a:cs typeface="Calibri"/>
                <a:sym typeface="Calibri"/>
              </a:rPr>
              <a:t>, Roberto (2016)</a:t>
            </a:r>
          </a:p>
        </p:txBody>
      </p:sp>
    </p:spTree>
    <p:custDataLst>
      <p:tags r:id="rId1"/>
    </p:custDataLst>
    <p:extLst>
      <p:ext uri="{BB962C8B-B14F-4D97-AF65-F5344CB8AC3E}">
        <p14:creationId xmlns:p14="http://schemas.microsoft.com/office/powerpoint/2010/main" val="2187020023"/>
      </p:ext>
    </p:extLst>
  </p:cSld>
  <p:clrMapOvr>
    <a:masterClrMapping/>
  </p:clrMapOvr>
  <p:transition>
    <p:strips dir="rd"/>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idx="4294967295"/>
          </p:nvPr>
        </p:nvSpPr>
        <p:spPr bwMode="auto">
          <a:xfrm>
            <a:off x="566738" y="173833"/>
            <a:ext cx="11418095" cy="747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b"/>
          <a:lstStyle/>
          <a:p>
            <a:pPr eaLnBrk="1" hangingPunct="1"/>
            <a:r>
              <a:rPr lang="pt-BR" altLang="pt-BR" sz="3600">
                <a:latin typeface="Arial" panose="020B0604020202020204" pitchFamily="34" charset="0"/>
              </a:rPr>
              <a:t>Kerzner</a:t>
            </a:r>
            <a:r>
              <a:rPr lang="pt-BR" altLang="pt-BR" sz="3600"/>
              <a:t>’</a:t>
            </a:r>
            <a:r>
              <a:rPr lang="pt-BR" altLang="pt-BR" sz="3600">
                <a:latin typeface="Arial" panose="020B0604020202020204" pitchFamily="34" charset="0"/>
              </a:rPr>
              <a:t>s PMMM</a:t>
            </a:r>
          </a:p>
        </p:txBody>
      </p:sp>
      <p:sp>
        <p:nvSpPr>
          <p:cNvPr id="67587" name="Rectangle 3"/>
          <p:cNvSpPr>
            <a:spLocks noGrp="1" noChangeArrowheads="1"/>
          </p:cNvSpPr>
          <p:nvPr>
            <p:ph type="body" idx="4294967295"/>
          </p:nvPr>
        </p:nvSpPr>
        <p:spPr>
          <a:xfrm>
            <a:off x="1" y="1676400"/>
            <a:ext cx="13244513" cy="7467600"/>
          </a:xfrm>
          <a:prstGeom prst="rect">
            <a:avLst/>
          </a:prstGeom>
        </p:spPr>
        <p:txBody>
          <a:bodyPr lIns="136145" tIns="68058" rIns="136145" bIns="68058"/>
          <a:lstStyle/>
          <a:p>
            <a:pPr marL="664370" indent="-664370"/>
            <a:r>
              <a:rPr lang="pt-BR" altLang="pt-BR" sz="4200"/>
              <a:t>Define o estágio atual, e </a:t>
            </a:r>
            <a:r>
              <a:rPr lang="pt-BR" altLang="pt-BR" sz="4200" b="1">
                <a:solidFill>
                  <a:srgbClr val="FF0000"/>
                </a:solidFill>
              </a:rPr>
              <a:t>sugere ações </a:t>
            </a:r>
            <a:r>
              <a:rPr lang="pt-BR" altLang="pt-BR" sz="4200"/>
              <a:t>para evolução gradual da Gerência de Projetos na organização;</a:t>
            </a:r>
          </a:p>
          <a:p>
            <a:pPr marL="664370" indent="-664370"/>
            <a:endParaRPr lang="pt-BR" altLang="pt-BR" sz="4200"/>
          </a:p>
          <a:p>
            <a:pPr marL="664370" indent="-664370"/>
            <a:r>
              <a:rPr lang="pt-BR" altLang="pt-BR" sz="4200"/>
              <a:t>Sugere a aplicação prática da Gestão de Mudança, onde se busca minimizar a resistência na implementação do sistema através da disseminação da cultura;</a:t>
            </a:r>
          </a:p>
          <a:p>
            <a:pPr marL="664370" indent="-664370"/>
            <a:endParaRPr lang="pt-BR" altLang="pt-BR" sz="4200"/>
          </a:p>
          <a:p>
            <a:pPr marL="664370" indent="-664370"/>
            <a:r>
              <a:rPr lang="pt-BR" altLang="pt-BR" sz="4200"/>
              <a:t>Orienta o planejamento da Implementação.</a:t>
            </a:r>
          </a:p>
        </p:txBody>
      </p:sp>
      <p:pic>
        <p:nvPicPr>
          <p:cNvPr id="67588" name="Picture 8" descr="http://t2.gstatic.com/images?q=tbn:ANd9GcTE_N5TxiRZYb552SLTslBTpHZGZnSx9c-E8Wf_IXYNc_wmMoT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2376" y="7337995"/>
            <a:ext cx="2705100" cy="294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56479884"/>
      </p:ext>
    </p:extLst>
  </p:cSld>
  <p:clrMapOvr>
    <a:masterClrMapping/>
  </p:clrMapOvr>
  <p:transition spd="slow">
    <p:strips dir="rd"/>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idx="4294967295"/>
          </p:nvPr>
        </p:nvSpPr>
        <p:spPr bwMode="auto">
          <a:xfrm>
            <a:off x="592932" y="1"/>
            <a:ext cx="11418093" cy="747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b"/>
          <a:lstStyle/>
          <a:p>
            <a:pPr eaLnBrk="1" hangingPunct="1"/>
            <a:r>
              <a:rPr lang="pt-BR" altLang="pt-BR" sz="3600">
                <a:latin typeface="Arial" panose="020B0604020202020204" pitchFamily="34" charset="0"/>
              </a:rPr>
              <a:t>Kerzner</a:t>
            </a:r>
            <a:r>
              <a:rPr lang="pt-BR" altLang="pt-BR" sz="3600"/>
              <a:t>’</a:t>
            </a:r>
            <a:r>
              <a:rPr lang="pt-BR" altLang="pt-BR" sz="3600">
                <a:latin typeface="Arial" panose="020B0604020202020204" pitchFamily="34" charset="0"/>
              </a:rPr>
              <a:t>s PMMM</a:t>
            </a:r>
          </a:p>
        </p:txBody>
      </p:sp>
      <p:sp>
        <p:nvSpPr>
          <p:cNvPr id="68611" name="AutoShape 4" descr="data:image/jpeg;base64,/9j/4AAQSkZJRgABAQAAAQABAAD/2wCEAAkGBxQSEhUSEBQQFBUVFBYUFRUVFhQYFRYVGBkXFxUXGBUYHCggGBolHBQVITIkJSkrLi4uFx8zODQxNygtLysBCgoKDg0OGxAQGzQkHyQ3LywtNDQrLCwuMCwsLCwsLC8sMSwtLC0vLCwsLCwsLCwwLCwtLCwsLDAsNjcsLCw3LP/AABEIAKYBLwMBIgACEQEDEQH/xAAcAAEAAgMBAQEAAAAAAAAAAAAABQYDBAcCAQj/xABDEAACAQIDAwgGCAUDBAMAAAABAgADEQQSIQUGMRMiMkFRYXFyIzOBkbHBBxQkNEJSstFic4KhwkODkmOi4fAWU5P/xAAaAQEAAwEBAQAAAAAAAAAAAAAAAQMEAgUG/8QALhEBAAIBAgUCAwgDAAAAAAAAAAECEQMEEiExMjNBUROR0RQiI0JxobHwUoHh/9oADAMBAAIRAxEAPwDuMREBERAREQEREBERAREQEREBERAREQEREBERAREQEREBERAREQEREBEqm2dkYp6lc0nISsuW3KMCMlMGmUH4b1MwbtBjaGzcZVVwzA898gBVVCmnXRLMDc9OkDccQSIFriVwYfGhrByygnKxNPVbt6wBdTYoBltaxvPhwuMXLlbMS1IuxNO5sF5QEZQCOkNO7xAWSIiAiIgJqYvadKkctSoiE62Ygae2bc59vUVG0kL02qjkNUVA5PO7D7r98C5ja9Eo1QVEKoLswIsB4zTob04ZlDB7BmyLfTM3YL8TKtvGAcDUbD0eQS4FRXXKxFxawHA3A9k+4urUpUcPyiUWz1gqnLw6dyL6g6D+8DoKtcAjgdRNTG7UpUmRKjhWe+UHibcbDuvK9jdtV6mI+rYQU1KIpdmBOpFwoAI6hfjNba+MqrVwi10pF2NW5te2VUPNNuBJI8AIFm2ptilh7CodWubDXQWux7FFxqdBcTdo1QyhlNweEo21to8tiaq0+QQUxyZaoCcxIuVsCLLrbr8J9obzMuDR6agHlVplRY8SVOUnS91NvZAvcSlLt7FUq9EVxS5OuCVy3uLC+t+OnWLTPW2zia+IqUsJyarSJUl7nMw6Q04AXA6+PCBYq21KSVVos4FRhcL124XtNyU2tjH+u0EqpTzmnctbndMCwPZreNt7WxVLlHD4dQlyKeuZlHDnX0JHVb3wLlE0di43lqKVDoSJvQEREBERAREQEREBERAREQEREBERAhtq4+ulQrTpkqEQg8nUe5ZyKhupFsigNl4vewtaaGK2njchKUgDkNvROzZstRg2XNw5ijLxvUAvpraJgxeLSkuaowUcNeJPYBxJ7hHQQL7Rxa5slLMAW6SOC12qqtteYAEpm1jo3tmrjN7WpuodCqm+YFGRwhDBGuzDIcwGjAXzaa6THjt5atc5MIpVb2NQ8T2gEX9y3PaVMy7I3Y1z1SS3G7cdeJA/Ce/Vj1kyrjm3b8/p7/wnGOqtYzEY16bCktd818rGo/KIOrQke+yn+EToexK1R6SmsLNYXE2sPhlQWUATNJ09KKZx6kzkiIliCUjeTYuKOPTF4ZKLhaPJ2d2XXNmvop7BLvEClbbwGOxmBr0K1OilRsuQK5K2DKdTlBB0bq7I3g3frVaODVAt6NYVHBP4QHGmmp5wl1iBRNobCxdDGti8GtKoKqItRHYqQ6gqCCFNxYz7tPYmLr1sFWqinejy/KBSbDlFphQtxqLq3G0vUQOf4vdqvRxVatRo4fEUq7Z8tQlWR7WOuRrg8f8A3XNtbYGIr4WmnJUabjE06rIhOUIhubHKLm3cNby9RApm8O79arVwLoFtQDcpc66pl0011mq2xcbhMXXq4NaNWniGNSzsylHbpXspuCbH2e++xApb7DxL47D4mpkIWjkcgnpFw2g7LDtkI26OKAxNI0qFQ1mqEYliS+V7kc3LowuBxsLX6rHp8QIndbBPRwtOlUADKLG0loiAiIgIiICIiAiJBb2YqvTRDhs2Ys18qluFNygICNoWCjqvwuOMCdiVp9tYo58tAAh2UBg9wqrWa5tob8mliD/qW6tfNTa2JLKy0yApqZ6Rp1L5QUCjPaxYgkgrprY3tAs8StDbOKGr0RlsTzUqFhzGcXF9bFLHzDhbXFW2viygdaJGV0uoVrsCjlzY8FBANhqeF+0LVEq2I27iKSs5pFkTlSSwYEgPiclrAALlpU+IvaoPEzexMYa1FajZbksDluAMrFbWOoOmo7bwM2MxtOkA1V0QE2BYgXPdI2vvZgkNnxNAHjYsOEgvpIxaFKaBlzK5La6KCNMx7e7UnqE5VtPHhal6agvYekcdEa2yIdAe9rnuEonVnj4YjKzhjhy69tzfqjTAFEh2Yc1j0bHrA0LDvNl7zwkNhKf1ps9ernv1c4pbs0UZh3ABe48ZzXZ3OfM5LEm5JNyT2knjOnbuVeaJj3G4nTtGYz/DVo7aL1mcrVgRQpDQ69pVv7aaTPV2/hl6VVF8bj4iR1atpKHvTWveR9vtxxWIh1XZ1mszM9HUqO1qLkKtWmSeABFz4TdnMtgfeKHmX4Tps27fVnUrmWTW04pOIIiJeqIiICIiAiIgIiICIiAiIgIiR+3sY9Ggz0grPmpqoa+Ul3VNbeaBIRKpT3uN2Y0iUPJ8kNVY3FbPnLaDnUGUdptrrpsjeezhHpi5rNTsrgtYVFpqQtrlueGKjgut+ECxRKrhN78zaoLMy5LOLhStG4v+KresOZp0W7Nfq73BUBqJc5RmsbakXByank+Aza66WgWmJXKG9ALKrJYu9NQt9VDrSPEXD2NUX4e20scBEwYzFJSQvUIVR/fsAHWT2SnHbGKxTlsOeSpjoCwbP3+HfqOoX4nm1sTj1TheIlVXbmLofecPnH56Vz/22ufcJI4DefDVdBUCN1q/NIPZfhfuvI449eRhMxPD1lC5mZQoFyxIAA7b9krG1N67k08IudutyNF77HgO9vEBpNrxXqRCwbQx1Okt6rAA304lu0BeJlRxW3a2I9HhV5KnwDDiR3ZeP9On8XVPuB3fqV25TEMXJ45r5fCx6Xt07FEtmD2elMaC57TxnGLW68o/f5/T5nKHOd5t3+So03e9zUtc2vqpJtbRRpwHtvOe7fQCqAPyD4tOz/SOPQU/5o/S041vF60eQfFpVEY1cR0XfkednHUToGwK2gnO8EdZc9i1rATBv65h6Gyn0W/EYjmyjbw1bkyx4nEc2U7a9S5mPaRNr5lp1oilMQuO7n3qj5v8TOlzm264+10vFv0NOkz2dl2S8fc9xERNjOREQEREBERAREgMPvGTUKNSe3KtRRl1uympe+YKOjSZtCdO+BPxISjvNSYAhauql9QulLIr8oed0crrp0teE+rvJTIB5PEDMrsAUFzkGYhedziRqAL6X4WMCaiQh3npakLVYBcwKhGBsKZYAhuoVkJPR466SZpuGAYcCARw4HUaiB6gxMGNxiUlzVWCi9rnrPYB1mExEzOIZio7BI3aG1qdFiHtzQHc2N1UrUIIsNT6Fvd4SOxW+2FQhb1GY8FVCSfASEx2++Adr1MPVdgCnORLgG4IN2/ib3ntnHxK+66NtqzOOFZqe3qJYKA1yQAuRs+cmoCMltNKbG9+E2cPiKOJV1AzBWCMCLaizix9xlLffjAkknC1bkhr5ad7i5Bvm484+8zNgd/sFSBFOhWpgm5yrT42sODdgA9kfEr7uvsev/ivNHDqihUVQFFgAOExbRx6UENSobAe8nsA6zK5T+kHCte3LXsTYqBw463sB3mQuDrnaNbNUYEDoUtQAvaQeI4d56+oCJ1InlXqrto3r3Qzuau0KgZwRS/BT1swPWf4e/8AF4cdqriXw61MpF0DWsBplvb4S2YDBCmNOPWZUNu8K/8AufOdVrwq5lCpvLXfpVKnsI/aZhgqeI1qVK1+2wuPA5riV7DmTuznnSG4+7DZctPFVcl75WVdO8G/Hv49890NkrhwLVq1xrYBbX7dTqe+SNGvpNHH1ZzFKx0hOUlsnatQhruxykWvl7+wSzYGqWRWPE/vKRsI6P5h8JdNmeqTw+c6Qr/0ij7On80fpacY3j9avkHxM7T9IY+zL/NX4NOL7yesXyfMzNPmXR42rhTrLPsyraVXDmTuBqSjc1zDVtrYT2IxGkreOe59ska1bSQ9ZrsPEfGZ9vp4X698w6LumPtlP+v9DTpE5zuf98Tyv+kzo03bPxvP3HeRE8s4FrkC5sLnidTYdpsD7pqUPUTzTcMAVIIPAjUH2z1AREQEREBNXEvSpBS4UXfmc25NRgxJUAXzWzknsv3zZJtxkftCph3y8rUQFGzqRUysrWK3BBB4Mw8CYRMxDTONwKrf0AVXzDmCwcgnOOb+UE5hpYHXSelr4HLoMOAqm4yAZVPKZgRbT1NW4/gM08uzgpU1aNrFbGqTZcpTKOdooVmAA0F58ddnOSTVpXbPmtWIBzmoWuM1j66rbszG0jMI46+6SwrYSsxWmtFiUAYcmOgrZQGuNAChAB/L3SVAtoJD4RMIKnK06lMtz7ekv0zmfS/WRM+1duUcOuZ2BNrhVsWP7DvMTaIjMpic9EkTKB9IO36T01pUyXIcMSouvBhYHr48eHHW+kz1cXiMdzSGpUj/AKY6bD+K/AeI9nXMG9Gw1o4UGwvyi3A7bHUk6se8yq8zaJ9IaNvH4lYjq5jtfGuTlByqVF7cWFzozdY7tB3TxhcS4tqGAtYNrYdgPEfCe94B6RfJ8zNagZVNY4ej0aUj4sxKaobTI/IO50pH3Plt77TYfH1DpzF0uSadMAD8xOXh4eyRKGfHpjhqBxtfT3SrD0OHUiPuzE/r1ZKuKNRwqk5Sy3JABc30JA4L2L7TrOhbg0gMT/ttr7VnOsKOenmX4zpe4Y+0N/LP6llmn3REMutp8Gjb3X+Ujbw9f4P8DLvKVt4a1v6/gZseColAyYwTSGoyTwrQJ6nV0mpi6k+I+k18Q8CT2B0X83yl42d6pPKJRt3/AFbef5CXvAerTyj4QID6QR9l/wBxfnOK7yesXy/Mztm//wB0P8xPnOKby9NPL85mnzLo8aPomSmFeRNIzfoNI1Yys0pw36tXSaF7uvmHxmV3mCkfSJ51+IldK4W6lsuoblfex5H+U6JOe7ij7Uf5bfFZ0KW7Xxs2v3k0tp4NqnJlGVWp1BU5wJB5rqRoR+f+03YmlSquL3brBL06xZxlXXMAUsoYWLWPDNY8eBnqhu9Wyi9VVBVb0yGqWOWkjDMWsQRSJ4cXPt3tqUcUajGi1ky08oDKODk1hqp5zJYKb2Bvw69N8FjiLitZgmgBp5SwS4zej/OBe1tL9sDUo7tYjM6vVuuVFFQk3YIKQKlb6hsjE3Ohta9zN5t2mz8pyz3DIRcuegaBt09dKVUf7x7748ThdoMGC1FQjPlIKc77wUuCmg52HB8h77zmzKdRUK1mzkO+Vja5TMcl7AC+W3VA24nipWVbBmUX4XIF/Ce4HKN69q1OUxAZmOQ1AuuigXtYcJQ1x4bplvbr85b98B6XFeap85z5ZRFYnOWKlItnKdo8k3GoF8Ub5CbAw1H/AO9fZTqftIjD0CVzmyoDbOeF+wfmPcJm+t20pAr1Fz0z4fkHhr3yqY54g+B6zPJt4opSaxZifyjmt/V+Tw49wkhsyuzjlLkWY5baWt1jU695JPfK0Vlj2H6j2tJ4YiM+peYrX7rt2zaAWmtgLlQSe0kayF3/AB9l/wBxPnLBhxZVH8I+EgN/fuh86fGaL9svT2vlr+sOLbxesXy/MzToGbm8XTTy/OaNGU/lenM41pbqGemMxqZ6JlL0onk94X1ieYfGdN3AHp6n8v8AyE5lg/Wp5hOn/R6PS1T/ANMfq/8AEsp3Qybqfwbr3KZt4c6t4N8Jc5TdvdOt4N+ma3z7n9Kb+HMj6U3aJgSKvMNZoDTHUMCc3f8AVt5z8BL7gx6NPKPhKDu/6o+c/AS/4YcxfKPhAgt/R9kbzp8ZxPeXpp5T8Z27fsfY38yfqE4jvN0k8p+MzW80Lo8aLpzbpNNNJsUzO7wmkthmnjC+sTzr8RPLNPuC9annX4yvHKXczzdX3BH2lv5R/Us6BKD9Hw9PU/l/5CX6dbbxq9fvRm8e0jh6JqKATcKL8Bfrt1zme397sRmCrVPOF7jTrtYAS+b+/dG86fGcT3k6a+X5mejpYiucMlszOEjV2niH6VWqf6jMXLVfzVP+RkRguVJtSL6cbMQB4tcAe2by7Venxr1qh/KruEHi/Fv6beMstr1ry6z7R/eX+0cEt+jjMQDZKlW/HRjw7fCSuD3qxSELyzsTw7B4swsfYD4yoYzH1KvrGNuzq/8AJ7zcz3sf16dep/SZxMX1O7lH7/P6fNPKrpm7WzzjTUNdmZly3cs17HNoAD3HjfjJ0bCxVD7riCVH+nU1HgDbT3TW+jgev8af+Uuky6mlSLYiFlbTMOI7xV3NSuKwVahLBhqFzEdTai3jaVJMlPjaq/YD6MeJGrnuGneZfN9B9oxPi36ZzhZRWvWMqdO0ZtybVSs1Q3c30sOoAdgA0A7hPamYEmQGJj2RfnL6xlj2H6geLfEytMZaNgD0Kd7H9RkW6KtXtd0TgPCV/fsfZG8yfqEsIkBvz9zfzJ+oS6/bL09t5a/rDie8fTTyn4yPpSQ3k6SeU/GRtOUx2vRv5pbiGeiZiQz2TKphurbkzYD1qeadT+jwekreVPi05Xs31yePyM6t9HQ51fwp/wCc7p3QzbifwL/31hdpT9vj0lXwP6RLhKjt4ekq+H+Imp4bnNKbdIzUpzZpmBthp4cz4DPDmBY9gep/qb5ToNHor4D4Tn2wfUf1NOhpwHhAgt+B9jqeKfrWcQ3m6SeB+Incd9h9iq/0frWcO3n40/BvlM1vNC6PHKIWZkMwLMqmWSirITMuzvXU/MJgJmfZfrqfmnE9suo6ut/R4PS1f5Y/VL5KN9HQ9JW8qfFpeZO28cOdbvUffGrVOHYEsRmXSw7es20HeZyzabLcMytUZbi2qoPH8R/tO/4mmiqWqFVUcWYgAeJPCajbEoVAGyUnBFw1gbg8CG7JozOMTPJTj1fnetiWewY2UcEAso8FGl+/jPKzvNTc3BVCw5NCVNmAY3UkBrEX0NiD7RMD7gYEWugFzYXbieNh2nQ+6XUvp1jEQ5mJlw4mb2yKLcoGAIAvr1cCPbxna6O4uDXhSHvPym/Q2BQp6rTpjsJAJ7tTOp1qo4JVDdEV0R2BZQ5FrgagDjqOGsnzisR+c+5f2k79SEfUhKLW4py7iMRhyXeqhV5Woz5ufwa2huoHHhKC9Jl0YEeIn6WfAKRYgEdhFxInH7AwVwKq0ELmygkIWPYBcX4j3yrhmOiqNOazMx6uArPYM7dityMAti6KlzYXa1zxsL9eh90+ruJgQAcgsbAEtob8Ldt5HDJNbOIAE6AE+GstWwcLVIpooa97kAcOde57J1Cjuzg0YIEpZyLhS12I7cpPDSStHZiKLIqqOwAAf2jgmeqJ0pt1QwxVf859y/tI7eA4ipQdMzNwOWw1sQezulu+pCY69FEUs7KqjizEADq1J4TuYzGGmluG0Wj0cE25QclTZjluDpqPESLSfomrsqjVAZlpOCLhrA3HaG7JHNudg6oDCmjBgGDKxsQdQRra0r4JiMNs7mlrcU5j9/o4epn0mdnfcPBAgFLZjYDNxNibDtNgT7JnpbjYReFL+5+U5+HK6N5pxHr8v+uNbOpNyisAbC+vVwM6HuiK6K7AsoYra4Gtr9o4ay3YPY2GBIpLRLIbNazMp7+JB0kh9SE6rp4nMqNbdxak0rHVBfWsR+c+5f2kZtHlCSWJNxxsOy0uH1IT4cCO6WsLjT0GQ2cEeP7zIhnVsXgKC25XklzHKuYhczdg11PdMbbs0D/pr7oHMwZ5sToLnwnTU3aw/EIp90y0Nk0bkIEupAYA9EkAgEdWhB9sCnbKpVBTC6g3Jt4nrlgGKr/nPuX9pNrgFHAAeE9fUhAqe3WxFSg6Zma4HNsutiD2d05Vt/DucpysctwRbUcOI4z9A/UhMGI2NSqesRG8QCffK7Uzbih3W2IxL82Ce1M75i9zcGRd6aAaC5YgXJsOJtxIE1G3EwFmbKoC3zHMLLbjc9Voxb2TEw4gTNvZVFjUVgDYG5PVw7Z2rC7kYKwZKasDqGDXBHaCJKYfd6gnRpUxbrtc+8zma2mMJi1YVHcqnWXlHGZQ2UAkDnWzcL9WsuVGrU62P9ptDCCZFozulOCuHFrcU5a+1sEaqAKwVldKilhmW6MGAZbi407e/qkXU3dd3ZnrdIqWCqy5gHpOyHn9G1JlA6hUbjrewxO3Kq//ABJgNK7BiFBNjzlUUQFbnaj0JHg5mwd3H1tW6lsbOWFqJpZcxfo3OftuTPu0cBifrD1KBAVqaqQWAByrUFrZbg3dCDf8JmGhs7GAKpanZRTy3y2UoepQNRl7db9fYH2puqbEJVKg3uOcQwzIwBu3AZX/AOZ9vqtuvmbNyl+cjWcMwOQ0CoN26uRf/wDU+3LgsNixUpF3OQAZwWVr6VAwNkFyWNMgi1gpHjPwIvYmy2oZ81TPmy9RF8t7u1ybu19SLDQaSUiICQ+3NjHEEWdVBo1aDXTMctU0ySuosw5PS9+M39pJUNJxRIWoVIQnqa2nEG3uPhIbY2z8VTqLnf0V6jFbqxu71WszWFzz6ZuB+E99w+LuxzizVCx5Vqik3uLrWUX1tccqNexAOy30btsGzCs4P4iL3NsmXi1hbK3/ADMwYDDY5lzNUKEqxAYoTymWyZgE0S9ubx0PG8ynCY3KbVLHLUyXZSUY9HOcnP67W4X64GKnu3VYIWqpTK0yhVFNjfNfM2a5BuCRftt2ye2XhDSpCmWzWLG+thmYsFAJNlW+Ua8AJDVcJjbHLUJ9GLXKAhw4IGnUVupN7iwsSTPr4XG3c5x0wQMy5SM7EDo3VQhQHrJF+24WOae18Dy9I08xW7U2zDiMjq+nfzbTciBWam6xzHk6oVOaFplWIIBQ2chgX1DG5P4uzSfBuoRTCCsb2ClrNwFJaalRm0ZSrMvUCx065Z4gVt92nuxWsbsajHMCwJb6xluM2thXQW/6Y9mHE7t1RdkqK1qaItIhgrZTSOV2zZmU8m3Ek88+21RArFfdioxcmuOeb2CEKNKgDWVhzxyi2J/IO61mUWFuPfPsQERECOx2z2atTrIyqUR6ZDLmBVyjEixFmHJix1Gp0kVS3WYKFNY3GoIDgZrUwHsXN2vTLHtLe+zRArVPdfKpCuvBFUZWyZVqvUYMufXMHUG1ugOrSfae7DBqbcuxyMhYEEZiqUVzE5r5vQn2VCDfrskQEREBETU2otQ0mFG2c2tc20zDNr25b/uOMBtXCGrSKKQpujAkXF0dXFxcac2Q2I2DVZz6RSHWpmazWRmYEBBnvZrkHuUcJr4fC7QZrNUKgckrtdLMLYc1DTGTjpiNe1hp2ZquBxxVwK1mzuVIyAZctbkxqp0zGhcW/Ce+4fV3Ya+tYkcm6ZRnULmNU2Uq9woFUC1/wL2C07gKBp00RmDFVClgAoJAtfKNB4StVdk401GqB0z84KxKkDm4kU8oyc0DlaXadG9vqls7Groj5VJrMTmVnu5qleKgZgTS17jr2ha4mHBB+TTlLZ8i57EkZrDNYniL3maAiIgIiICIiAiIgIiICIiAiIgIiICIiAiIgIiICIiAiIgIiICIiAiIgIiICIiAiIgf/9k="/>
          <p:cNvSpPr>
            <a:spLocks noChangeAspect="1" noChangeArrowheads="1"/>
          </p:cNvSpPr>
          <p:nvPr/>
        </p:nvSpPr>
        <p:spPr bwMode="auto">
          <a:xfrm>
            <a:off x="6800850" y="-230982"/>
            <a:ext cx="457200" cy="45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68612" name="AutoShape 6" descr="data:image/jpeg;base64,/9j/4AAQSkZJRgABAQAAAQABAAD/2wCEAAkGBxQSEhUSEBQQFBUVFBYUFRUVFhQYFRYVGBkXFxUXGBUYHCggGBolHBQVITIkJSkrLi4uFx8zODQxNygtLysBCgoKDg0OGxAQGzQkHyQ3LywtNDQrLCwuMCwsLCwsLC8sMSwtLC0vLCwsLCwsLCwwLCwtLCwsLDAsNjcsLCw3LP/AABEIAKYBLwMBIgACEQEDEQH/xAAcAAEAAgMBAQEAAAAAAAAAAAAABQYDBAcCAQj/xABDEAACAQIDAwgGCAUDBAMAAAABAgADEQQSIQUGMRMiMkFRYXFyIzOBkbHBBxQkNEJSstFic4KhwkODkmOi4fAWU5P/xAAaAQEAAwEBAQAAAAAAAAAAAAAAAQMEAgUG/8QALhEBAAIBAgUCAwgDAAAAAAAAAAECEQMEEiExMjNBUROR0RQiI0JxobHwUoHh/9oADAMBAAIRAxEAPwDuMREBERAREQEREBERAREQEREBERAREQEREBERAREQEREBERAREQEREBEqm2dkYp6lc0nISsuW3KMCMlMGmUH4b1MwbtBjaGzcZVVwzA898gBVVCmnXRLMDc9OkDccQSIFriVwYfGhrByygnKxNPVbt6wBdTYoBltaxvPhwuMXLlbMS1IuxNO5sF5QEZQCOkNO7xAWSIiAiIgJqYvadKkctSoiE62Ygae2bc59vUVG0kL02qjkNUVA5PO7D7r98C5ja9Eo1QVEKoLswIsB4zTob04ZlDB7BmyLfTM3YL8TKtvGAcDUbD0eQS4FRXXKxFxawHA3A9k+4urUpUcPyiUWz1gqnLw6dyL6g6D+8DoKtcAjgdRNTG7UpUmRKjhWe+UHibcbDuvK9jdtV6mI+rYQU1KIpdmBOpFwoAI6hfjNba+MqrVwi10pF2NW5te2VUPNNuBJI8AIFm2ptilh7CodWubDXQWux7FFxqdBcTdo1QyhlNweEo21to8tiaq0+QQUxyZaoCcxIuVsCLLrbr8J9obzMuDR6agHlVplRY8SVOUnS91NvZAvcSlLt7FUq9EVxS5OuCVy3uLC+t+OnWLTPW2zia+IqUsJyarSJUl7nMw6Q04AXA6+PCBYq21KSVVos4FRhcL124XtNyU2tjH+u0EqpTzmnctbndMCwPZreNt7WxVLlHD4dQlyKeuZlHDnX0JHVb3wLlE0di43lqKVDoSJvQEREBERAREQEREBERAREQEREBERAhtq4+ulQrTpkqEQg8nUe5ZyKhupFsigNl4vewtaaGK2njchKUgDkNvROzZstRg2XNw5ijLxvUAvpraJgxeLSkuaowUcNeJPYBxJ7hHQQL7Rxa5slLMAW6SOC12qqtteYAEpm1jo3tmrjN7WpuodCqm+YFGRwhDBGuzDIcwGjAXzaa6THjt5atc5MIpVb2NQ8T2gEX9y3PaVMy7I3Y1z1SS3G7cdeJA/Ce/Vj1kyrjm3b8/p7/wnGOqtYzEY16bCktd818rGo/KIOrQke+yn+EToexK1R6SmsLNYXE2sPhlQWUATNJ09KKZx6kzkiIliCUjeTYuKOPTF4ZKLhaPJ2d2XXNmvop7BLvEClbbwGOxmBr0K1OilRsuQK5K2DKdTlBB0bq7I3g3frVaODVAt6NYVHBP4QHGmmp5wl1iBRNobCxdDGti8GtKoKqItRHYqQ6gqCCFNxYz7tPYmLr1sFWqinejy/KBSbDlFphQtxqLq3G0vUQOf4vdqvRxVatRo4fEUq7Z8tQlWR7WOuRrg8f8A3XNtbYGIr4WmnJUabjE06rIhOUIhubHKLm3cNby9RApm8O79arVwLoFtQDcpc66pl0011mq2xcbhMXXq4NaNWniGNSzsylHbpXspuCbH2e++xApb7DxL47D4mpkIWjkcgnpFw2g7LDtkI26OKAxNI0qFQ1mqEYliS+V7kc3LowuBxsLX6rHp8QIndbBPRwtOlUADKLG0loiAiIgIiICIiAiJBb2YqvTRDhs2Ys18qluFNygICNoWCjqvwuOMCdiVp9tYo58tAAh2UBg9wqrWa5tob8mliD/qW6tfNTa2JLKy0yApqZ6Rp1L5QUCjPaxYgkgrprY3tAs8StDbOKGr0RlsTzUqFhzGcXF9bFLHzDhbXFW2viygdaJGV0uoVrsCjlzY8FBANhqeF+0LVEq2I27iKSs5pFkTlSSwYEgPiclrAALlpU+IvaoPEzexMYa1FajZbksDluAMrFbWOoOmo7bwM2MxtOkA1V0QE2BYgXPdI2vvZgkNnxNAHjYsOEgvpIxaFKaBlzK5La6KCNMx7e7UnqE5VtPHhal6agvYekcdEa2yIdAe9rnuEonVnj4YjKzhjhy69tzfqjTAFEh2Yc1j0bHrA0LDvNl7zwkNhKf1ps9ernv1c4pbs0UZh3ABe48ZzXZ3OfM5LEm5JNyT2knjOnbuVeaJj3G4nTtGYz/DVo7aL1mcrVgRQpDQ69pVv7aaTPV2/hl6VVF8bj4iR1atpKHvTWveR9vtxxWIh1XZ1mszM9HUqO1qLkKtWmSeABFz4TdnMtgfeKHmX4Tps27fVnUrmWTW04pOIIiJeqIiICIiAiIgIiICIiAiIgIiR+3sY9Ggz0grPmpqoa+Ul3VNbeaBIRKpT3uN2Y0iUPJ8kNVY3FbPnLaDnUGUdptrrpsjeezhHpi5rNTsrgtYVFpqQtrlueGKjgut+ECxRKrhN78zaoLMy5LOLhStG4v+KresOZp0W7Nfq73BUBqJc5RmsbakXByank+Aza66WgWmJXKG9ALKrJYu9NQt9VDrSPEXD2NUX4e20scBEwYzFJSQvUIVR/fsAHWT2SnHbGKxTlsOeSpjoCwbP3+HfqOoX4nm1sTj1TheIlVXbmLofecPnH56Vz/22ufcJI4DefDVdBUCN1q/NIPZfhfuvI449eRhMxPD1lC5mZQoFyxIAA7b9krG1N67k08IudutyNF77HgO9vEBpNrxXqRCwbQx1Okt6rAA304lu0BeJlRxW3a2I9HhV5KnwDDiR3ZeP9On8XVPuB3fqV25TEMXJ45r5fCx6Xt07FEtmD2elMaC57TxnGLW68o/f5/T5nKHOd5t3+So03e9zUtc2vqpJtbRRpwHtvOe7fQCqAPyD4tOz/SOPQU/5o/S041vF60eQfFpVEY1cR0XfkednHUToGwK2gnO8EdZc9i1rATBv65h6Gyn0W/EYjmyjbw1bkyx4nEc2U7a9S5mPaRNr5lp1oilMQuO7n3qj5v8TOlzm264+10vFv0NOkz2dl2S8fc9xERNjOREQEREBERAREgMPvGTUKNSe3KtRRl1uympe+YKOjSZtCdO+BPxISjvNSYAhauql9QulLIr8oed0crrp0teE+rvJTIB5PEDMrsAUFzkGYhedziRqAL6X4WMCaiQh3npakLVYBcwKhGBsKZYAhuoVkJPR466SZpuGAYcCARw4HUaiB6gxMGNxiUlzVWCi9rnrPYB1mExEzOIZio7BI3aG1qdFiHtzQHc2N1UrUIIsNT6Fvd4SOxW+2FQhb1GY8FVCSfASEx2++Adr1MPVdgCnORLgG4IN2/ib3ntnHxK+66NtqzOOFZqe3qJYKA1yQAuRs+cmoCMltNKbG9+E2cPiKOJV1AzBWCMCLaizix9xlLffjAkknC1bkhr5ad7i5Bvm484+8zNgd/sFSBFOhWpgm5yrT42sODdgA9kfEr7uvsev/ivNHDqihUVQFFgAOExbRx6UENSobAe8nsA6zK5T+kHCte3LXsTYqBw463sB3mQuDrnaNbNUYEDoUtQAvaQeI4d56+oCJ1InlXqrto3r3Qzuau0KgZwRS/BT1swPWf4e/8AF4cdqriXw61MpF0DWsBplvb4S2YDBCmNOPWZUNu8K/8AufOdVrwq5lCpvLXfpVKnsI/aZhgqeI1qVK1+2wuPA5riV7DmTuznnSG4+7DZctPFVcl75WVdO8G/Hv49890NkrhwLVq1xrYBbX7dTqe+SNGvpNHH1ZzFKx0hOUlsnatQhruxykWvl7+wSzYGqWRWPE/vKRsI6P5h8JdNmeqTw+c6Qr/0ij7On80fpacY3j9avkHxM7T9IY+zL/NX4NOL7yesXyfMzNPmXR42rhTrLPsyraVXDmTuBqSjc1zDVtrYT2IxGkreOe59ska1bSQ9ZrsPEfGZ9vp4X698w6LumPtlP+v9DTpE5zuf98Tyv+kzo03bPxvP3HeRE8s4FrkC5sLnidTYdpsD7pqUPUTzTcMAVIIPAjUH2z1AREQEREBNXEvSpBS4UXfmc25NRgxJUAXzWzknsv3zZJtxkftCph3y8rUQFGzqRUysrWK3BBB4Mw8CYRMxDTONwKrf0AVXzDmCwcgnOOb+UE5hpYHXSelr4HLoMOAqm4yAZVPKZgRbT1NW4/gM08uzgpU1aNrFbGqTZcpTKOdooVmAA0F58ddnOSTVpXbPmtWIBzmoWuM1j66rbszG0jMI46+6SwrYSsxWmtFiUAYcmOgrZQGuNAChAB/L3SVAtoJD4RMIKnK06lMtz7ekv0zmfS/WRM+1duUcOuZ2BNrhVsWP7DvMTaIjMpic9EkTKB9IO36T01pUyXIcMSouvBhYHr48eHHW+kz1cXiMdzSGpUj/AKY6bD+K/AeI9nXMG9Gw1o4UGwvyi3A7bHUk6se8yq8zaJ9IaNvH4lYjq5jtfGuTlByqVF7cWFzozdY7tB3TxhcS4tqGAtYNrYdgPEfCe94B6RfJ8zNagZVNY4ej0aUj4sxKaobTI/IO50pH3Plt77TYfH1DpzF0uSadMAD8xOXh4eyRKGfHpjhqBxtfT3SrD0OHUiPuzE/r1ZKuKNRwqk5Sy3JABc30JA4L2L7TrOhbg0gMT/ttr7VnOsKOenmX4zpe4Y+0N/LP6llmn3REMutp8Gjb3X+Ujbw9f4P8DLvKVt4a1v6/gZseColAyYwTSGoyTwrQJ6nV0mpi6k+I+k18Q8CT2B0X83yl42d6pPKJRt3/AFbef5CXvAerTyj4QID6QR9l/wBxfnOK7yesXy/Mztm//wB0P8xPnOKby9NPL85mnzLo8aPomSmFeRNIzfoNI1Yys0pw36tXSaF7uvmHxmV3mCkfSJ51+IldK4W6lsuoblfex5H+U6JOe7ij7Uf5bfFZ0KW7Xxs2v3k0tp4NqnJlGVWp1BU5wJB5rqRoR+f+03YmlSquL3brBL06xZxlXXMAUsoYWLWPDNY8eBnqhu9Wyi9VVBVb0yGqWOWkjDMWsQRSJ4cXPt3tqUcUajGi1ky08oDKODk1hqp5zJYKb2Bvw69N8FjiLitZgmgBp5SwS4zej/OBe1tL9sDUo7tYjM6vVuuVFFQk3YIKQKlb6hsjE3Ohta9zN5t2mz8pyz3DIRcuegaBt09dKVUf7x7748ThdoMGC1FQjPlIKc77wUuCmg52HB8h77zmzKdRUK1mzkO+Vja5TMcl7AC+W3VA24nipWVbBmUX4XIF/Ce4HKN69q1OUxAZmOQ1AuuigXtYcJQ1x4bplvbr85b98B6XFeap85z5ZRFYnOWKlItnKdo8k3GoF8Ub5CbAw1H/AO9fZTqftIjD0CVzmyoDbOeF+wfmPcJm+t20pAr1Fz0z4fkHhr3yqY54g+B6zPJt4opSaxZifyjmt/V+Tw49wkhsyuzjlLkWY5baWt1jU695JPfK0Vlj2H6j2tJ4YiM+peYrX7rt2zaAWmtgLlQSe0kayF3/AB9l/wBxPnLBhxZVH8I+EgN/fuh86fGaL9svT2vlr+sOLbxesXy/MzToGbm8XTTy/OaNGU/lenM41pbqGemMxqZ6JlL0onk94X1ieYfGdN3AHp6n8v8AyE5lg/Wp5hOn/R6PS1T/ANMfq/8AEsp3Qybqfwbr3KZt4c6t4N8Jc5TdvdOt4N+ma3z7n9Kb+HMj6U3aJgSKvMNZoDTHUMCc3f8AVt5z8BL7gx6NPKPhKDu/6o+c/AS/4YcxfKPhAgt/R9kbzp8ZxPeXpp5T8Z27fsfY38yfqE4jvN0k8p+MzW80Lo8aLpzbpNNNJsUzO7wmkthmnjC+sTzr8RPLNPuC9annX4yvHKXczzdX3BH2lv5R/Us6BKD9Hw9PU/l/5CX6dbbxq9fvRm8e0jh6JqKATcKL8Bfrt1zme397sRmCrVPOF7jTrtYAS+b+/dG86fGcT3k6a+X5mejpYiucMlszOEjV2niH6VWqf6jMXLVfzVP+RkRguVJtSL6cbMQB4tcAe2by7Venxr1qh/KruEHi/Fv6beMstr1ry6z7R/eX+0cEt+jjMQDZKlW/HRjw7fCSuD3qxSELyzsTw7B4swsfYD4yoYzH1KvrGNuzq/8AJ7zcz3sf16dep/SZxMX1O7lH7/P6fNPKrpm7WzzjTUNdmZly3cs17HNoAD3HjfjJ0bCxVD7riCVH+nU1HgDbT3TW+jgev8af+Uuky6mlSLYiFlbTMOI7xV3NSuKwVahLBhqFzEdTai3jaVJMlPjaq/YD6MeJGrnuGneZfN9B9oxPi36ZzhZRWvWMqdO0ZtybVSs1Q3c30sOoAdgA0A7hPamYEmQGJj2RfnL6xlj2H6geLfEytMZaNgD0Kd7H9RkW6KtXtd0TgPCV/fsfZG8yfqEsIkBvz9zfzJ+oS6/bL09t5a/rDie8fTTyn4yPpSQ3k6SeU/GRtOUx2vRv5pbiGeiZiQz2TKphurbkzYD1qeadT+jwekreVPi05Xs31yePyM6t9HQ51fwp/wCc7p3QzbifwL/31hdpT9vj0lXwP6RLhKjt4ekq+H+Imp4bnNKbdIzUpzZpmBthp4cz4DPDmBY9gep/qb5ToNHor4D4Tn2wfUf1NOhpwHhAgt+B9jqeKfrWcQ3m6SeB+Incd9h9iq/0frWcO3n40/BvlM1vNC6PHKIWZkMwLMqmWSirITMuzvXU/MJgJmfZfrqfmnE9suo6ut/R4PS1f5Y/VL5KN9HQ9JW8qfFpeZO28cOdbvUffGrVOHYEsRmXSw7es20HeZyzabLcMytUZbi2qoPH8R/tO/4mmiqWqFVUcWYgAeJPCajbEoVAGyUnBFw1gbg8CG7JozOMTPJTj1fnetiWewY2UcEAso8FGl+/jPKzvNTc3BVCw5NCVNmAY3UkBrEX0NiD7RMD7gYEWugFzYXbieNh2nQ+6XUvp1jEQ5mJlw4mb2yKLcoGAIAvr1cCPbxna6O4uDXhSHvPym/Q2BQp6rTpjsJAJ7tTOp1qo4JVDdEV0R2BZQ5FrgagDjqOGsnzisR+c+5f2k79SEfUhKLW4py7iMRhyXeqhV5Woz5ufwa2huoHHhKC9Jl0YEeIn6WfAKRYgEdhFxInH7AwVwKq0ELmygkIWPYBcX4j3yrhmOiqNOazMx6uArPYM7dityMAti6KlzYXa1zxsL9eh90+ruJgQAcgsbAEtob8Ldt5HDJNbOIAE6AE+GstWwcLVIpooa97kAcOde57J1Cjuzg0YIEpZyLhS12I7cpPDSStHZiKLIqqOwAAf2jgmeqJ0pt1QwxVf859y/tI7eA4ipQdMzNwOWw1sQezulu+pCY69FEUs7KqjizEADq1J4TuYzGGmluG0Wj0cE25QclTZjluDpqPESLSfomrsqjVAZlpOCLhrA3HaG7JHNudg6oDCmjBgGDKxsQdQRra0r4JiMNs7mlrcU5j9/o4epn0mdnfcPBAgFLZjYDNxNibDtNgT7JnpbjYReFL+5+U5+HK6N5pxHr8v+uNbOpNyisAbC+vVwM6HuiK6K7AsoYra4Gtr9o4ay3YPY2GBIpLRLIbNazMp7+JB0kh9SE6rp4nMqNbdxak0rHVBfWsR+c+5f2kZtHlCSWJNxxsOy0uH1IT4cCO6WsLjT0GQ2cEeP7zIhnVsXgKC25XklzHKuYhczdg11PdMbbs0D/pr7oHMwZ5sToLnwnTU3aw/EIp90y0Nk0bkIEupAYA9EkAgEdWhB9sCnbKpVBTC6g3Jt4nrlgGKr/nPuX9pNrgFHAAeE9fUhAqe3WxFSg6Zma4HNsutiD2d05Vt/DucpysctwRbUcOI4z9A/UhMGI2NSqesRG8QCffK7Uzbih3W2IxL82Ce1M75i9zcGRd6aAaC5YgXJsOJtxIE1G3EwFmbKoC3zHMLLbjc9Voxb2TEw4gTNvZVFjUVgDYG5PVw7Z2rC7kYKwZKasDqGDXBHaCJKYfd6gnRpUxbrtc+8zma2mMJi1YVHcqnWXlHGZQ2UAkDnWzcL9WsuVGrU62P9ptDCCZFozulOCuHFrcU5a+1sEaqAKwVldKilhmW6MGAZbi407e/qkXU3dd3ZnrdIqWCqy5gHpOyHn9G1JlA6hUbjrewxO3Kq//ABJgNK7BiFBNjzlUUQFbnaj0JHg5mwd3H1tW6lsbOWFqJpZcxfo3OftuTPu0cBifrD1KBAVqaqQWAByrUFrZbg3dCDf8JmGhs7GAKpanZRTy3y2UoepQNRl7db9fYH2puqbEJVKg3uOcQwzIwBu3AZX/AOZ9vqtuvmbNyl+cjWcMwOQ0CoN26uRf/wDU+3LgsNixUpF3OQAZwWVr6VAwNkFyWNMgi1gpHjPwIvYmy2oZ81TPmy9RF8t7u1ybu19SLDQaSUiICQ+3NjHEEWdVBo1aDXTMctU0ySuosw5PS9+M39pJUNJxRIWoVIQnqa2nEG3uPhIbY2z8VTqLnf0V6jFbqxu71WszWFzz6ZuB+E99w+LuxzizVCx5Vqik3uLrWUX1tccqNexAOy30btsGzCs4P4iL3NsmXi1hbK3/ADMwYDDY5lzNUKEqxAYoTymWyZgE0S9ubx0PG8ynCY3KbVLHLUyXZSUY9HOcnP67W4X64GKnu3VYIWqpTK0yhVFNjfNfM2a5BuCRftt2ye2XhDSpCmWzWLG+thmYsFAJNlW+Ua8AJDVcJjbHLUJ9GLXKAhw4IGnUVupN7iwsSTPr4XG3c5x0wQMy5SM7EDo3VQhQHrJF+24WOae18Dy9I08xW7U2zDiMjq+nfzbTciBWam6xzHk6oVOaFplWIIBQ2chgX1DG5P4uzSfBuoRTCCsb2ClrNwFJaalRm0ZSrMvUCx065Z4gVt92nuxWsbsajHMCwJb6xluM2thXQW/6Y9mHE7t1RdkqK1qaItIhgrZTSOV2zZmU8m3Ek88+21RArFfdioxcmuOeb2CEKNKgDWVhzxyi2J/IO61mUWFuPfPsQERECOx2z2atTrIyqUR6ZDLmBVyjEixFmHJix1Gp0kVS3WYKFNY3GoIDgZrUwHsXN2vTLHtLe+zRArVPdfKpCuvBFUZWyZVqvUYMufXMHUG1ugOrSfae7DBqbcuxyMhYEEZiqUVzE5r5vQn2VCDfrskQEREBETU2otQ0mFG2c2tc20zDNr25b/uOMBtXCGrSKKQpujAkXF0dXFxcac2Q2I2DVZz6RSHWpmazWRmYEBBnvZrkHuUcJr4fC7QZrNUKgckrtdLMLYc1DTGTjpiNe1hp2ZquBxxVwK1mzuVIyAZctbkxqp0zGhcW/Ce+4fV3Ya+tYkcm6ZRnULmNU2Uq9woFUC1/wL2C07gKBp00RmDFVClgAoJAtfKNB4StVdk401GqB0z84KxKkDm4kU8oyc0DlaXadG9vqls7Groj5VJrMTmVnu5qleKgZgTS17jr2ha4mHBB+TTlLZ8i57EkZrDNYniL3maAiIgIiICIiAiIgIiICIiAiIgIiICIiAiIgIiICIiAiIgIiICIiAiIgIiICIiAiIgf/9k="/>
          <p:cNvSpPr>
            <a:spLocks noChangeAspect="1" noChangeArrowheads="1"/>
          </p:cNvSpPr>
          <p:nvPr/>
        </p:nvSpPr>
        <p:spPr bwMode="auto">
          <a:xfrm>
            <a:off x="7029450" y="-2382"/>
            <a:ext cx="457200" cy="45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68613" name="AutoShape 9" descr="data:image/jpeg;base64,/9j/4AAQSkZJRgABAQAAAQABAAD/2wCEAAkGBhMQERIUEhIWFBUWGBgaGBgYFxIWGBkYGBccFRQXFBgYHikgFxkjHBkXHzIgJScpLCwsFR8xNTAqNScrLCkBCQoKDgwOGg8PGiwkHyQsKSwsLC41LSwsLCwsLCwqLCwsLCwpLCwsKikpKSwsLCwsLCwsKSwsLCwsLCwsKSwsLP/AABEIAK0BIwMBIgACEQEDEQH/xAAaAAEAAgMBAAAAAAAAAAAAAAAABAUCAwYB/8QARBAAAQMDAQUDCAcHAwQDAQAAAQACEQMSITEEBSJBUQYTYRYyY3GBkaLiFBVCUlNyoSMzYrGy0dJDwfBzgpLCk+HxRP/EABoBAQADAQEBAAAAAAAAAAAAAAABAgQFAwb/xAAuEQEAAQIFAQYGAgMAAAAAAAAAAQIRAwQUIVExEhNBUmFiMkKBocHwInEjM7H/2gAMAwEAAhEDEQA/AL2ttbGFge9rS82tBIBc7o2dT4BKe1Mc5zGvaXsi5oILm3CW3AZEhVPaTcr9p7qwgWd6ZnLXln7Fw6w8NPsVeNwbQLnFrHOqimavERxd5WqVAzIkN7ym0TiG6EgIOqDhJE5ESOcGYkew+4oTGVyQ7N7QGOMA1XbNRZf3rge8pOJeD1uFou8DOpmXs+567qt9XAv2h4aKriAahpGgDEXW2vxoCgvDt1O2m68W1C0MPJxeJYB6wt8LkaHZ7ab9nLwHmmdmN5qu4RSpWVWWaOJfL7uc9V5s24tqA42gtL6LnUhWc0OtZUbVh0kgXmm7J4rM5wg6rZtpbVY17CHNcJDhoR1W2FyW7Ozm0U3bNe4202UhwPbDSxzjUBDhLmvBExk6GIBUvbNz13bTUqXutI4Ie0Bo7osLHNImC8l2OoOCEHRQou1b0o0nNbUq02Od5oc5rSeWASuf2Ps5WY6m64y12ykzWqO81hbthgmDdj1xyW/ee7NpFSu6gRNbuiH3taWd22xzHtc030yJdAzJKDo4WurtDWBxc4C0AnwBwJAznl1XNP3DXLtoLnVDeXwW1GNDmuqtfTEOGC1gtgwIuEw7HjNxV2947uqZqVKNBpio8NBY6KrQCQTLIgkxLYOCZDptn2htRocxwc0zBGQYMGD6wV5tG0tptL3uDWiJJ0EkNHvJA9q5V24NqLGtJkhj2sPfOHcvNdz2VMfvIpljY5WRoSpnaXctavUlgDm2MDZqOYKbm1u8e60Yfc0Bvhag6OFG2XeVKqXCnVY8t84Nc1xHLIBxofcqzcm661LaKtSq5xkvzc0tcHVLmG3zgWt4c6ZAkaQKHZSo2gAXuNXhbh4a1lL6UK1RrHMAOWjUknkIQdTUcGgk4ABJPQDJRtQFocCLSJB5REzPSMrlt4bqrU3VXiQ1velr21KjiaX0c06dAUhJkPgz4TMlY0Oz9d5JqOdDqQaOMAAHZhTNOo3zsVJdjnmZkIOsBkSMj++i9XKU9w7QO5AbZaygGnvnEUXU6hdXNv8Aqd42P5GAFY7o3bVYys1ziy58sfcypUzlxeXAtdnANsxqJQW1eu2m0ue4Na3Jc4gADqSdFgdupywd42agJYLmy8AXEsH2hGcKv3nuqo/ZqtMVXVXPtg1O6bEOaSOBjRGDqCqodmK4PC9oNNz2UHTllHuq4pE/xB9VgI6Ugg6yFrobQ2oxr2G5jgHBwmCCJBXLs3FtEDginfTJofSH8VtJ7Hv7zUS9zHW8+7nUwvN3dnNopuoXuNtOnRaLHtAaWMLajSCJc1xM41nMWgoOp2eu2oxr2G5rgHNImCCJB9y1VN40m1BTdVYKjohhc0OM6Q0mTMH3Lndg3BtDDQBjgGzC8VXRTbSYG16QpjD7yDnnfnzQrKruI1NqfUe4inGzkNaW8TqL3vF8i4AEtIgicygnfWtHuzU76n3YMF97bQZiC6YmSMeKz+sKUVD3jIp4qcTeAjJvzw+1ci3sfX7o05ZaaTnFt3/9Nj6LDP3bHNM9WBTHdmavfOcC0U6tao6qJy5janfbPHjdc0jo5B0VHeFJ5LW1GOIaHEBzSQ1wlriAfNIIM+Kz2faWVGh9NzXtOjmkEHMGCNchcizsntAAgta4so0Xm7/ROzspbRH8QcwFvqXS7m2M0aVhAEPqkAZAa6q97PhcEE5ERAREQEREBERAREQEREBERAREQEREBERAREQERIQESEhARISEBEhIQESEhARISEBEhIQESEQEREBERAREQEREBERAREQEREBERAREQEREEfbibDBcJjLbZ1GBcRk6e1ebuu7ttxJdxTME+ccHJ0015LDerwKTtJMR1PEJt/i6eMLPdzYptHSZ80mbjMkYJmUDbc2CSA54BgkGLXGJGRoFmzZGAEAYOuXGfeVjtetL/qD+lykK19keLT9EZw8Pm6a45r36Kzi4fO87XK2oovJaGr6Kzh4fN83XC8+iM4uHztdc81uRLyWhq+jNlpt83TXC8+iMhwtw4ydcnVbkS8loaxszZaYy0QNcBY/Q2QRbgmSM5KbXQ7xjmTFwIn1qEd2PJP7aQ4y4RqbWgc/4Rjx968loT/o7ZDoyBAOdFh9CZbbbiZjOqi0d3VGhre+MNDRpybbcNecH1Tjmtuz7LUaHA1Z4WhuItLRDna88e5LyWhI+jtuujMROdFh9CZbbbiZjOui17v2R1MQ59whoAiIgQff61LS8loa/o7bi6MkROdFkxgAAGANFkii6VLsm83ktbw5dEuHV0CT0UuptFQVhS4JLmtBLHNHFABhwmM9Fzza0E+DjqARrzBwVOZtVZ/7QWgUy0gxSYGlolrWAxMATaJ6xlfRxTFom0dHDmZvPXqun0doAcbaZh5ZAAzDS8vBOLIackhe1qG0NZdawnm20BwwScE8UQdJVO3e+0iMu4Q0QWAw0BzWggjSKjh43epe1tv2lmHXAtuxa2W6sdIA4fta+sKvZn2rbeqyA2jmxgGc8BGA4wIdxHgdgTFpnQqNtG3VadtzWC4SMNIIkiQQSNQR7FDfvau7rAkwKbQBhzXGA2B+8fPi71KPtu9H1iDUdJAgYaMSXHQdST7VeKd94hSem0ynbPtr3Nku1LvD7R0RRt3n9mPW7+oouDi/7Kv7l2cP4I/qHSIiLxegiIgIiICIiAiIgIiIIW9qZNMxmOUNMzjm1xHXAnCz3aIpNABGsSIPnGCRA115HOcpvE8BAi4+bJty03TPKImfDQ6Fu5pFMA+cC67M8V5uzzzOceoaANNVlQPpXuYW36Na5pm10GS50jXGFYKPtetL/AKg/pcpCtM3srDxrwSQCCRqOnr6L2FA2jYmmGmoWyXloBAPFl0czl36xzWJ3KyXG5wkEcvvXDlkAC2OkjmqrLBrgdDOv6GD+qB06dY9o1HrUXZ9gDHEhzjIIgnq4vn15P/JWOx7tFN0hzjgiCcZddMDmgmoiICgndeXFr3NLi4mJE3GQCARIHEOvEcjEaNr3m6nVc0AOw2AZ1PSDzW6rtdRtVtItp3OsAguI4wC3M+IlbqMnVXTFV43ZK81FNUxaWTtgdj9s/F3XNwgTBGnKI9+UG73fiu+L7ob97wn/ALjoYIzrfSGuLRSa7zfNFT7UW4cQ6cjEYkdQsaD67nBvdNbJiTdEltwjizgjSfOHVTop69qEav2yk0WWtAJmABPWOazUJtTaDpQ5x9rXGnFnVv8A5N6ifNnrV32xSbDo4uK0AkNkm7GXNxrkYyFOhnzQjVx5ZTkUO7aJgUQTJEQ+cWZMmM94yOfEMZExq+8qrGtc6m0B2hN2cA6XdHNOeTh1SMjVPSqCc3EfLLmnuIc7B853I9SpWy70saGmmHWvvaTeLXQAZg8Q4W4P3fXPTbudfSpuOSWgkqRYOgUTnKo/jbomMtE73c7V7UvILQ2Gw4a1HHjbUaZJPFBquInSAsn9rahJhgALi4iahmTUcQc5E1XY8AugsHQJYOgVdV7YW0/qoR2tdk902SH54zl4h5zpPQe/WaO/1+4rurB0CWDoFMZyaelKJysT1lzm62num4Orv6ii6SEWOqrtTMtNNNoiHqIiqsItR2pgul7eEhpyMOMWg9Cbm4/iC2E5jn/bX/b3oPUXhMLxrwZjMGD4Hp+o96DJFi14MwZgwfAjULJAXhKh16TXVHXNDrabSAQDm58wDzMD3KP9Ytcxre6DiQLRDXUzhpwTAxdH/aVNkLSUuHVVbd605Du7IMDNrZi2YDuQExmAM8l7s21U3E0zTb55AAa0twBBPKeWJ06JsJ20bMyoIe0OAzB9UfyJ96yo02saA0ADOniZP6kn2qvG9KdzyaeRIm1kloY1xkk+JEcoAMEgKcNmYWgWMjUC1sT1iIlNhjtjTwEAuteCQImIIxJHULZRrXTwubH3hHuWYCrt4bU5lVgBAkZkBw1GYK9cLD72qKHniV93TNSVtWwMqecJ4XN9jou9uFrdulhu14rpyPtRMYxoP5GRhYValVtdtG5kuLAD3bR+8AIkRyuzE6KQdk2iCR3ZIeWgBrcgNc7vASIshpg81r0Nvnhm1c+Vp+qGfxc/u82hvToB6+crfs2xtpzbOY1jkLRy6BaatHaGmCKcxkfsZBlwsjm/gdgfdK9fQ2gBsd2SZERRw4GAyZy8meHXBTQ++DVz5ZS0USrRrhxDbHAc4pAxiXWnIaDidJC8q0tobOGEta5zhFLAaXB0dYtKaH3waufLKp3vTqjaL6bXYDSHN5EcweRBWmptm0uex7mOL2FhDi1s8AAYCeYxMcyrbdG0uqGqXHm3QAAY5AKyVKsevBnu9ptsvThU4kdvfdQN33tgAAYQAQWgMADSDdgDBBIyDK0s3htIDR3c2YaTTaS3hDDB8WtaD6vWulRU1dXELaenmXNt3ntYthh4bY4G/YLHN/Wkz3eJWTt7bWWsbYYZbHA37JY4frTZ7j1M9EiauriDT08y5w712uSbTJdcTY3Lrqbrj1M0mE9YPUrzem21a7aYNBzSwROs8LW4GIHDPM51iAOkRNXXE3tBp6eZRd10y2jSDhBDRI8YUpEWWZvN2iIsIiKEiIiAiIgIiIK2tuYOe515hxuIjEiAw68hf/5j7udf1FMkvEm/NgEXta0kQcGWAmNZPrVsiCtduebiX8TpyBBEuqOIbkwP2g/+MezUdxHQPDRxHgYGwXNLDZxSBnTOgVuiCt2fc9jw64YJNoaWtBJJ4AHcIzBBmQArCoDBtIB5SCR7QCP5rJEELZWvFV95aTYyLQWiLn4IJOZnMrPbdqewi1heLXudGvDbAHiZMDMxyyR5UqWVSSHQWNEhr3CQ55INoMahSmukAjn6x+h0VquVYQ6m3yHB1JxAuBESDAyB1np0z4Lz609G7+f2L+Xu/nGJnJKqs0bNtd88JbFuviJx/wAnwGJ3oiAqLf8AUtqUyNQCeR0I6q9XO9qAb6cAnhdoCeY6LTlZiMWJn1/48MxF8OYhodvWoXNddlpBbAaLS2A20AQAIGNPBS6W2bRaxwfgghoJpmW02vB4Tq0AvGkZ9SopPR3ud/ZT9l3y+lTLGswbpJFU+cx1OQJtaYecgAmBMxnr1YlFtrObTRVfe6a3atqEtDaghskd1kNlxu82WiXPh3KXAELY3bdrcCRcYIbFguuNxlrbZulj5cMgg51WDO1DnNqipSJL7iC0OEF/ek65GapznhBEZla39qahMmiyJLotqkXE1XE5P3qzz4Q3pmnexxH2X7ufVsp772ikWudMZi5sTyIDoBgHMAwDBiVqq7/qm+HBodItAbABukCRIm9+deM9VB3lvKpXfe9sGCMNfGXOfznm4qLJ6O9zv7K8V4fWbKTTX4XdD2bdPe/mb/JXSouyzTFWQRLm6gjkr1cbMTfEqmHUwYtRECIi8HqIiICIiAiIgIiICIiAiIgIq/fLXFrYAi4G7PCQDDrRTfI9mCR6xJ2IRTZgjhbg6jGhwM+weoIMNobdUY2XAFryYJbJBYBJGftFbGNaWloJIGDxOJHPLpmfasan76n+Sp/VTWurutjgAS6BcAJGA7UDE/8AI0wrTO0I5bm0mkiCTZjzn6wDDs8RgjWdUGzt4hxZ146k9cZlvshQG7DQDiA4hzXNJEkZ4Q0aQQJbjlcNFk7dNF3OYEatxIt6aw314JKi8lk40WiCSRaObnxH8WYPrMrz6K2COLJk8dSfYbpHqCiHctJ0nJunmDhwIOSMjinnoFM2fZhTBAnJJz1P/wCf7mSSUvJaGbWR+g1J09ardr3k6nVcIBEN1nHWIIVoub30+K7vyt/3WzJRE4u/DNmpmMPZZ7VvB9O2RTcHNuBb3kESWnUg6tI9ilbSzaGGO6Y/lLe8Im4sjJBm5rh4xhUFfeD6zgLW3G1oDWwcYa1oGnIQOgW/aN6V2VHF/nl7Xm4A5F0eFsPcIGM+C6vYjiHO7U8yse/r/gjWPtdA772kEGdIK8ftFdszRAgEmbxABtJy7SceJ0Va3tBUBaQGcOG8I4WlgpljeYbaAOvisvKKr/D9vkSePztT+mnPXKdj2wX90rCttNZgJdRDQIkm8akgfa1lrhGvCeiw3ftxq1HzAAa2AJ6mTlV9bf1Rwe02gOEEBoGri9xA0kuJM+6Fs7POmpU/K3+ZXhmqYjBmbRfbo9svM97G8r20JaF6i4jqvLR0S0dF6iDy0dEtHReog8AXqIgIiICIiAiIgIiICIiAiIgIiIK/fLC5rRaHNnM3mMEB1rWOuA9WsKTsDYpUxBENbg6jAwcD+Q9QUffDAWAm3BHnhpHPBuBEf2HRSNlJNJkC0logWwBj7ojA6YQeVP31P8lT+qmpCg02PFZt7mu4Hxa0tjipzMuM8umh6ryltzjUewMDiCY4rcATzWjDwZxZtTMdHjXixhxeY8WdbdNN5eXA8fnZInAHL8o9y9G66ecHIIOToZkeA4jp4LTT3sXBxFPDRceM4Ehs+9w962P214P7hxzEguIJ6AgQT4eC99Bicw8NZRxP79UqlTDQANAs1A+sHzHcOnpxz00jqD7l6Nuef9B+TH29RqBjXBx4JoMTmE6yjif36py5TtDUjaD+Vv8Aurw7wfE9w6OvHGNcx4j3psG0d9eXNGHADni0HU+KmMGvLf5JtPgjvacf+EXhzGxbx7qox4glrgYJwYOmFZbB2mZQAFOmQA4OANWQeKm43gNAc79mIOIuOCug7hv3R7gncN+6PcFFWc7XWn7rRlbdJUI7WEgB7bxaG5qGcMa0kEgxJYHHr+q2eWRLpLMTNoqEcnhwBgwHX5Ig8Iz0uu4b90e4J3Dfuj3BV1UeX7p08+Zw3fjqrrss6X1fyt/mVf8AcN+6PcFk2mBoAExc3OJTNMwYeXiirtXZIiLE1CIiAiIgIiICIiAiIgIiICIiAiIgIiICIiCBvjDA4OttdM3uYPNP3XtuJ0AJGsqRsP7qnp5rdDI0Ghkz65PrK070a4htgcSHTwmNARk3tI15HlnGDJoTa2ZmBMkkzGZJJn3n1oNdT99T/JU/qpqldtvdbS91odDjAN0ZEfZIKuqn76n+Sp/VTXK70qRXq/m/2C6GS+Pfj8sea+H6/hN2bb7S4CmCHtsLf2meJrpEOm6Wj+ysW9pXtqRVpiIIc2HA5JOWuPU5B1GMaqh3dt4pVA4yRDgYIDocxzCWnk4XSPEKx2ff1FjQO7c+J88UjmSQ8mJuAIbbkWjmV0a5ifC7DTHqlVu05JMU2lpJ864mC5zwDmMOe46dNYzuq9rrgD3Yvl133SHGoXc5P7zE6Z1lQ2dpKJcC+jMEHApCbXUn2nEQTTqSfSnXIWiv2gY6mWd2BwwDFPBDKQBkCfOZUdr/AKvrVdp+X7rb8pFXtLUdMwZBB87mx9MnXWKjj648Z29nHS2p+f8A9Qub75dB2WdLKn5//ULxzlowtuYeuWv3m67REXGdMREQEREBERAREQEREBERAREQEREBERAREQEREBERAREQEREEbaGuD2Oa26A8EAtB4iwgiYH2Tz5rz6FTfxOpCTrIaT7SCR+qlIpuiyL9V0vw2+4J9V0vw2+4KUiXSi/VdL8NvuCfVdL8NvuClIlyyL9V0vw2+4LdR2drBDWho8BC2IoBERAREQEREBERAREQEREBERAREQEREBERAREQEREBERAREQEV95K+l+D5k8lfS/B8yChAVY3f7IEteCQDbaSeISJ9n/1MGOx8lfS/B8y98lT+L8B/yQcgzfTHNc4BxIE2xkkhpDRnJNzRjGekE6XdpaImboxBjWfDlyyevqntPJU/i/Af8kPZX0vwe0faQca7tDTECHSTEEAfbNOSZxoTBzHtjJu/6ZcwAO4wCDaftEBoI9pzpjmux8lj+L8B/wAk8lj+L8B/yQcdT37TJiHg9Lf4gyZ0Akz6s8wvB2ipEAw/IkcBMgC7EY5H/mV2XkqfxfgP+SeSp/F+A/5IOOrb9Y1zm2uJaYIFs6xpM5Mx1jxE+0N9teWi1wut1t+080xgGcEZ6T4FdeOyvpfg+ZD2V9L8HzIKFFfeSvpfg+ZPJX0vwfMgoUV95K+l+D5k8lfS/B8yChRX3kr6X4PmTyV9L8HzIKFFfeSvpfg+ZPJX0vwfMgoUV95K+l+D5k8lfS/B8yChRX3kr6X4PmTyV9L8HzIKFFfeSvpfg+ZPJX0vwfMgoUV95K+l+D5k8lfS/B8yChRX3kr6X4PmTyV9L8HzIKFFfeSvpfg+ZPJX0vwfMgoUV95K+l+D5k8lfS/B8yChRX3kr6X4PmTyV9L8HzIKFFfeSvpfg+ZEH//Z"/>
          <p:cNvSpPr>
            <a:spLocks noChangeAspect="1" noChangeArrowheads="1"/>
          </p:cNvSpPr>
          <p:nvPr/>
        </p:nvSpPr>
        <p:spPr bwMode="auto">
          <a:xfrm>
            <a:off x="7258050" y="22622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pic>
        <p:nvPicPr>
          <p:cNvPr id="68614"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932" y="1301862"/>
            <a:ext cx="12151518" cy="5869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
        <p:nvSpPr>
          <p:cNvPr id="68615" name="CaixaDeTexto 5"/>
          <p:cNvSpPr txBox="1">
            <a:spLocks noChangeArrowheads="1"/>
          </p:cNvSpPr>
          <p:nvPr/>
        </p:nvSpPr>
        <p:spPr bwMode="auto">
          <a:xfrm>
            <a:off x="592932" y="655531"/>
            <a:ext cx="43861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i="1" dirty="0">
                <a:solidFill>
                  <a:srgbClr val="FF0000"/>
                </a:solidFill>
                <a:latin typeface="Calibri" panose="020F0502020204030204" pitchFamily="34" charset="0"/>
              </a:rPr>
              <a:t>Níveis de maturidade: </a:t>
            </a:r>
          </a:p>
        </p:txBody>
      </p:sp>
      <p:pic>
        <p:nvPicPr>
          <p:cNvPr id="2" name="Imagem 1">
            <a:extLst>
              <a:ext uri="{FF2B5EF4-FFF2-40B4-BE49-F238E27FC236}">
                <a16:creationId xmlns:a16="http://schemas.microsoft.com/office/drawing/2014/main" id="{33EC12EB-AEC5-4414-A92A-5AE727ADD0B3}"/>
              </a:ext>
            </a:extLst>
          </p:cNvPr>
          <p:cNvPicPr>
            <a:picLocks noChangeAspect="1"/>
          </p:cNvPicPr>
          <p:nvPr/>
        </p:nvPicPr>
        <p:blipFill>
          <a:blip r:embed="rId4"/>
          <a:stretch>
            <a:fillRect/>
          </a:stretch>
        </p:blipFill>
        <p:spPr>
          <a:xfrm>
            <a:off x="4313441" y="7272791"/>
            <a:ext cx="5440166" cy="3014208"/>
          </a:xfrm>
          <a:prstGeom prst="rect">
            <a:avLst/>
          </a:prstGeom>
        </p:spPr>
      </p:pic>
    </p:spTree>
    <p:custDataLst>
      <p:tags r:id="rId1"/>
    </p:custDataLst>
    <p:extLst>
      <p:ext uri="{BB962C8B-B14F-4D97-AF65-F5344CB8AC3E}">
        <p14:creationId xmlns:p14="http://schemas.microsoft.com/office/powerpoint/2010/main" val="3817499813"/>
      </p:ext>
    </p:extLst>
  </p:cSld>
  <p:clrMapOvr>
    <a:masterClrMapping/>
  </p:clrMapOvr>
  <p:transition spd="slow">
    <p:strips dir="rd"/>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ço Reservado para Número de Slide 5"/>
          <p:cNvSpPr txBox="1">
            <a:spLocks noGrp="1"/>
          </p:cNvSpPr>
          <p:nvPr/>
        </p:nvSpPr>
        <p:spPr bwMode="auto">
          <a:xfrm>
            <a:off x="10589420" y="9751220"/>
            <a:ext cx="28575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r" eaLnBrk="1" hangingPunct="1">
              <a:spcBef>
                <a:spcPct val="0"/>
              </a:spcBef>
              <a:buFontTx/>
              <a:buNone/>
            </a:pPr>
            <a:fld id="{4547A016-183A-4F90-8D44-65C48934809A}" type="slidenum">
              <a:rPr lang="pt-BR" altLang="pt-BR" sz="1800">
                <a:solidFill>
                  <a:schemeClr val="bg1"/>
                </a:solidFill>
                <a:latin typeface="Arial" panose="020B0604020202020204" pitchFamily="34" charset="0"/>
              </a:rPr>
              <a:pPr algn="r" eaLnBrk="1" hangingPunct="1">
                <a:spcBef>
                  <a:spcPct val="0"/>
                </a:spcBef>
                <a:buFontTx/>
                <a:buNone/>
              </a:pPr>
              <a:t>52</a:t>
            </a:fld>
            <a:endParaRPr lang="pt-BR" altLang="pt-BR" sz="1800">
              <a:solidFill>
                <a:schemeClr val="bg1"/>
              </a:solidFill>
              <a:latin typeface="Arial" panose="020B0604020202020204" pitchFamily="34" charset="0"/>
            </a:endParaRPr>
          </a:p>
        </p:txBody>
      </p:sp>
      <p:sp>
        <p:nvSpPr>
          <p:cNvPr id="69635" name="Rectangle 2"/>
          <p:cNvSpPr>
            <a:spLocks noGrp="1" noChangeArrowheads="1"/>
          </p:cNvSpPr>
          <p:nvPr>
            <p:ph type="title" idx="4294967295"/>
          </p:nvPr>
        </p:nvSpPr>
        <p:spPr bwMode="auto">
          <a:xfrm>
            <a:off x="566738" y="173833"/>
            <a:ext cx="11418095" cy="747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b"/>
          <a:lstStyle/>
          <a:p>
            <a:pPr eaLnBrk="1" hangingPunct="1"/>
            <a:r>
              <a:rPr lang="pt-BR" altLang="pt-BR" sz="3600">
                <a:latin typeface="Arial" panose="020B0604020202020204" pitchFamily="34" charset="0"/>
              </a:rPr>
              <a:t>Kerzner</a:t>
            </a:r>
            <a:r>
              <a:rPr lang="pt-BR" altLang="pt-BR" sz="3600"/>
              <a:t>’</a:t>
            </a:r>
            <a:r>
              <a:rPr lang="pt-BR" altLang="pt-BR" sz="3600">
                <a:latin typeface="Arial" panose="020B0604020202020204" pitchFamily="34" charset="0"/>
              </a:rPr>
              <a:t>s PMMM</a:t>
            </a:r>
          </a:p>
        </p:txBody>
      </p:sp>
      <p:sp>
        <p:nvSpPr>
          <p:cNvPr id="9" name="Content Placeholder 2"/>
          <p:cNvSpPr txBox="1">
            <a:spLocks/>
          </p:cNvSpPr>
          <p:nvPr/>
        </p:nvSpPr>
        <p:spPr>
          <a:xfrm>
            <a:off x="809625" y="2550320"/>
            <a:ext cx="11877675" cy="6936581"/>
          </a:xfrm>
          <a:prstGeom prst="rect">
            <a:avLst/>
          </a:prstGeom>
        </p:spPr>
        <p:txBody>
          <a:bodyPr/>
          <a:lstStyle>
            <a:lvl1pPr marL="282575" indent="-282575" algn="l" rtl="0" eaLnBrk="0" fontAlgn="base" hangingPunct="0">
              <a:lnSpc>
                <a:spcPct val="95000"/>
              </a:lnSpc>
              <a:spcBef>
                <a:spcPct val="0"/>
              </a:spcBef>
              <a:spcAft>
                <a:spcPct val="35000"/>
              </a:spcAft>
              <a:buClr>
                <a:schemeClr val="hlink"/>
              </a:buClr>
              <a:buSzPct val="75000"/>
              <a:buFont typeface="Monotype Sorts" pitchFamily="2" charset="2"/>
              <a:buChar char="n"/>
              <a:defRPr sz="2400">
                <a:solidFill>
                  <a:schemeClr val="bg2"/>
                </a:solidFill>
                <a:latin typeface="+mn-lt"/>
                <a:ea typeface="+mn-ea"/>
                <a:cs typeface="+mn-cs"/>
              </a:defRPr>
            </a:lvl1pPr>
            <a:lvl2pPr marL="679450" indent="-225425" algn="l" rtl="0" eaLnBrk="0" fontAlgn="base" hangingPunct="0">
              <a:lnSpc>
                <a:spcPct val="90000"/>
              </a:lnSpc>
              <a:spcBef>
                <a:spcPct val="0"/>
              </a:spcBef>
              <a:spcAft>
                <a:spcPct val="30000"/>
              </a:spcAft>
              <a:buClr>
                <a:srgbClr val="800000"/>
              </a:buClr>
              <a:buSzPct val="100000"/>
              <a:buFont typeface="Wingdings" pitchFamily="2" charset="2"/>
              <a:buChar char="v"/>
              <a:defRPr sz="2400">
                <a:solidFill>
                  <a:schemeClr val="bg2"/>
                </a:solidFill>
                <a:latin typeface="+mn-lt"/>
              </a:defRPr>
            </a:lvl2pPr>
            <a:lvl3pPr marL="1133475" indent="-225425" algn="l" rtl="0" eaLnBrk="0" fontAlgn="base" hangingPunct="0">
              <a:lnSpc>
                <a:spcPct val="90000"/>
              </a:lnSpc>
              <a:spcBef>
                <a:spcPct val="30000"/>
              </a:spcBef>
              <a:spcAft>
                <a:spcPct val="0"/>
              </a:spcAft>
              <a:buClr>
                <a:schemeClr val="hlink"/>
              </a:buClr>
              <a:buSzPct val="100000"/>
              <a:buChar char="»"/>
              <a:defRPr sz="2400">
                <a:solidFill>
                  <a:schemeClr val="bg2"/>
                </a:solidFill>
                <a:latin typeface="+mn-lt"/>
              </a:defRPr>
            </a:lvl3pPr>
            <a:lvl4pPr marL="1530350" indent="-169863" algn="l" rtl="0" eaLnBrk="0" fontAlgn="base" hangingPunct="0">
              <a:lnSpc>
                <a:spcPct val="90000"/>
              </a:lnSpc>
              <a:spcBef>
                <a:spcPct val="30000"/>
              </a:spcBef>
              <a:spcAft>
                <a:spcPct val="0"/>
              </a:spcAft>
              <a:buSzPct val="100000"/>
              <a:buChar char="–"/>
              <a:defRPr sz="2400">
                <a:solidFill>
                  <a:schemeClr val="bg2"/>
                </a:solidFill>
                <a:latin typeface="+mn-lt"/>
              </a:defRPr>
            </a:lvl4pPr>
            <a:lvl5pPr marL="1984375" indent="-169863" algn="l" rtl="0" eaLnBrk="0" fontAlgn="base" hangingPunct="0">
              <a:lnSpc>
                <a:spcPct val="90000"/>
              </a:lnSpc>
              <a:spcBef>
                <a:spcPct val="30000"/>
              </a:spcBef>
              <a:spcAft>
                <a:spcPct val="0"/>
              </a:spcAft>
              <a:buSzPct val="100000"/>
              <a:buChar char="•"/>
              <a:defRPr sz="2400">
                <a:solidFill>
                  <a:schemeClr val="bg2"/>
                </a:solidFill>
                <a:latin typeface="+mn-lt"/>
              </a:defRPr>
            </a:lvl5pPr>
            <a:lvl6pPr marL="2439350" indent="-170185" algn="l" rtl="0" fontAlgn="base">
              <a:lnSpc>
                <a:spcPct val="90000"/>
              </a:lnSpc>
              <a:spcBef>
                <a:spcPct val="30000"/>
              </a:spcBef>
              <a:spcAft>
                <a:spcPct val="0"/>
              </a:spcAft>
              <a:buSzPct val="100000"/>
              <a:buChar char="•"/>
              <a:defRPr sz="2400">
                <a:solidFill>
                  <a:schemeClr val="bg2"/>
                </a:solidFill>
                <a:latin typeface="+mn-lt"/>
              </a:defRPr>
            </a:lvl6pPr>
            <a:lvl7pPr marL="2893177" indent="-170185" algn="l" rtl="0" fontAlgn="base">
              <a:lnSpc>
                <a:spcPct val="90000"/>
              </a:lnSpc>
              <a:spcBef>
                <a:spcPct val="30000"/>
              </a:spcBef>
              <a:spcAft>
                <a:spcPct val="0"/>
              </a:spcAft>
              <a:buSzPct val="100000"/>
              <a:buChar char="•"/>
              <a:defRPr sz="2400">
                <a:solidFill>
                  <a:schemeClr val="bg2"/>
                </a:solidFill>
                <a:latin typeface="+mn-lt"/>
              </a:defRPr>
            </a:lvl7pPr>
            <a:lvl8pPr marL="3347010" indent="-170185" algn="l" rtl="0" fontAlgn="base">
              <a:lnSpc>
                <a:spcPct val="90000"/>
              </a:lnSpc>
              <a:spcBef>
                <a:spcPct val="30000"/>
              </a:spcBef>
              <a:spcAft>
                <a:spcPct val="0"/>
              </a:spcAft>
              <a:buSzPct val="100000"/>
              <a:buChar char="•"/>
              <a:defRPr sz="2400">
                <a:solidFill>
                  <a:schemeClr val="bg2"/>
                </a:solidFill>
                <a:latin typeface="+mn-lt"/>
              </a:defRPr>
            </a:lvl8pPr>
            <a:lvl9pPr marL="3800854" indent="-170185" algn="l" rtl="0" fontAlgn="base">
              <a:lnSpc>
                <a:spcPct val="90000"/>
              </a:lnSpc>
              <a:spcBef>
                <a:spcPct val="30000"/>
              </a:spcBef>
              <a:spcAft>
                <a:spcPct val="0"/>
              </a:spcAft>
              <a:buSzPct val="100000"/>
              <a:buChar char="•"/>
              <a:defRPr sz="2400">
                <a:solidFill>
                  <a:schemeClr val="bg2"/>
                </a:solidFill>
                <a:latin typeface="+mn-lt"/>
              </a:defRPr>
            </a:lvl9pPr>
          </a:lstStyle>
          <a:p>
            <a:pPr>
              <a:defRPr/>
            </a:pPr>
            <a:r>
              <a:rPr lang="pt-BR" sz="3600" kern="0" dirty="0">
                <a:solidFill>
                  <a:schemeClr val="tx1"/>
                </a:solidFill>
              </a:rPr>
              <a:t>As perguntas deverão ser respondidas de acordo com a escala demonstrada na tabela abaixo</a:t>
            </a:r>
            <a:endParaRPr lang="en-US" sz="3600" kern="0" dirty="0">
              <a:solidFill>
                <a:schemeClr val="tx1"/>
              </a:solidFill>
            </a:endParaRPr>
          </a:p>
          <a:p>
            <a:pPr>
              <a:defRPr/>
            </a:pPr>
            <a:endParaRPr lang="pt-BR" sz="3600" kern="0" dirty="0"/>
          </a:p>
        </p:txBody>
      </p:sp>
      <p:graphicFrame>
        <p:nvGraphicFramePr>
          <p:cNvPr id="10" name="Table 4"/>
          <p:cNvGraphicFramePr>
            <a:graphicFrameLocks noGrp="1"/>
          </p:cNvGraphicFramePr>
          <p:nvPr/>
        </p:nvGraphicFramePr>
        <p:xfrm>
          <a:off x="1659732" y="3938588"/>
          <a:ext cx="10598943" cy="5310192"/>
        </p:xfrm>
        <a:graphic>
          <a:graphicData uri="http://schemas.openxmlformats.org/drawingml/2006/table">
            <a:tbl>
              <a:tblPr/>
              <a:tblGrid>
                <a:gridCol w="5298858">
                  <a:extLst>
                    <a:ext uri="{9D8B030D-6E8A-4147-A177-3AD203B41FA5}">
                      <a16:colId xmlns:a16="http://schemas.microsoft.com/office/drawing/2014/main" val="20000"/>
                    </a:ext>
                  </a:extLst>
                </a:gridCol>
                <a:gridCol w="5300085">
                  <a:extLst>
                    <a:ext uri="{9D8B030D-6E8A-4147-A177-3AD203B41FA5}">
                      <a16:colId xmlns:a16="http://schemas.microsoft.com/office/drawing/2014/main" val="20001"/>
                    </a:ext>
                  </a:extLst>
                </a:gridCol>
              </a:tblGrid>
              <a:tr h="663774">
                <a:tc>
                  <a:txBody>
                    <a:bodyPr/>
                    <a:lstStyle/>
                    <a:p>
                      <a:pPr algn="ctr">
                        <a:spcBef>
                          <a:spcPts val="600"/>
                        </a:spcBef>
                        <a:spcAft>
                          <a:spcPts val="0"/>
                        </a:spcAft>
                        <a:tabLst>
                          <a:tab pos="457200" algn="l"/>
                        </a:tabLst>
                      </a:pPr>
                      <a:r>
                        <a:rPr lang="pt-BR" sz="2700" b="1" dirty="0">
                          <a:solidFill>
                            <a:schemeClr val="tx1"/>
                          </a:solidFill>
                          <a:latin typeface="Times"/>
                          <a:ea typeface="Times New Roman"/>
                          <a:cs typeface="Times New Roman"/>
                        </a:rPr>
                        <a:t>Pontuação</a:t>
                      </a:r>
                      <a:endParaRPr lang="pt-BR" sz="2700" dirty="0">
                        <a:solidFill>
                          <a:schemeClr val="tx1"/>
                        </a:solidFill>
                        <a:latin typeface="Times"/>
                        <a:ea typeface="Times New Roman"/>
                        <a:cs typeface="Times New Roman"/>
                      </a:endParaRP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CCFF"/>
                    </a:solidFill>
                  </a:tcPr>
                </a:tc>
                <a:tc>
                  <a:txBody>
                    <a:bodyPr/>
                    <a:lstStyle/>
                    <a:p>
                      <a:pPr algn="ctr">
                        <a:spcBef>
                          <a:spcPts val="600"/>
                        </a:spcBef>
                        <a:spcAft>
                          <a:spcPts val="0"/>
                        </a:spcAft>
                        <a:tabLst>
                          <a:tab pos="457200" algn="l"/>
                        </a:tabLst>
                      </a:pPr>
                      <a:r>
                        <a:rPr lang="pt-BR" sz="2700" b="1" dirty="0">
                          <a:solidFill>
                            <a:schemeClr val="tx1"/>
                          </a:solidFill>
                          <a:latin typeface="Times"/>
                          <a:ea typeface="Times New Roman"/>
                          <a:cs typeface="Times New Roman"/>
                        </a:rPr>
                        <a:t>Nível de concordância</a:t>
                      </a:r>
                      <a:endParaRPr lang="pt-BR" sz="2700" dirty="0">
                        <a:solidFill>
                          <a:schemeClr val="tx1"/>
                        </a:solidFill>
                        <a:latin typeface="Times"/>
                        <a:ea typeface="Times New Roman"/>
                        <a:cs typeface="Times New Roman"/>
                      </a:endParaRP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CCFF"/>
                    </a:solidFill>
                  </a:tcPr>
                </a:tc>
                <a:extLst>
                  <a:ext uri="{0D108BD9-81ED-4DB2-BD59-A6C34878D82A}">
                    <a16:rowId xmlns:a16="http://schemas.microsoft.com/office/drawing/2014/main" val="10000"/>
                  </a:ext>
                </a:extLst>
              </a:tr>
              <a:tr h="663774">
                <a:tc>
                  <a:txBody>
                    <a:bodyPr/>
                    <a:lstStyle/>
                    <a:p>
                      <a:pPr algn="ctr">
                        <a:spcBef>
                          <a:spcPts val="600"/>
                        </a:spcBef>
                        <a:spcAft>
                          <a:spcPts val="0"/>
                        </a:spcAft>
                        <a:tabLst>
                          <a:tab pos="457200" algn="l"/>
                        </a:tabLst>
                      </a:pPr>
                      <a:r>
                        <a:rPr lang="pt-BR" sz="2700" dirty="0">
                          <a:solidFill>
                            <a:srgbClr val="FF0000"/>
                          </a:solidFill>
                          <a:latin typeface="Times"/>
                          <a:ea typeface="Times New Roman"/>
                          <a:cs typeface="Times New Roman"/>
                        </a:rPr>
                        <a:t>-3</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Discordo fortemente</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2</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Discordo</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1</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dirty="0">
                          <a:solidFill>
                            <a:srgbClr val="FF0000"/>
                          </a:solidFill>
                          <a:latin typeface="Times"/>
                          <a:ea typeface="Times New Roman"/>
                          <a:cs typeface="Times New Roman"/>
                        </a:rPr>
                        <a:t>Discordo ligeiramente</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0</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Sem opinião</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1</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Concordo ligeiramente</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2</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Concordo</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63774">
                <a:tc>
                  <a:txBody>
                    <a:bodyPr/>
                    <a:lstStyle/>
                    <a:p>
                      <a:pPr algn="ctr">
                        <a:spcBef>
                          <a:spcPts val="600"/>
                        </a:spcBef>
                        <a:spcAft>
                          <a:spcPts val="0"/>
                        </a:spcAft>
                        <a:tabLst>
                          <a:tab pos="457200" algn="l"/>
                        </a:tabLst>
                      </a:pPr>
                      <a:r>
                        <a:rPr lang="pt-BR" sz="2700">
                          <a:solidFill>
                            <a:srgbClr val="FF0000"/>
                          </a:solidFill>
                          <a:latin typeface="Times"/>
                          <a:ea typeface="Times New Roman"/>
                          <a:cs typeface="Times New Roman"/>
                        </a:rPr>
                        <a:t>+3</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tabLst>
                          <a:tab pos="457200" algn="l"/>
                        </a:tabLst>
                      </a:pPr>
                      <a:r>
                        <a:rPr lang="pt-BR" sz="2700" dirty="0">
                          <a:solidFill>
                            <a:srgbClr val="FF0000"/>
                          </a:solidFill>
                          <a:latin typeface="Times"/>
                          <a:ea typeface="Times New Roman"/>
                          <a:cs typeface="Times New Roman"/>
                        </a:rPr>
                        <a:t>Concordo fortemente</a:t>
                      </a:r>
                    </a:p>
                  </a:txBody>
                  <a:tcPr marL="102881" marR="1028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69666" name="Retângulo 1"/>
          <p:cNvSpPr>
            <a:spLocks noChangeArrowheads="1"/>
          </p:cNvSpPr>
          <p:nvPr/>
        </p:nvSpPr>
        <p:spPr bwMode="auto">
          <a:xfrm>
            <a:off x="4129088" y="1688307"/>
            <a:ext cx="5141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000">
                <a:solidFill>
                  <a:schemeClr val="tx1"/>
                </a:solidFill>
                <a:latin typeface="Calibri" panose="020F0502020204030204" pitchFamily="34" charset="0"/>
              </a:rPr>
              <a:t>Questionário com 183 questões</a:t>
            </a:r>
          </a:p>
        </p:txBody>
      </p:sp>
    </p:spTree>
    <p:custDataLst>
      <p:tags r:id="rId1"/>
    </p:custDataLst>
    <p:extLst>
      <p:ext uri="{BB962C8B-B14F-4D97-AF65-F5344CB8AC3E}">
        <p14:creationId xmlns:p14="http://schemas.microsoft.com/office/powerpoint/2010/main" val="3644475995"/>
      </p:ext>
    </p:extLst>
  </p:cSld>
  <p:clrMapOvr>
    <a:masterClrMapping/>
  </p:clrMapOvr>
  <p:transition spd="slow">
    <p:strips dir="rd"/>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4"/>
          <p:cNvSpPr>
            <a:spLocks noChangeArrowheads="1"/>
          </p:cNvSpPr>
          <p:nvPr/>
        </p:nvSpPr>
        <p:spPr bwMode="auto">
          <a:xfrm>
            <a:off x="592933" y="0"/>
            <a:ext cx="8965406"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5400" dirty="0">
                <a:solidFill>
                  <a:schemeClr val="tx1"/>
                </a:solidFill>
                <a:latin typeface="Calibri" panose="020F0502020204030204" pitchFamily="34" charset="0"/>
              </a:rPr>
              <a:t>Modelos: MMGP</a:t>
            </a:r>
          </a:p>
        </p:txBody>
      </p:sp>
      <p:pic>
        <p:nvPicPr>
          <p:cNvPr id="706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933" y="4080471"/>
            <a:ext cx="2494444" cy="2447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0" name="Rectangle 5"/>
          <p:cNvSpPr>
            <a:spLocks noChangeArrowheads="1"/>
          </p:cNvSpPr>
          <p:nvPr/>
        </p:nvSpPr>
        <p:spPr bwMode="auto">
          <a:xfrm>
            <a:off x="702470" y="1607345"/>
            <a:ext cx="12344400" cy="7393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lstStyle>
            <a:lvl1pPr marL="452438" indent="-452438">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Calibri" panose="020F0502020204030204" pitchFamily="34" charset="0"/>
              </a:rPr>
              <a:t>Desenvolvido entre 1999 e 2002 (Darci Prado – INDG)</a:t>
            </a:r>
          </a:p>
          <a:p>
            <a:pPr eaLnBrk="1" hangingPunct="1">
              <a:spcBef>
                <a:spcPct val="0"/>
              </a:spcBef>
              <a:buFontTx/>
              <a:buNone/>
            </a:pPr>
            <a:endParaRPr lang="pt-BR" altLang="pt-BR" sz="1500">
              <a:solidFill>
                <a:srgbClr val="000000"/>
              </a:solidFill>
              <a:latin typeface="Calibri" panose="020F0502020204030204" pitchFamily="34" charset="0"/>
            </a:endParaRPr>
          </a:p>
          <a:p>
            <a:pPr eaLnBrk="1" hangingPunct="1">
              <a:spcBef>
                <a:spcPct val="0"/>
              </a:spcBef>
              <a:buFontTx/>
              <a:buNone/>
            </a:pPr>
            <a:r>
              <a:rPr lang="pt-BR" altLang="pt-BR" sz="2700">
                <a:solidFill>
                  <a:srgbClr val="000000"/>
                </a:solidFill>
                <a:latin typeface="Calibri" panose="020F0502020204030204" pitchFamily="34" charset="0"/>
              </a:rPr>
              <a:t>Avaliação</a:t>
            </a:r>
          </a:p>
          <a:p>
            <a:pPr eaLnBrk="1" hangingPunct="1">
              <a:spcBef>
                <a:spcPct val="0"/>
              </a:spcBef>
            </a:pPr>
            <a:r>
              <a:rPr lang="pt-BR" altLang="pt-BR" sz="2700">
                <a:solidFill>
                  <a:srgbClr val="000000"/>
                </a:solidFill>
                <a:latin typeface="Calibri" panose="020F0502020204030204" pitchFamily="34" charset="0"/>
              </a:rPr>
              <a:t>Setorial (lançada em 2002)</a:t>
            </a:r>
          </a:p>
          <a:p>
            <a:pPr eaLnBrk="1" hangingPunct="1">
              <a:spcBef>
                <a:spcPct val="0"/>
              </a:spcBef>
            </a:pPr>
            <a:r>
              <a:rPr lang="pt-BR" altLang="pt-BR" sz="2700">
                <a:solidFill>
                  <a:srgbClr val="000000"/>
                </a:solidFill>
                <a:latin typeface="Calibri" panose="020F0502020204030204" pitchFamily="34" charset="0"/>
              </a:rPr>
              <a:t>Corporativa (lançada em 2004)</a:t>
            </a:r>
          </a:p>
          <a:p>
            <a:pPr eaLnBrk="1" hangingPunct="1">
              <a:spcBef>
                <a:spcPct val="0"/>
              </a:spcBef>
            </a:pPr>
            <a:endParaRPr lang="pt-BR" altLang="pt-BR" sz="1500">
              <a:solidFill>
                <a:srgbClr val="000000"/>
              </a:solidFill>
              <a:latin typeface="Arial" panose="020B0604020202020204" pitchFamily="34" charset="0"/>
            </a:endParaRPr>
          </a:p>
          <a:p>
            <a:pPr eaLnBrk="1" hangingPunct="1">
              <a:spcBef>
                <a:spcPct val="0"/>
              </a:spcBef>
              <a:buFontTx/>
              <a:buNone/>
            </a:pPr>
            <a:endParaRPr lang="pt-BR" altLang="pt-BR" sz="2700">
              <a:solidFill>
                <a:srgbClr val="FFFFFF"/>
              </a:solidFill>
              <a:latin typeface="Arial" panose="020B0604020202020204" pitchFamily="34" charset="0"/>
            </a:endParaRPr>
          </a:p>
        </p:txBody>
      </p:sp>
      <p:sp>
        <p:nvSpPr>
          <p:cNvPr id="19" name="Text Box 7"/>
          <p:cNvSpPr txBox="1">
            <a:spLocks noChangeArrowheads="1"/>
          </p:cNvSpPr>
          <p:nvPr/>
        </p:nvSpPr>
        <p:spPr bwMode="auto">
          <a:xfrm>
            <a:off x="6317458" y="2519363"/>
            <a:ext cx="5183981" cy="1153108"/>
          </a:xfrm>
          <a:prstGeom prst="rect">
            <a:avLst/>
          </a:prstGeom>
          <a:solidFill>
            <a:srgbClr val="FFFF99"/>
          </a:solidFill>
          <a:ln>
            <a:noFill/>
          </a:ln>
        </p:spPr>
        <p:txBody>
          <a:bodyPr lIns="136145" tIns="68058" rIns="136145" bIns="68058">
            <a:spAutoFit/>
          </a:bodyPr>
          <a:lstStyle>
            <a:lvl1pPr marL="450850" indent="-450850">
              <a:tabLst>
                <a:tab pos="358775" algn="l"/>
              </a:tabLst>
              <a:defRPr i="1">
                <a:solidFill>
                  <a:schemeClr val="bg2"/>
                </a:solidFill>
                <a:latin typeface="Arial" charset="0"/>
              </a:defRPr>
            </a:lvl1pPr>
            <a:lvl2pPr marL="742950" indent="-285750">
              <a:tabLst>
                <a:tab pos="358775" algn="l"/>
              </a:tabLst>
              <a:defRPr i="1">
                <a:solidFill>
                  <a:schemeClr val="bg2"/>
                </a:solidFill>
                <a:latin typeface="Arial" charset="0"/>
              </a:defRPr>
            </a:lvl2pPr>
            <a:lvl3pPr marL="1143000" indent="-228600">
              <a:tabLst>
                <a:tab pos="358775" algn="l"/>
              </a:tabLst>
              <a:defRPr i="1">
                <a:solidFill>
                  <a:schemeClr val="bg2"/>
                </a:solidFill>
                <a:latin typeface="Arial" charset="0"/>
              </a:defRPr>
            </a:lvl3pPr>
            <a:lvl4pPr marL="1600200" indent="-228600">
              <a:tabLst>
                <a:tab pos="358775" algn="l"/>
              </a:tabLst>
              <a:defRPr i="1">
                <a:solidFill>
                  <a:schemeClr val="bg2"/>
                </a:solidFill>
                <a:latin typeface="Arial" charset="0"/>
              </a:defRPr>
            </a:lvl4pPr>
            <a:lvl5pPr marL="2057400" indent="-228600">
              <a:tabLst>
                <a:tab pos="358775" algn="l"/>
              </a:tabLst>
              <a:defRPr i="1">
                <a:solidFill>
                  <a:schemeClr val="bg2"/>
                </a:solidFill>
                <a:latin typeface="Arial" charset="0"/>
              </a:defRPr>
            </a:lvl5pPr>
            <a:lvl6pPr marL="2514600" indent="-228600" algn="ctr" eaLnBrk="0" fontAlgn="base" hangingPunct="0">
              <a:spcBef>
                <a:spcPct val="0"/>
              </a:spcBef>
              <a:spcAft>
                <a:spcPct val="0"/>
              </a:spcAft>
              <a:tabLst>
                <a:tab pos="358775" algn="l"/>
              </a:tabLst>
              <a:defRPr i="1">
                <a:solidFill>
                  <a:schemeClr val="bg2"/>
                </a:solidFill>
                <a:latin typeface="Arial" charset="0"/>
              </a:defRPr>
            </a:lvl6pPr>
            <a:lvl7pPr marL="2971800" indent="-228600" algn="ctr" eaLnBrk="0" fontAlgn="base" hangingPunct="0">
              <a:spcBef>
                <a:spcPct val="0"/>
              </a:spcBef>
              <a:spcAft>
                <a:spcPct val="0"/>
              </a:spcAft>
              <a:tabLst>
                <a:tab pos="358775" algn="l"/>
              </a:tabLst>
              <a:defRPr i="1">
                <a:solidFill>
                  <a:schemeClr val="bg2"/>
                </a:solidFill>
                <a:latin typeface="Arial" charset="0"/>
              </a:defRPr>
            </a:lvl7pPr>
            <a:lvl8pPr marL="3429000" indent="-228600" algn="ctr" eaLnBrk="0" fontAlgn="base" hangingPunct="0">
              <a:spcBef>
                <a:spcPct val="0"/>
              </a:spcBef>
              <a:spcAft>
                <a:spcPct val="0"/>
              </a:spcAft>
              <a:tabLst>
                <a:tab pos="358775" algn="l"/>
              </a:tabLst>
              <a:defRPr i="1">
                <a:solidFill>
                  <a:schemeClr val="bg2"/>
                </a:solidFill>
                <a:latin typeface="Arial" charset="0"/>
              </a:defRPr>
            </a:lvl8pPr>
            <a:lvl9pPr marL="3886200" indent="-228600" algn="ctr" eaLnBrk="0" fontAlgn="base" hangingPunct="0">
              <a:spcBef>
                <a:spcPct val="0"/>
              </a:spcBef>
              <a:spcAft>
                <a:spcPct val="0"/>
              </a:spcAft>
              <a:tabLst>
                <a:tab pos="358775" algn="l"/>
              </a:tabLst>
              <a:defRPr i="1">
                <a:solidFill>
                  <a:schemeClr val="bg2"/>
                </a:solidFill>
                <a:latin typeface="Arial" charset="0"/>
              </a:defRPr>
            </a:lvl9pPr>
          </a:lstStyle>
          <a:p>
            <a:pPr fontAlgn="auto">
              <a:spcBef>
                <a:spcPts val="0"/>
              </a:spcBef>
              <a:spcAft>
                <a:spcPts val="0"/>
              </a:spcAft>
              <a:defRPr/>
            </a:pPr>
            <a:r>
              <a:rPr lang="pt-BR" sz="2400" i="0" kern="0" dirty="0">
                <a:solidFill>
                  <a:srgbClr val="000000"/>
                </a:solidFill>
                <a:latin typeface="Calibri" panose="020F0502020204030204" pitchFamily="34" charset="0"/>
              </a:rPr>
              <a:t>Através de Questionários,</a:t>
            </a:r>
          </a:p>
          <a:p>
            <a:pPr fontAlgn="auto">
              <a:spcBef>
                <a:spcPts val="0"/>
              </a:spcBef>
              <a:spcAft>
                <a:spcPts val="0"/>
              </a:spcAft>
              <a:defRPr/>
            </a:pPr>
            <a:r>
              <a:rPr lang="pt-BR" sz="2400" i="0" kern="0" dirty="0">
                <a:solidFill>
                  <a:srgbClr val="000000"/>
                </a:solidFill>
                <a:latin typeface="Calibri" panose="020F0502020204030204" pitchFamily="34" charset="0"/>
              </a:rPr>
              <a:t>Modelo:  Como exercício anexo</a:t>
            </a:r>
          </a:p>
          <a:p>
            <a:pPr fontAlgn="auto">
              <a:spcBef>
                <a:spcPts val="0"/>
              </a:spcBef>
              <a:spcAft>
                <a:spcPts val="0"/>
              </a:spcAft>
              <a:defRPr/>
            </a:pPr>
            <a:endParaRPr lang="pt-BR" i="0" kern="0" dirty="0">
              <a:solidFill>
                <a:srgbClr val="FFFFFF"/>
              </a:solidFill>
            </a:endParaRPr>
          </a:p>
        </p:txBody>
      </p:sp>
      <p:sp>
        <p:nvSpPr>
          <p:cNvPr id="21" name="Retângulo 20"/>
          <p:cNvSpPr/>
          <p:nvPr/>
        </p:nvSpPr>
        <p:spPr>
          <a:xfrm>
            <a:off x="1538288" y="8724900"/>
            <a:ext cx="9963150" cy="400110"/>
          </a:xfrm>
          <a:prstGeom prst="rect">
            <a:avLst/>
          </a:prstGeom>
          <a:gradFill>
            <a:gsLst>
              <a:gs pos="0">
                <a:srgbClr val="99CCFF"/>
              </a:gs>
              <a:gs pos="100000">
                <a:srgbClr val="FFFFFF"/>
              </a:gs>
            </a:gsLst>
            <a:lin ang="18900000" scaled="1"/>
          </a:gradFill>
          <a:effectLst>
            <a:outerShdw blurRad="50800" dist="38100" dir="18900000" algn="bl" rotWithShape="0">
              <a:prstClr val="black">
                <a:alpha val="40000"/>
              </a:prstClr>
            </a:outerShdw>
          </a:effectLst>
        </p:spPr>
        <p:txBody>
          <a:bodyPr>
            <a:spAutoFit/>
          </a:bodyPr>
          <a:lstStyle/>
          <a:p>
            <a:pPr algn="ctr">
              <a:defRPr/>
            </a:pPr>
            <a:r>
              <a:rPr lang="pt-BR" sz="2000" i="1" dirty="0">
                <a:solidFill>
                  <a:srgbClr val="000000"/>
                </a:solidFill>
                <a:latin typeface="Calibri" panose="020F0502020204030204" pitchFamily="34" charset="0"/>
              </a:rPr>
              <a:t>Único modelo de maturidade em gestão de projetos brasileiro.</a:t>
            </a:r>
          </a:p>
        </p:txBody>
      </p:sp>
      <p:sp>
        <p:nvSpPr>
          <p:cNvPr id="70664" name="Rectangle 8"/>
          <p:cNvSpPr>
            <a:spLocks noChangeArrowheads="1"/>
          </p:cNvSpPr>
          <p:nvPr/>
        </p:nvSpPr>
        <p:spPr bwMode="auto">
          <a:xfrm>
            <a:off x="1" y="6655595"/>
            <a:ext cx="383381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2400">
                <a:solidFill>
                  <a:schemeClr val="tx1"/>
                </a:solidFill>
                <a:latin typeface="Arial" panose="020B0604020202020204" pitchFamily="34" charset="0"/>
              </a:rPr>
              <a:t>Maturidade Média: </a:t>
            </a:r>
          </a:p>
          <a:p>
            <a:pPr eaLnBrk="1" hangingPunct="1">
              <a:spcBef>
                <a:spcPct val="0"/>
              </a:spcBef>
              <a:buFontTx/>
              <a:buNone/>
            </a:pPr>
            <a:r>
              <a:rPr lang="en-US" altLang="pt-BR" sz="2400">
                <a:solidFill>
                  <a:schemeClr val="tx1"/>
                </a:solidFill>
                <a:latin typeface="Arial" panose="020B0604020202020204" pitchFamily="34" charset="0"/>
              </a:rPr>
              <a:t>Brasil em 2014 = </a:t>
            </a:r>
            <a:r>
              <a:rPr lang="en-US" altLang="pt-BR" sz="2400">
                <a:solidFill>
                  <a:srgbClr val="FF0000"/>
                </a:solidFill>
                <a:latin typeface="Arial" panose="020B0604020202020204" pitchFamily="34" charset="0"/>
              </a:rPr>
              <a:t>2,64</a:t>
            </a:r>
          </a:p>
          <a:p>
            <a:pPr eaLnBrk="1" hangingPunct="1">
              <a:spcBef>
                <a:spcPct val="0"/>
              </a:spcBef>
              <a:buFontTx/>
              <a:buNone/>
            </a:pPr>
            <a:r>
              <a:rPr lang="en-US" altLang="pt-BR" sz="2400">
                <a:solidFill>
                  <a:srgbClr val="FF0000"/>
                </a:solidFill>
                <a:latin typeface="Arial" panose="020B0604020202020204" pitchFamily="34" charset="0"/>
              </a:rPr>
              <a:t>Brasil em 2017 = 2,59</a:t>
            </a:r>
          </a:p>
        </p:txBody>
      </p:sp>
      <p:pic>
        <p:nvPicPr>
          <p:cNvPr id="70665" name="Imagem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40944" y="4247296"/>
            <a:ext cx="7167563" cy="430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115432836"/>
      </p:ext>
    </p:extLst>
  </p:cSld>
  <p:clrMapOvr>
    <a:masterClrMapping/>
  </p:clrMapOvr>
  <p:transition spd="slow">
    <p:strips dir="rd"/>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4"/>
          <p:cNvSpPr>
            <a:spLocks noChangeArrowheads="1"/>
          </p:cNvSpPr>
          <p:nvPr/>
        </p:nvSpPr>
        <p:spPr bwMode="auto">
          <a:xfrm>
            <a:off x="592933" y="0"/>
            <a:ext cx="8965406"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5400" dirty="0">
                <a:solidFill>
                  <a:schemeClr val="tx1"/>
                </a:solidFill>
                <a:latin typeface="Calibri" panose="020F0502020204030204" pitchFamily="34" charset="0"/>
              </a:rPr>
              <a:t>Modelos: MMGP</a:t>
            </a:r>
          </a:p>
        </p:txBody>
      </p:sp>
      <p:pic>
        <p:nvPicPr>
          <p:cNvPr id="3" name="Imagem 2">
            <a:extLst>
              <a:ext uri="{FF2B5EF4-FFF2-40B4-BE49-F238E27FC236}">
                <a16:creationId xmlns:a16="http://schemas.microsoft.com/office/drawing/2014/main" id="{382055E1-60F6-C784-D791-9C6D92475964}"/>
              </a:ext>
            </a:extLst>
          </p:cNvPr>
          <p:cNvPicPr>
            <a:picLocks noChangeAspect="1"/>
          </p:cNvPicPr>
          <p:nvPr/>
        </p:nvPicPr>
        <p:blipFill>
          <a:blip r:embed="rId3"/>
          <a:stretch>
            <a:fillRect/>
          </a:stretch>
        </p:blipFill>
        <p:spPr>
          <a:xfrm>
            <a:off x="695270" y="2191172"/>
            <a:ext cx="11000776" cy="7128792"/>
          </a:xfrm>
          <a:prstGeom prst="rect">
            <a:avLst/>
          </a:prstGeom>
          <a:ln w="228600" cap="sq" cmpd="thickThin">
            <a:solidFill>
              <a:srgbClr val="000000"/>
            </a:solidFill>
            <a:prstDash val="solid"/>
            <a:miter lim="800000"/>
          </a:ln>
          <a:effectLst>
            <a:innerShdw blurRad="76200">
              <a:srgbClr val="000000"/>
            </a:innerShdw>
          </a:effectLst>
        </p:spPr>
      </p:pic>
    </p:spTree>
    <p:custDataLst>
      <p:tags r:id="rId1"/>
    </p:custDataLst>
    <p:extLst>
      <p:ext uri="{BB962C8B-B14F-4D97-AF65-F5344CB8AC3E}">
        <p14:creationId xmlns:p14="http://schemas.microsoft.com/office/powerpoint/2010/main" val="2462411686"/>
      </p:ext>
    </p:extLst>
  </p:cSld>
  <p:clrMapOvr>
    <a:masterClrMapping/>
  </p:clrMapOvr>
  <p:transition spd="slow">
    <p:strips dir="rd"/>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p:cNvSpPr>
            <a:spLocks noGrp="1"/>
          </p:cNvSpPr>
          <p:nvPr>
            <p:ph type="title"/>
          </p:nvPr>
        </p:nvSpPr>
        <p:spPr bwMode="auto">
          <a:xfrm>
            <a:off x="449288" y="318964"/>
            <a:ext cx="12344400" cy="1714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en-US" altLang="pt-BR" dirty="0">
                <a:solidFill>
                  <a:schemeClr val="tx1"/>
                </a:solidFill>
                <a:latin typeface="Arial" panose="020B0604020202020204" pitchFamily="34" charset="0"/>
              </a:rPr>
              <a:t>MMGP - </a:t>
            </a:r>
            <a:r>
              <a:rPr lang="pt-BR" altLang="pt-BR" dirty="0">
                <a:solidFill>
                  <a:schemeClr val="tx1"/>
                </a:solidFill>
                <a:latin typeface="Arial" panose="020B0604020202020204" pitchFamily="34" charset="0"/>
              </a:rPr>
              <a:t>Estrutura do Modelo</a:t>
            </a:r>
          </a:p>
        </p:txBody>
      </p:sp>
      <p:pic>
        <p:nvPicPr>
          <p:cNvPr id="7168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88" y="1831132"/>
            <a:ext cx="13030200" cy="645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095616603"/>
      </p:ext>
    </p:extLst>
  </p:cSld>
  <p:clrMapOvr>
    <a:masterClrMapping/>
  </p:clrMapOvr>
  <p:transition spd="slow">
    <p:strips dir="rd"/>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5E4EEAAA-12C3-4CDB-A20A-616A316C0C57}"/>
              </a:ext>
            </a:extLst>
          </p:cNvPr>
          <p:cNvSpPr txBox="1">
            <a:spLocks/>
          </p:cNvSpPr>
          <p:nvPr/>
        </p:nvSpPr>
        <p:spPr>
          <a:xfrm>
            <a:off x="0" y="740169"/>
            <a:ext cx="12333438" cy="648071"/>
          </a:xfrm>
          <a:prstGeom prst="rect">
            <a:avLst/>
          </a:prstGeom>
        </p:spPr>
        <p:txBody>
          <a:bodyPr/>
          <a:lstStyle>
            <a:lvl1pPr marL="385715" indent="-385715" algn="l" rtl="0" eaLnBrk="1" fontAlgn="base" hangingPunct="1">
              <a:spcBef>
                <a:spcPct val="20000"/>
              </a:spcBef>
              <a:spcAft>
                <a:spcPct val="0"/>
              </a:spcAft>
              <a:buFont typeface="Arial" panose="020B0604020202020204" pitchFamily="34" charset="0"/>
              <a:buChar char="•"/>
              <a:defRPr sz="3600" kern="1200">
                <a:solidFill>
                  <a:schemeClr val="tx1"/>
                </a:solidFill>
                <a:latin typeface="+mn-lt"/>
                <a:ea typeface="+mn-ea"/>
                <a:cs typeface="+mn-cs"/>
              </a:defRPr>
            </a:lvl1pPr>
            <a:lvl2pPr marL="835715" indent="-321429" algn="l"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2pPr>
            <a:lvl3pPr marL="1285716" indent="-257144" algn="l" rtl="0" eaLnBrk="1" fontAlgn="base" hangingPunct="1">
              <a:spcBef>
                <a:spcPct val="20000"/>
              </a:spcBef>
              <a:spcAft>
                <a:spcPct val="0"/>
              </a:spcAft>
              <a:buFont typeface="Arial" panose="020B0604020202020204" pitchFamily="34" charset="0"/>
              <a:buChar char="•"/>
              <a:defRPr sz="2700" kern="1200">
                <a:solidFill>
                  <a:schemeClr val="tx1"/>
                </a:solidFill>
                <a:latin typeface="+mn-lt"/>
                <a:ea typeface="+mn-ea"/>
                <a:cs typeface="+mn-cs"/>
              </a:defRPr>
            </a:lvl3pPr>
            <a:lvl4pPr marL="1800000"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4pPr>
            <a:lvl5pPr marL="2314289"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5pPr>
            <a:lvl6pPr marL="2828574"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6pPr>
            <a:lvl7pPr marL="3342860"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7pPr>
            <a:lvl8pPr marL="3857147"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8pPr>
            <a:lvl9pPr marL="4371432"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9pPr>
          </a:lstStyle>
          <a:p>
            <a:pPr marL="0" indent="0">
              <a:buNone/>
            </a:pPr>
            <a:r>
              <a:rPr lang="en-US" altLang="pt-BR" sz="3200" dirty="0">
                <a:solidFill>
                  <a:schemeClr val="tx1"/>
                </a:solidFill>
                <a:latin typeface="Arial" panose="020B0604020202020204" pitchFamily="34" charset="0"/>
              </a:rPr>
              <a:t>MMGP - </a:t>
            </a:r>
            <a:r>
              <a:rPr lang="pt-BR" altLang="pt-BR" sz="3200" dirty="0">
                <a:solidFill>
                  <a:schemeClr val="tx1"/>
                </a:solidFill>
                <a:latin typeface="Arial" panose="020B0604020202020204" pitchFamily="34" charset="0"/>
              </a:rPr>
              <a:t>Estrutura do Modelo - </a:t>
            </a:r>
            <a:r>
              <a:rPr lang="pt-BR" sz="3200" dirty="0"/>
              <a:t>Resultado da avaliação de maturidade </a:t>
            </a:r>
          </a:p>
        </p:txBody>
      </p:sp>
      <p:sp>
        <p:nvSpPr>
          <p:cNvPr id="5" name="Text Placeholder 2">
            <a:extLst>
              <a:ext uri="{FF2B5EF4-FFF2-40B4-BE49-F238E27FC236}">
                <a16:creationId xmlns:a16="http://schemas.microsoft.com/office/drawing/2014/main" id="{7E7AACA8-CA1C-4CBB-8003-FB802D5A3DB3}"/>
              </a:ext>
            </a:extLst>
          </p:cNvPr>
          <p:cNvSpPr txBox="1">
            <a:spLocks/>
          </p:cNvSpPr>
          <p:nvPr/>
        </p:nvSpPr>
        <p:spPr>
          <a:xfrm>
            <a:off x="737320" y="2387201"/>
            <a:ext cx="8092395" cy="7899799"/>
          </a:xfrm>
          <a:prstGeom prst="rect">
            <a:avLst/>
          </a:prstGeom>
        </p:spPr>
        <p:txBody>
          <a:bodyPr/>
          <a:lstStyle>
            <a:lvl1pPr marL="385715" indent="-385715" algn="l" rtl="0" eaLnBrk="1" fontAlgn="base" hangingPunct="1">
              <a:spcBef>
                <a:spcPct val="20000"/>
              </a:spcBef>
              <a:spcAft>
                <a:spcPct val="0"/>
              </a:spcAft>
              <a:buFont typeface="Arial" panose="020B0604020202020204" pitchFamily="34" charset="0"/>
              <a:buChar char="•"/>
              <a:defRPr sz="3600" kern="1200">
                <a:solidFill>
                  <a:schemeClr val="tx1"/>
                </a:solidFill>
                <a:latin typeface="+mn-lt"/>
                <a:ea typeface="+mn-ea"/>
                <a:cs typeface="+mn-cs"/>
              </a:defRPr>
            </a:lvl1pPr>
            <a:lvl2pPr marL="835715" indent="-321429" algn="l"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2pPr>
            <a:lvl3pPr marL="1285716" indent="-257144" algn="l" rtl="0" eaLnBrk="1" fontAlgn="base" hangingPunct="1">
              <a:spcBef>
                <a:spcPct val="20000"/>
              </a:spcBef>
              <a:spcAft>
                <a:spcPct val="0"/>
              </a:spcAft>
              <a:buFont typeface="Arial" panose="020B0604020202020204" pitchFamily="34" charset="0"/>
              <a:buChar char="•"/>
              <a:defRPr sz="2700" kern="1200">
                <a:solidFill>
                  <a:schemeClr val="tx1"/>
                </a:solidFill>
                <a:latin typeface="+mn-lt"/>
                <a:ea typeface="+mn-ea"/>
                <a:cs typeface="+mn-cs"/>
              </a:defRPr>
            </a:lvl3pPr>
            <a:lvl4pPr marL="1800000"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4pPr>
            <a:lvl5pPr marL="2314289"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5pPr>
            <a:lvl6pPr marL="2828574"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6pPr>
            <a:lvl7pPr marL="3342860"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7pPr>
            <a:lvl8pPr marL="3857147"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8pPr>
            <a:lvl9pPr marL="4371432"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9pPr>
          </a:lstStyle>
          <a:p>
            <a:pPr marL="0" indent="0">
              <a:buFont typeface="Arial" panose="020B0604020202020204" pitchFamily="34" charset="0"/>
              <a:buNone/>
            </a:pPr>
            <a:r>
              <a:rPr lang="pt-BR" altLang="pt-BR" b="1" dirty="0"/>
              <a:t>Classificação (</a:t>
            </a:r>
            <a:r>
              <a:rPr lang="pt-BR" altLang="en-US" b="1" dirty="0"/>
              <a:t>“n</a:t>
            </a:r>
            <a:r>
              <a:rPr lang="pt-BR" altLang="pt-BR" b="1" dirty="0"/>
              <a:t>ível de maturidade aproximado</a:t>
            </a:r>
            <a:r>
              <a:rPr lang="pt-BR" altLang="en-US" b="1" dirty="0"/>
              <a:t>”</a:t>
            </a:r>
            <a:r>
              <a:rPr lang="pt-BR" altLang="pt-BR" b="1" dirty="0"/>
              <a:t>):</a:t>
            </a:r>
          </a:p>
          <a:p>
            <a:r>
              <a:rPr lang="pt-BR" altLang="pt-BR" dirty="0"/>
              <a:t>acima de 160 pontos: nível 5;</a:t>
            </a:r>
          </a:p>
          <a:p>
            <a:r>
              <a:rPr lang="pt-BR" altLang="pt-BR" dirty="0"/>
              <a:t>entre 121 e 160 pontos: nível 4;</a:t>
            </a:r>
          </a:p>
          <a:p>
            <a:r>
              <a:rPr lang="pt-BR" altLang="pt-BR" dirty="0"/>
              <a:t>entre 81 e 120 pontos: nível 3;</a:t>
            </a:r>
          </a:p>
          <a:p>
            <a:r>
              <a:rPr lang="pt-BR" altLang="pt-BR" dirty="0"/>
              <a:t>entre 41 e 80 pontos: nível 2 e</a:t>
            </a:r>
          </a:p>
          <a:p>
            <a:r>
              <a:rPr lang="pt-BR" altLang="pt-BR" dirty="0"/>
              <a:t>entre 10 e 40 pontos: nível 1.</a:t>
            </a:r>
          </a:p>
        </p:txBody>
      </p:sp>
      <p:pic>
        <p:nvPicPr>
          <p:cNvPr id="8" name="Imagem 7">
            <a:extLst>
              <a:ext uri="{FF2B5EF4-FFF2-40B4-BE49-F238E27FC236}">
                <a16:creationId xmlns:a16="http://schemas.microsoft.com/office/drawing/2014/main" id="{5D14626A-0FE1-48AF-A5F1-11F0E024D2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4184" y="1741565"/>
            <a:ext cx="3819254" cy="6919982"/>
          </a:xfrm>
          <a:prstGeom prst="rect">
            <a:avLst/>
          </a:prstGeom>
        </p:spPr>
        <p:style>
          <a:lnRef idx="2">
            <a:schemeClr val="dk1"/>
          </a:lnRef>
          <a:fillRef idx="1">
            <a:schemeClr val="lt1"/>
          </a:fillRef>
          <a:effectRef idx="0">
            <a:schemeClr val="dk1"/>
          </a:effectRef>
          <a:fontRef idx="minor">
            <a:schemeClr val="dk1"/>
          </a:fontRef>
        </p:style>
      </p:pic>
    </p:spTree>
    <p:custDataLst>
      <p:tags r:id="rId1"/>
    </p:custDataLst>
    <p:extLst>
      <p:ext uri="{BB962C8B-B14F-4D97-AF65-F5344CB8AC3E}">
        <p14:creationId xmlns:p14="http://schemas.microsoft.com/office/powerpoint/2010/main" val="860334872"/>
      </p:ext>
    </p:extLst>
  </p:cSld>
  <p:clrMapOvr>
    <a:masterClrMapping/>
  </p:clrMapOvr>
  <p:transition spd="slow">
    <p:strips dir="rd"/>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pt-BR" sz="3200" dirty="0">
                <a:solidFill>
                  <a:schemeClr val="tx1"/>
                </a:solidFill>
                <a:latin typeface="Arial" panose="020B0604020202020204" pitchFamily="34" charset="0"/>
                <a:cs typeface="+mn-cs"/>
              </a:rPr>
              <a:t>Pilares de Gerenciamento Profissional de Projetos</a:t>
            </a:r>
          </a:p>
        </p:txBody>
      </p:sp>
      <p:sp>
        <p:nvSpPr>
          <p:cNvPr id="3" name="Text Placeholder 2"/>
          <p:cNvSpPr>
            <a:spLocks noGrp="1"/>
          </p:cNvSpPr>
          <p:nvPr>
            <p:ph type="body" sz="quarter" idx="13"/>
          </p:nvPr>
        </p:nvSpPr>
        <p:spPr/>
        <p:txBody>
          <a:bodyPr/>
          <a:lstStyle/>
          <a:p>
            <a:pPr marL="0" indent="0" algn="ctr">
              <a:buNone/>
            </a:pPr>
            <a:r>
              <a:rPr lang="pt-BR" b="1" dirty="0"/>
              <a:t>Diagnóstico e plano de ação</a:t>
            </a:r>
          </a:p>
        </p:txBody>
      </p:sp>
      <p:graphicFrame>
        <p:nvGraphicFramePr>
          <p:cNvPr id="4" name="Tabela 3">
            <a:extLst>
              <a:ext uri="{FF2B5EF4-FFF2-40B4-BE49-F238E27FC236}">
                <a16:creationId xmlns:a16="http://schemas.microsoft.com/office/drawing/2014/main" id="{E4BE5DAC-C11B-4BA3-8526-4E1EA2BBEA65}"/>
              </a:ext>
            </a:extLst>
          </p:cNvPr>
          <p:cNvGraphicFramePr>
            <a:graphicFrameLocks noGrp="1"/>
          </p:cNvGraphicFramePr>
          <p:nvPr>
            <p:extLst>
              <p:ext uri="{D42A27DB-BD31-4B8C-83A1-F6EECF244321}">
                <p14:modId xmlns:p14="http://schemas.microsoft.com/office/powerpoint/2010/main" val="1917671818"/>
              </p:ext>
            </p:extLst>
          </p:nvPr>
        </p:nvGraphicFramePr>
        <p:xfrm>
          <a:off x="380468" y="2263180"/>
          <a:ext cx="12745415" cy="3059802"/>
        </p:xfrm>
        <a:graphic>
          <a:graphicData uri="http://schemas.openxmlformats.org/drawingml/2006/table">
            <a:tbl>
              <a:tblPr firstRow="1" bandRow="1">
                <a:tableStyleId>{6E25E649-3F16-4E02-A733-19D2CDBF48F0}</a:tableStyleId>
              </a:tblPr>
              <a:tblGrid>
                <a:gridCol w="1422479">
                  <a:extLst>
                    <a:ext uri="{9D8B030D-6E8A-4147-A177-3AD203B41FA5}">
                      <a16:colId xmlns:a16="http://schemas.microsoft.com/office/drawing/2014/main" val="2208232289"/>
                    </a:ext>
                  </a:extLst>
                </a:gridCol>
                <a:gridCol w="1422479">
                  <a:extLst>
                    <a:ext uri="{9D8B030D-6E8A-4147-A177-3AD203B41FA5}">
                      <a16:colId xmlns:a16="http://schemas.microsoft.com/office/drawing/2014/main" val="1826690175"/>
                    </a:ext>
                  </a:extLst>
                </a:gridCol>
                <a:gridCol w="1422479">
                  <a:extLst>
                    <a:ext uri="{9D8B030D-6E8A-4147-A177-3AD203B41FA5}">
                      <a16:colId xmlns:a16="http://schemas.microsoft.com/office/drawing/2014/main" val="1678813296"/>
                    </a:ext>
                  </a:extLst>
                </a:gridCol>
                <a:gridCol w="1763875">
                  <a:extLst>
                    <a:ext uri="{9D8B030D-6E8A-4147-A177-3AD203B41FA5}">
                      <a16:colId xmlns:a16="http://schemas.microsoft.com/office/drawing/2014/main" val="2129659342"/>
                    </a:ext>
                  </a:extLst>
                </a:gridCol>
                <a:gridCol w="1763875">
                  <a:extLst>
                    <a:ext uri="{9D8B030D-6E8A-4147-A177-3AD203B41FA5}">
                      <a16:colId xmlns:a16="http://schemas.microsoft.com/office/drawing/2014/main" val="2584589354"/>
                    </a:ext>
                  </a:extLst>
                </a:gridCol>
                <a:gridCol w="1650076">
                  <a:extLst>
                    <a:ext uri="{9D8B030D-6E8A-4147-A177-3AD203B41FA5}">
                      <a16:colId xmlns:a16="http://schemas.microsoft.com/office/drawing/2014/main" val="1132760544"/>
                    </a:ext>
                  </a:extLst>
                </a:gridCol>
                <a:gridCol w="1650076">
                  <a:extLst>
                    <a:ext uri="{9D8B030D-6E8A-4147-A177-3AD203B41FA5}">
                      <a16:colId xmlns:a16="http://schemas.microsoft.com/office/drawing/2014/main" val="2651127430"/>
                    </a:ext>
                  </a:extLst>
                </a:gridCol>
                <a:gridCol w="1650076">
                  <a:extLst>
                    <a:ext uri="{9D8B030D-6E8A-4147-A177-3AD203B41FA5}">
                      <a16:colId xmlns:a16="http://schemas.microsoft.com/office/drawing/2014/main" val="2005291766"/>
                    </a:ext>
                  </a:extLst>
                </a:gridCol>
              </a:tblGrid>
              <a:tr h="648072">
                <a:tc>
                  <a:txBody>
                    <a:bodyPr/>
                    <a:lstStyle/>
                    <a:p>
                      <a:pPr algn="ctr"/>
                      <a:r>
                        <a:rPr lang="pt-BR" sz="2300" dirty="0">
                          <a:solidFill>
                            <a:schemeClr val="tx1"/>
                          </a:solidFill>
                        </a:rPr>
                        <a:t>empresa</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r>
                        <a:rPr lang="pt-BR" sz="2300" dirty="0">
                          <a:solidFill>
                            <a:schemeClr val="tx1"/>
                          </a:solidFill>
                        </a:rPr>
                        <a:t>área</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gridSpan="6">
                  <a:txBody>
                    <a:bodyPr/>
                    <a:lstStyle/>
                    <a:p>
                      <a:pPr algn="ctr"/>
                      <a:r>
                        <a:rPr lang="pt-BR" sz="2300" dirty="0">
                          <a:solidFill>
                            <a:schemeClr val="tx1"/>
                          </a:solidFill>
                        </a:rPr>
                        <a:t>pilares de gerenciamento profissional de projetos</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dirty="0"/>
                    </a:p>
                  </a:txBody>
                  <a:tcPr/>
                </a:tc>
                <a:extLst>
                  <a:ext uri="{0D108BD9-81ED-4DB2-BD59-A6C34878D82A}">
                    <a16:rowId xmlns:a16="http://schemas.microsoft.com/office/drawing/2014/main" val="3193464578"/>
                  </a:ext>
                </a:extLst>
              </a:tr>
              <a:tr h="788670">
                <a:tc rowSpan="3">
                  <a:txBody>
                    <a:bodyPr/>
                    <a:lstStyle/>
                    <a:p>
                      <a:pPr algn="ctr"/>
                      <a:endParaRPr lang="pt-BR" sz="2300" dirty="0">
                        <a:solidFill>
                          <a:schemeClr val="tx1"/>
                        </a:solidFill>
                      </a:endParaRPr>
                    </a:p>
                    <a:p>
                      <a:pPr algn="ctr"/>
                      <a:r>
                        <a:rPr lang="pt-BR" sz="2300" i="1" dirty="0">
                          <a:solidFill>
                            <a:schemeClr val="tx1"/>
                          </a:solidFill>
                        </a:rPr>
                        <a:t>XYZ</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lumMod val="85000"/>
                      </a:schemeClr>
                    </a:solidFill>
                  </a:tcPr>
                </a:tc>
                <a:tc rowSpan="3">
                  <a:txBody>
                    <a:bodyPr/>
                    <a:lstStyle/>
                    <a:p>
                      <a:pPr algn="ctr"/>
                      <a:endParaRPr lang="pt-BR" sz="2300" dirty="0">
                        <a:solidFill>
                          <a:schemeClr val="tx1"/>
                        </a:solidFill>
                      </a:endParaRPr>
                    </a:p>
                    <a:p>
                      <a:pPr algn="ctr"/>
                      <a:r>
                        <a:rPr lang="pt-BR" sz="2300" dirty="0">
                          <a:solidFill>
                            <a:schemeClr val="tx1"/>
                          </a:solidFill>
                        </a:rPr>
                        <a:t>PMO</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tx2">
                        <a:lumMod val="40000"/>
                        <a:lumOff val="60000"/>
                      </a:schemeClr>
                    </a:solidFill>
                  </a:tcPr>
                </a:tc>
                <a:tc>
                  <a:txBody>
                    <a:bodyPr/>
                    <a:lstStyle/>
                    <a:p>
                      <a:pPr algn="ctr"/>
                      <a:endParaRPr lang="pt-BR" sz="2300" dirty="0">
                        <a:solidFill>
                          <a:schemeClr val="tx1"/>
                        </a:solidFill>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pessoas capacitadas</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metodologia</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tecnologia </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governança</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geral</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3066253151"/>
                  </a:ext>
                </a:extLst>
              </a:tr>
              <a:tr h="800861">
                <a:tc vMerge="1">
                  <a:txBody>
                    <a:bodyPr/>
                    <a:lstStyle/>
                    <a:p>
                      <a:endParaRPr lang="pt-BR"/>
                    </a:p>
                  </a:txBody>
                  <a:tcPr/>
                </a:tc>
                <a:tc vMerge="1">
                  <a:txBody>
                    <a:bodyPr/>
                    <a:lstStyle/>
                    <a:p>
                      <a:endParaRPr lang="pt-BR" dirty="0"/>
                    </a:p>
                  </a:txBody>
                  <a:tcPr/>
                </a:tc>
                <a:tc>
                  <a:txBody>
                    <a:bodyPr/>
                    <a:lstStyle/>
                    <a:p>
                      <a:pPr algn="ctr"/>
                      <a:r>
                        <a:rPr lang="pt-BR" sz="2300" dirty="0">
                          <a:solidFill>
                            <a:schemeClr val="tx1"/>
                          </a:solidFill>
                        </a:rPr>
                        <a:t>estado atual</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25%</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25%</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30%</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23%</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26%</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2992607512"/>
                  </a:ext>
                </a:extLst>
              </a:tr>
              <a:tr h="800861">
                <a:tc vMerge="1">
                  <a:txBody>
                    <a:bodyPr/>
                    <a:lstStyle/>
                    <a:p>
                      <a:endParaRPr lang="pt-BR" dirty="0"/>
                    </a:p>
                  </a:txBody>
                  <a:tcPr/>
                </a:tc>
                <a:tc vMerge="1">
                  <a:txBody>
                    <a:bodyPr/>
                    <a:lstStyle/>
                    <a:p>
                      <a:endParaRPr lang="pt-BR" dirty="0"/>
                    </a:p>
                  </a:txBody>
                  <a:tcPr/>
                </a:tc>
                <a:tc>
                  <a:txBody>
                    <a:bodyPr/>
                    <a:lstStyle/>
                    <a:p>
                      <a:pPr algn="ctr"/>
                      <a:r>
                        <a:rPr lang="pt-BR" sz="2300" dirty="0">
                          <a:solidFill>
                            <a:schemeClr val="tx1"/>
                          </a:solidFill>
                        </a:rPr>
                        <a:t>estado desejado</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70%</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83%</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88%</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78%</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r>
                        <a:rPr lang="pt-BR" sz="2300" dirty="0">
                          <a:solidFill>
                            <a:schemeClr val="tx1"/>
                          </a:solidFill>
                        </a:rPr>
                        <a:t>80%</a:t>
                      </a: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2354863284"/>
                  </a:ext>
                </a:extLst>
              </a:tr>
            </a:tbl>
          </a:graphicData>
        </a:graphic>
      </p:graphicFrame>
      <p:sp>
        <p:nvSpPr>
          <p:cNvPr id="5" name="CaixaDeTexto 4">
            <a:extLst>
              <a:ext uri="{FF2B5EF4-FFF2-40B4-BE49-F238E27FC236}">
                <a16:creationId xmlns:a16="http://schemas.microsoft.com/office/drawing/2014/main" id="{037E494C-6F59-45C4-8711-E98E6951AFD5}"/>
              </a:ext>
            </a:extLst>
          </p:cNvPr>
          <p:cNvSpPr txBox="1"/>
          <p:nvPr/>
        </p:nvSpPr>
        <p:spPr>
          <a:xfrm>
            <a:off x="879422" y="5953590"/>
            <a:ext cx="12155956" cy="400110"/>
          </a:xfrm>
          <a:prstGeom prst="rect">
            <a:avLst/>
          </a:prstGeom>
        </p:spPr>
        <p:style>
          <a:lnRef idx="1">
            <a:schemeClr val="accent1"/>
          </a:lnRef>
          <a:fillRef idx="2">
            <a:schemeClr val="accent1"/>
          </a:fillRef>
          <a:effectRef idx="1">
            <a:schemeClr val="accent1"/>
          </a:effectRef>
          <a:fontRef idx="minor">
            <a:schemeClr val="dk1"/>
          </a:fontRef>
        </p:style>
        <p:txBody>
          <a:bodyPr wrap="none" rtlCol="0">
            <a:spAutoFit/>
          </a:bodyPr>
          <a:lstStyle/>
          <a:p>
            <a:r>
              <a:rPr lang="pt-BR" sz="2000" b="1" dirty="0">
                <a:latin typeface="+mj-lt"/>
              </a:rPr>
              <a:t>Métricas estabelecidas </a:t>
            </a:r>
            <a:r>
              <a:rPr lang="pt-BR" sz="2000" b="1" dirty="0">
                <a:latin typeface="+mj-lt"/>
                <a:sym typeface="Wingdings" panose="05000000000000000000" pitchFamily="2" charset="2"/>
              </a:rPr>
              <a:t></a:t>
            </a:r>
            <a:r>
              <a:rPr lang="pt-BR" sz="2000" b="1" dirty="0">
                <a:latin typeface="+mj-lt"/>
              </a:rPr>
              <a:t> objetivos estratégicos de projeção de penetração do PMO, em uma organização global</a:t>
            </a:r>
          </a:p>
        </p:txBody>
      </p:sp>
      <p:pic>
        <p:nvPicPr>
          <p:cNvPr id="6" name="Imagem 5">
            <a:extLst>
              <a:ext uri="{FF2B5EF4-FFF2-40B4-BE49-F238E27FC236}">
                <a16:creationId xmlns:a16="http://schemas.microsoft.com/office/drawing/2014/main" id="{BC965ABB-2031-4CBF-81C1-46AA8D599115}"/>
              </a:ext>
            </a:extLst>
          </p:cNvPr>
          <p:cNvPicPr>
            <a:picLocks noChangeAspect="1"/>
          </p:cNvPicPr>
          <p:nvPr/>
        </p:nvPicPr>
        <p:blipFill>
          <a:blip r:embed="rId2"/>
          <a:stretch>
            <a:fillRect/>
          </a:stretch>
        </p:blipFill>
        <p:spPr>
          <a:xfrm>
            <a:off x="3529383" y="6568104"/>
            <a:ext cx="6657234" cy="3435303"/>
          </a:xfrm>
          <a:prstGeom prst="rect">
            <a:avLst/>
          </a:prstGeom>
        </p:spPr>
      </p:pic>
    </p:spTree>
    <p:extLst>
      <p:ext uri="{BB962C8B-B14F-4D97-AF65-F5344CB8AC3E}">
        <p14:creationId xmlns:p14="http://schemas.microsoft.com/office/powerpoint/2010/main" val="14299389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txBox="1">
            <a:spLocks/>
          </p:cNvSpPr>
          <p:nvPr/>
        </p:nvSpPr>
        <p:spPr bwMode="auto">
          <a:xfrm>
            <a:off x="809625" y="66675"/>
            <a:ext cx="10925175" cy="124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en-US" altLang="pt-BR" sz="4200">
                <a:solidFill>
                  <a:schemeClr val="bg1"/>
                </a:solidFill>
                <a:latin typeface="Calibri" panose="020F0502020204030204" pitchFamily="34" charset="0"/>
              </a:rPr>
              <a:t>Análise Comparativa - Resumo</a:t>
            </a:r>
            <a:endParaRPr lang="pt-BR" altLang="pt-BR" sz="4200">
              <a:solidFill>
                <a:schemeClr val="bg1"/>
              </a:solidFill>
              <a:latin typeface="Calibri" panose="020F0502020204030204" pitchFamily="34" charset="0"/>
            </a:endParaRPr>
          </a:p>
        </p:txBody>
      </p:sp>
      <p:graphicFrame>
        <p:nvGraphicFramePr>
          <p:cNvPr id="5" name="Content Placeholder 3"/>
          <p:cNvGraphicFramePr>
            <a:graphicFrameLocks/>
          </p:cNvGraphicFramePr>
          <p:nvPr>
            <p:extLst>
              <p:ext uri="{D42A27DB-BD31-4B8C-83A1-F6EECF244321}">
                <p14:modId xmlns:p14="http://schemas.microsoft.com/office/powerpoint/2010/main" val="2881821760"/>
              </p:ext>
            </p:extLst>
          </p:nvPr>
        </p:nvGraphicFramePr>
        <p:xfrm>
          <a:off x="701317" y="2119163"/>
          <a:ext cx="11870673" cy="7236809"/>
        </p:xfrm>
        <a:graphic>
          <a:graphicData uri="http://schemas.openxmlformats.org/drawingml/2006/table">
            <a:tbl>
              <a:tblPr/>
              <a:tblGrid>
                <a:gridCol w="876267">
                  <a:extLst>
                    <a:ext uri="{9D8B030D-6E8A-4147-A177-3AD203B41FA5}">
                      <a16:colId xmlns:a16="http://schemas.microsoft.com/office/drawing/2014/main" val="20000"/>
                    </a:ext>
                  </a:extLst>
                </a:gridCol>
                <a:gridCol w="1554765">
                  <a:extLst>
                    <a:ext uri="{9D8B030D-6E8A-4147-A177-3AD203B41FA5}">
                      <a16:colId xmlns:a16="http://schemas.microsoft.com/office/drawing/2014/main" val="20001"/>
                    </a:ext>
                  </a:extLst>
                </a:gridCol>
                <a:gridCol w="1887927">
                  <a:extLst>
                    <a:ext uri="{9D8B030D-6E8A-4147-A177-3AD203B41FA5}">
                      <a16:colId xmlns:a16="http://schemas.microsoft.com/office/drawing/2014/main" val="20002"/>
                    </a:ext>
                  </a:extLst>
                </a:gridCol>
                <a:gridCol w="2998475">
                  <a:extLst>
                    <a:ext uri="{9D8B030D-6E8A-4147-A177-3AD203B41FA5}">
                      <a16:colId xmlns:a16="http://schemas.microsoft.com/office/drawing/2014/main" val="20003"/>
                    </a:ext>
                  </a:extLst>
                </a:gridCol>
                <a:gridCol w="2554256">
                  <a:extLst>
                    <a:ext uri="{9D8B030D-6E8A-4147-A177-3AD203B41FA5}">
                      <a16:colId xmlns:a16="http://schemas.microsoft.com/office/drawing/2014/main" val="20004"/>
                    </a:ext>
                  </a:extLst>
                </a:gridCol>
                <a:gridCol w="1998983">
                  <a:extLst>
                    <a:ext uri="{9D8B030D-6E8A-4147-A177-3AD203B41FA5}">
                      <a16:colId xmlns:a16="http://schemas.microsoft.com/office/drawing/2014/main" val="20005"/>
                    </a:ext>
                  </a:extLst>
                </a:gridCol>
              </a:tblGrid>
              <a:tr h="460907">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71755" marR="71755"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Níveis</a:t>
                      </a:r>
                      <a:endParaRPr lang="pt-BR" sz="2700" dirty="0">
                        <a:solidFill>
                          <a:schemeClr val="tx1"/>
                        </a:solidFill>
                        <a:latin typeface="Times"/>
                        <a:ea typeface="Times New Roman"/>
                        <a:cs typeface="Times New Roman"/>
                      </a:endParaRPr>
                    </a:p>
                  </a:txBody>
                  <a:tcPr marL="35318" marR="35318"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CMMI</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grid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Modelos de Maturidade de GP Níveis</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97339">
                <a:tc vMerge="1">
                  <a:txBody>
                    <a:bodyPr/>
                    <a:lstStyle/>
                    <a:p>
                      <a:endParaRPr lang="pt-BR"/>
                    </a:p>
                  </a:txBody>
                  <a:tcPr/>
                </a:tc>
                <a:tc vMerge="1">
                  <a:txBody>
                    <a:bodyPr/>
                    <a:lstStyle/>
                    <a:p>
                      <a:endParaRPr lang="pt-BR"/>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OPM3</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PMMM</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KPMMM</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400"/>
                        </a:spcBef>
                        <a:spcAft>
                          <a:spcPts val="400"/>
                        </a:spcAft>
                        <a:tabLst>
                          <a:tab pos="457200" algn="l"/>
                        </a:tabLst>
                      </a:pPr>
                      <a:r>
                        <a:rPr lang="pt-BR" sz="2700" b="1" dirty="0">
                          <a:solidFill>
                            <a:schemeClr val="tx1"/>
                          </a:solidFill>
                          <a:latin typeface="Times New Roman"/>
                          <a:ea typeface="Times New Roman"/>
                          <a:cs typeface="Times New Roman"/>
                        </a:rPr>
                        <a:t>MMGP</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extLst>
                  <a:ext uri="{0D108BD9-81ED-4DB2-BD59-A6C34878D82A}">
                    <a16:rowId xmlns:a16="http://schemas.microsoft.com/office/drawing/2014/main" val="10001"/>
                  </a:ext>
                </a:extLst>
              </a:tr>
              <a:tr h="13151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b="1" dirty="0">
                          <a:solidFill>
                            <a:schemeClr val="tx1"/>
                          </a:solidFill>
                          <a:latin typeface="Times New Roman"/>
                          <a:ea typeface="Times New Roman"/>
                          <a:cs typeface="Times New Roman"/>
                        </a:rPr>
                        <a:t>1</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Inicial</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Padronizaçã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2700020" algn="ctr"/>
                          <a:tab pos="5400040" algn="r"/>
                        </a:tabLst>
                      </a:pPr>
                      <a:r>
                        <a:rPr lang="pt-BR" sz="2400" dirty="0">
                          <a:solidFill>
                            <a:schemeClr val="tx1"/>
                          </a:solidFill>
                          <a:latin typeface="Times New Roman"/>
                          <a:ea typeface="Times New Roman"/>
                          <a:cs typeface="Times New Roman"/>
                        </a:rPr>
                        <a:t>Processos Iniciais</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Linguagem Comum</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Inicial</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2"/>
                  </a:ext>
                </a:extLst>
              </a:tr>
              <a:tr h="10888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b="1" dirty="0">
                          <a:solidFill>
                            <a:schemeClr val="tx1"/>
                          </a:solidFill>
                          <a:latin typeface="Times New Roman"/>
                          <a:ea typeface="Times New Roman"/>
                          <a:cs typeface="Times New Roman"/>
                        </a:rPr>
                        <a:t>2</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Repetível</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Padronizaçã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2700020" algn="ctr"/>
                          <a:tab pos="5400040" algn="r"/>
                        </a:tabLst>
                      </a:pPr>
                      <a:r>
                        <a:rPr lang="pt-BR" sz="2400" dirty="0">
                          <a:solidFill>
                            <a:schemeClr val="tx1"/>
                          </a:solidFill>
                          <a:latin typeface="Times New Roman"/>
                          <a:ea typeface="Times New Roman"/>
                          <a:cs typeface="Times New Roman"/>
                        </a:rPr>
                        <a:t>Processos Estruturados e Padronizados</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Processos Comuns</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Conhecid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63878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b="1" dirty="0">
                          <a:solidFill>
                            <a:schemeClr val="tx1"/>
                          </a:solidFill>
                          <a:latin typeface="Times New Roman"/>
                          <a:ea typeface="Times New Roman"/>
                          <a:cs typeface="Times New Roman"/>
                        </a:rPr>
                        <a:t>3</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Definid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Mediçã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2700020" algn="ctr"/>
                          <a:tab pos="5400040" algn="r"/>
                        </a:tabLst>
                      </a:pPr>
                      <a:r>
                        <a:rPr lang="pt-BR" sz="2400" dirty="0">
                          <a:solidFill>
                            <a:schemeClr val="tx1"/>
                          </a:solidFill>
                          <a:latin typeface="Times New Roman"/>
                          <a:ea typeface="Times New Roman"/>
                          <a:cs typeface="Times New Roman"/>
                        </a:rPr>
                        <a:t>Padronização Organizacional e Processos Institucionais</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Metodologia Única</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Padronizad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4"/>
                  </a:ext>
                </a:extLst>
              </a:tr>
              <a:tr h="96789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b="1">
                          <a:solidFill>
                            <a:schemeClr val="tx1"/>
                          </a:solidFill>
                          <a:latin typeface="Times New Roman"/>
                          <a:ea typeface="Times New Roman"/>
                          <a:cs typeface="Times New Roman"/>
                        </a:rPr>
                        <a:t>4</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Gerenciado</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Controle</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2700020" algn="ctr"/>
                          <a:tab pos="5400040" algn="r"/>
                        </a:tabLst>
                      </a:pPr>
                      <a:r>
                        <a:rPr lang="pt-BR" sz="2400">
                          <a:solidFill>
                            <a:schemeClr val="tx1"/>
                          </a:solidFill>
                          <a:latin typeface="Times New Roman"/>
                          <a:ea typeface="Times New Roman"/>
                          <a:cs typeface="Times New Roman"/>
                        </a:rPr>
                        <a:t>Processo Gerenciado</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i="1">
                          <a:solidFill>
                            <a:schemeClr val="tx1"/>
                          </a:solidFill>
                          <a:latin typeface="Times New Roman"/>
                          <a:ea typeface="Times New Roman"/>
                          <a:cs typeface="Times New Roman"/>
                        </a:rPr>
                        <a:t>Benchmarking</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Gerenciado</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6789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b="1">
                          <a:solidFill>
                            <a:schemeClr val="tx1"/>
                          </a:solidFill>
                          <a:latin typeface="Times New Roman"/>
                          <a:ea typeface="Times New Roman"/>
                          <a:cs typeface="Times New Roman"/>
                        </a:rPr>
                        <a:t>5</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Otimizado</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Melhoria Contínua</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2700020" algn="ctr"/>
                          <a:tab pos="5400040" algn="r"/>
                        </a:tabLst>
                      </a:pPr>
                      <a:r>
                        <a:rPr lang="pt-BR" sz="2400" dirty="0">
                          <a:solidFill>
                            <a:schemeClr val="tx1"/>
                          </a:solidFill>
                          <a:latin typeface="Times New Roman"/>
                          <a:ea typeface="Times New Roman"/>
                          <a:cs typeface="Times New Roman"/>
                        </a:rPr>
                        <a:t>Processo Otimizad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a:solidFill>
                            <a:schemeClr val="tx1"/>
                          </a:solidFill>
                          <a:latin typeface="Times New Roman"/>
                          <a:ea typeface="Times New Roman"/>
                          <a:cs typeface="Times New Roman"/>
                        </a:rPr>
                        <a:t>Melhoria Contínua</a:t>
                      </a:r>
                      <a:endParaRPr lang="pt-BR" sz="270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300"/>
                        </a:spcBef>
                        <a:spcAft>
                          <a:spcPts val="300"/>
                        </a:spcAft>
                        <a:tabLst>
                          <a:tab pos="457200" algn="l"/>
                        </a:tabLst>
                      </a:pPr>
                      <a:r>
                        <a:rPr lang="pt-BR" sz="2400" dirty="0">
                          <a:solidFill>
                            <a:schemeClr val="tx1"/>
                          </a:solidFill>
                          <a:latin typeface="Times New Roman"/>
                          <a:ea typeface="Times New Roman"/>
                          <a:cs typeface="Times New Roman"/>
                        </a:rPr>
                        <a:t>Otimizado</a:t>
                      </a:r>
                      <a:endParaRPr lang="pt-BR" sz="2700" dirty="0">
                        <a:solidFill>
                          <a:schemeClr val="tx1"/>
                        </a:solidFill>
                        <a:latin typeface="Times"/>
                        <a:ea typeface="Times New Roman"/>
                        <a:cs typeface="Times New Roman"/>
                      </a:endParaRPr>
                    </a:p>
                  </a:txBody>
                  <a:tcPr marL="35318" marR="353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6"/>
                  </a:ext>
                </a:extLst>
              </a:tr>
            </a:tbl>
          </a:graphicData>
        </a:graphic>
      </p:graphicFrame>
      <p:sp>
        <p:nvSpPr>
          <p:cNvPr id="74756" name="CaixaDeTexto 1"/>
          <p:cNvSpPr txBox="1">
            <a:spLocks noChangeArrowheads="1"/>
          </p:cNvSpPr>
          <p:nvPr/>
        </p:nvSpPr>
        <p:spPr bwMode="auto">
          <a:xfrm rot="5400000">
            <a:off x="11871204" y="6369265"/>
            <a:ext cx="187032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100">
                <a:solidFill>
                  <a:schemeClr val="tx1"/>
                </a:solidFill>
                <a:latin typeface="Calibri" panose="020F0502020204030204" pitchFamily="34" charset="0"/>
              </a:rPr>
              <a:t>METODOLOGIA</a:t>
            </a:r>
          </a:p>
        </p:txBody>
      </p:sp>
      <p:sp>
        <p:nvSpPr>
          <p:cNvPr id="6" name="CaixaDeTexto 5">
            <a:extLst>
              <a:ext uri="{FF2B5EF4-FFF2-40B4-BE49-F238E27FC236}">
                <a16:creationId xmlns:a16="http://schemas.microsoft.com/office/drawing/2014/main" id="{EC435FCD-E113-4F0E-8077-C89172426E32}"/>
              </a:ext>
            </a:extLst>
          </p:cNvPr>
          <p:cNvSpPr txBox="1"/>
          <p:nvPr/>
        </p:nvSpPr>
        <p:spPr>
          <a:xfrm>
            <a:off x="377280" y="820351"/>
            <a:ext cx="10009112" cy="584775"/>
          </a:xfrm>
          <a:prstGeom prst="rect">
            <a:avLst/>
          </a:prstGeom>
          <a:noFill/>
        </p:spPr>
        <p:txBody>
          <a:bodyPr wrap="square">
            <a:spAutoFit/>
          </a:bodyPr>
          <a:lstStyle/>
          <a:p>
            <a:pPr>
              <a:spcBef>
                <a:spcPts val="400"/>
              </a:spcBef>
              <a:spcAft>
                <a:spcPts val="400"/>
              </a:spcAft>
              <a:tabLst>
                <a:tab pos="457200" algn="l"/>
              </a:tabLst>
            </a:pPr>
            <a:r>
              <a:rPr lang="pt-BR" sz="3200" dirty="0">
                <a:cs typeface="+mn-cs"/>
              </a:rPr>
              <a:t>Modelos de Maturidade de GP Níveis</a:t>
            </a:r>
          </a:p>
        </p:txBody>
      </p:sp>
    </p:spTree>
    <p:custDataLst>
      <p:tags r:id="rId1"/>
    </p:custDataLst>
    <p:extLst>
      <p:ext uri="{BB962C8B-B14F-4D97-AF65-F5344CB8AC3E}">
        <p14:creationId xmlns:p14="http://schemas.microsoft.com/office/powerpoint/2010/main" val="1623179212"/>
      </p:ext>
    </p:extLst>
  </p:cSld>
  <p:clrMapOvr>
    <a:masterClrMapping/>
  </p:clrMapOvr>
  <p:transition spd="slow">
    <p:strips dir="rd"/>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eta circular 30"/>
          <p:cNvSpPr/>
          <p:nvPr/>
        </p:nvSpPr>
        <p:spPr bwMode="auto">
          <a:xfrm flipH="1">
            <a:off x="6172201" y="985838"/>
            <a:ext cx="2243138" cy="2135982"/>
          </a:xfrm>
          <a:prstGeom prst="circularArrow">
            <a:avLst>
              <a:gd name="adj1" fmla="val 7438"/>
              <a:gd name="adj2" fmla="val 904115"/>
              <a:gd name="adj3" fmla="val 21338874"/>
              <a:gd name="adj4" fmla="val 10800000"/>
              <a:gd name="adj5" fmla="val 12500"/>
            </a:avLst>
          </a:prstGeom>
          <a:solidFill>
            <a:schemeClr val="accent6">
              <a:lumMod val="50000"/>
            </a:schemeClr>
          </a:solidFill>
          <a:ln w="27051">
            <a:solidFill>
              <a:schemeClr val="accent6">
                <a:lumMod val="50000"/>
              </a:schemeClr>
            </a:solidFill>
            <a:prstDash val="solid"/>
            <a:round/>
            <a:headEnd/>
            <a:tailEnd/>
          </a:ln>
        </p:spPr>
        <p:txBody>
          <a:bodyPr/>
          <a:lstStyle/>
          <a:p>
            <a:pPr>
              <a:defRPr/>
            </a:pPr>
            <a:endParaRPr lang="pt-BR"/>
          </a:p>
        </p:txBody>
      </p:sp>
      <p:sp>
        <p:nvSpPr>
          <p:cNvPr id="32" name="Rectangle 16"/>
          <p:cNvSpPr>
            <a:spLocks noChangeArrowheads="1"/>
          </p:cNvSpPr>
          <p:nvPr/>
        </p:nvSpPr>
        <p:spPr bwMode="auto">
          <a:xfrm>
            <a:off x="6796833" y="1666876"/>
            <a:ext cx="1077219" cy="276999"/>
          </a:xfrm>
          <a:prstGeom prst="rect">
            <a:avLst/>
          </a:prstGeom>
          <a:noFill/>
          <a:ln>
            <a:noFill/>
          </a:ln>
        </p:spPr>
        <p:txBody>
          <a:bodyPr wrap="none" lIns="0" tIns="0" rIns="0" bIns="0">
            <a:spAutoFit/>
          </a:bodyPr>
          <a:lstStyle/>
          <a:p>
            <a:pPr algn="ctr">
              <a:defRPr/>
            </a:pPr>
            <a:r>
              <a:rPr lang="en-US" dirty="0" err="1"/>
              <a:t>Benefícios</a:t>
            </a:r>
            <a:endParaRPr lang="en-US" dirty="0"/>
          </a:p>
        </p:txBody>
      </p:sp>
      <p:sp>
        <p:nvSpPr>
          <p:cNvPr id="76804" name="Line 25"/>
          <p:cNvSpPr>
            <a:spLocks noChangeShapeType="1"/>
          </p:cNvSpPr>
          <p:nvPr/>
        </p:nvSpPr>
        <p:spPr bwMode="auto">
          <a:xfrm flipH="1">
            <a:off x="7374732" y="1947863"/>
            <a:ext cx="64293" cy="7405688"/>
          </a:xfrm>
          <a:prstGeom prst="line">
            <a:avLst/>
          </a:prstGeom>
          <a:noFill/>
          <a:ln w="2540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pt-BR"/>
          </a:p>
        </p:txBody>
      </p:sp>
      <p:sp>
        <p:nvSpPr>
          <p:cNvPr id="35" name="Rectangle 30"/>
          <p:cNvSpPr>
            <a:spLocks noGrp="1" noChangeArrowheads="1"/>
          </p:cNvSpPr>
          <p:nvPr>
            <p:ph type="title"/>
          </p:nvPr>
        </p:nvSpPr>
        <p:spPr>
          <a:xfrm>
            <a:off x="300038" y="173832"/>
            <a:ext cx="11587163" cy="997743"/>
          </a:xfrm>
        </p:spPr>
        <p:txBody>
          <a:bodyPr/>
          <a:lstStyle/>
          <a:p>
            <a:pPr>
              <a:defRPr/>
            </a:pPr>
            <a:r>
              <a:rPr lang="pt-BR" sz="3300" dirty="0">
                <a:solidFill>
                  <a:schemeClr val="tx1"/>
                </a:solidFill>
                <a:latin typeface="Helvetica" pitchFamily="34" charset="0"/>
                <a:ea typeface="+mn-ea"/>
                <a:cs typeface="+mn-cs"/>
              </a:rPr>
              <a:t>Porque os projetos existem nas empresas</a:t>
            </a:r>
          </a:p>
        </p:txBody>
      </p:sp>
      <p:sp>
        <p:nvSpPr>
          <p:cNvPr id="76806" name="AutoShape 2"/>
          <p:cNvSpPr>
            <a:spLocks/>
          </p:cNvSpPr>
          <p:nvPr/>
        </p:nvSpPr>
        <p:spPr bwMode="auto">
          <a:xfrm>
            <a:off x="1628775" y="7758113"/>
            <a:ext cx="3905250" cy="116919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gradFill rotWithShape="0">
            <a:gsLst>
              <a:gs pos="0">
                <a:srgbClr val="FFFFFF"/>
              </a:gs>
              <a:gs pos="100000">
                <a:srgbClr val="CCFFCC"/>
              </a:gs>
            </a:gsLst>
            <a:path path="rect">
              <a:fillToRect l="37720" t="-19635" r="62280" b="119635"/>
            </a:path>
          </a:gradFill>
          <a:ln w="12700" cap="flat" cmpd="sng">
            <a:solidFill>
              <a:srgbClr val="CCFFCC"/>
            </a:solidFill>
            <a:prstDash val="solid"/>
            <a:miter lim="0"/>
            <a:headEnd/>
            <a:tailEnd/>
          </a:ln>
        </p:spPr>
        <p:txBody>
          <a:bodyPr lIns="8286" tIns="8286" rIns="8286" bIns="8286"/>
          <a:lstStyle/>
          <a:p>
            <a:endParaRPr lang="pt-BR"/>
          </a:p>
        </p:txBody>
      </p:sp>
      <p:sp>
        <p:nvSpPr>
          <p:cNvPr id="76807" name="AutoShape 3"/>
          <p:cNvSpPr>
            <a:spLocks/>
          </p:cNvSpPr>
          <p:nvPr/>
        </p:nvSpPr>
        <p:spPr bwMode="auto">
          <a:xfrm>
            <a:off x="8246270" y="7758113"/>
            <a:ext cx="4629150" cy="116919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gradFill rotWithShape="0">
            <a:gsLst>
              <a:gs pos="0">
                <a:srgbClr val="FFFFFF"/>
              </a:gs>
              <a:gs pos="100000">
                <a:srgbClr val="CCFFCC"/>
              </a:gs>
            </a:gsLst>
            <a:path path="rect">
              <a:fillToRect l="37720" t="-19635" r="62280" b="119635"/>
            </a:path>
          </a:gradFill>
          <a:ln w="12700" cap="flat" cmpd="sng">
            <a:solidFill>
              <a:srgbClr val="CCFFCC"/>
            </a:solidFill>
            <a:prstDash val="solid"/>
            <a:miter lim="0"/>
            <a:headEnd/>
            <a:tailEnd/>
          </a:ln>
        </p:spPr>
        <p:txBody>
          <a:bodyPr lIns="8286" tIns="8286" rIns="8286" bIns="8286"/>
          <a:lstStyle/>
          <a:p>
            <a:endParaRPr lang="pt-BR"/>
          </a:p>
        </p:txBody>
      </p:sp>
      <p:sp>
        <p:nvSpPr>
          <p:cNvPr id="76808" name="AutoShape 4"/>
          <p:cNvSpPr>
            <a:spLocks/>
          </p:cNvSpPr>
          <p:nvPr/>
        </p:nvSpPr>
        <p:spPr bwMode="auto">
          <a:xfrm>
            <a:off x="8791576" y="8231983"/>
            <a:ext cx="3540920" cy="22145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003300"/>
                </a:solidFill>
                <a:latin typeface="Arial" panose="020B0604020202020204" pitchFamily="34" charset="0"/>
                <a:ea typeface="MS PGothic" panose="020B0600070205080204" pitchFamily="34" charset="-128"/>
                <a:sym typeface="Arial" panose="020B0604020202020204" pitchFamily="34" charset="0"/>
              </a:rPr>
              <a:t>GERENCIAMENTO DE PROJETOS  </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nvGrpSpPr>
          <p:cNvPr id="76809" name="Group 5"/>
          <p:cNvGrpSpPr>
            <a:grpSpLocks/>
          </p:cNvGrpSpPr>
          <p:nvPr/>
        </p:nvGrpSpPr>
        <p:grpSpPr bwMode="auto">
          <a:xfrm>
            <a:off x="8367713" y="3114676"/>
            <a:ext cx="2283620" cy="1252538"/>
            <a:chOff x="0" y="0"/>
            <a:chExt cx="1522412" cy="835025"/>
          </a:xfrm>
        </p:grpSpPr>
        <p:sp>
          <p:nvSpPr>
            <p:cNvPr id="76838" name="AutoShape 6"/>
            <p:cNvSpPr>
              <a:spLocks/>
            </p:cNvSpPr>
            <p:nvPr/>
          </p:nvSpPr>
          <p:spPr bwMode="auto">
            <a:xfrm>
              <a:off x="0" y="0"/>
              <a:ext cx="1522412" cy="835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miter lim="0"/>
              <a:headEnd/>
              <a:tailEnd/>
            </a:ln>
          </p:spPr>
          <p:txBody>
            <a:bodyPr lIns="8286" tIns="8286" rIns="8286" bIns="8286"/>
            <a:lstStyle/>
            <a:p>
              <a:endParaRPr lang="pt-BR"/>
            </a:p>
          </p:txBody>
        </p:sp>
        <p:sp>
          <p:nvSpPr>
            <p:cNvPr id="76839" name="AutoShape 7"/>
            <p:cNvSpPr>
              <a:spLocks/>
            </p:cNvSpPr>
            <p:nvPr/>
          </p:nvSpPr>
          <p:spPr bwMode="auto">
            <a:xfrm>
              <a:off x="141287" y="239713"/>
              <a:ext cx="1314450" cy="30003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IMPLEMENTAÇÃO </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DA ESTRATÉGIA </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grpSp>
        <p:nvGrpSpPr>
          <p:cNvPr id="76810" name="Group 8"/>
          <p:cNvGrpSpPr>
            <a:grpSpLocks/>
          </p:cNvGrpSpPr>
          <p:nvPr/>
        </p:nvGrpSpPr>
        <p:grpSpPr bwMode="auto">
          <a:xfrm>
            <a:off x="11706226" y="3121820"/>
            <a:ext cx="1835945" cy="1414463"/>
            <a:chOff x="-1" y="-1"/>
            <a:chExt cx="1222377" cy="942976"/>
          </a:xfrm>
        </p:grpSpPr>
        <p:sp>
          <p:nvSpPr>
            <p:cNvPr id="76836" name="AutoShape 9"/>
            <p:cNvSpPr>
              <a:spLocks/>
            </p:cNvSpPr>
            <p:nvPr/>
          </p:nvSpPr>
          <p:spPr bwMode="auto">
            <a:xfrm>
              <a:off x="-1" y="-1"/>
              <a:ext cx="1222377" cy="94297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19471"/>
                  </a:lnTo>
                  <a:lnTo>
                    <a:pt x="21439" y="19335"/>
                  </a:lnTo>
                  <a:lnTo>
                    <a:pt x="21278" y="19245"/>
                  </a:lnTo>
                  <a:lnTo>
                    <a:pt x="20988" y="18928"/>
                  </a:lnTo>
                  <a:lnTo>
                    <a:pt x="20827" y="18792"/>
                  </a:lnTo>
                  <a:lnTo>
                    <a:pt x="20408" y="18566"/>
                  </a:lnTo>
                  <a:lnTo>
                    <a:pt x="20183" y="18475"/>
                  </a:lnTo>
                  <a:lnTo>
                    <a:pt x="19700" y="18249"/>
                  </a:lnTo>
                  <a:lnTo>
                    <a:pt x="19443" y="18113"/>
                  </a:lnTo>
                  <a:lnTo>
                    <a:pt x="19056" y="18022"/>
                  </a:lnTo>
                  <a:lnTo>
                    <a:pt x="18799" y="17886"/>
                  </a:lnTo>
                  <a:lnTo>
                    <a:pt x="18316" y="17796"/>
                  </a:lnTo>
                  <a:lnTo>
                    <a:pt x="18091" y="17796"/>
                  </a:lnTo>
                  <a:lnTo>
                    <a:pt x="17608" y="17660"/>
                  </a:lnTo>
                  <a:lnTo>
                    <a:pt x="17383" y="17660"/>
                  </a:lnTo>
                  <a:lnTo>
                    <a:pt x="16900" y="17569"/>
                  </a:lnTo>
                  <a:lnTo>
                    <a:pt x="15837" y="17569"/>
                  </a:lnTo>
                  <a:lnTo>
                    <a:pt x="15354" y="17660"/>
                  </a:lnTo>
                  <a:lnTo>
                    <a:pt x="15129" y="17660"/>
                  </a:lnTo>
                  <a:lnTo>
                    <a:pt x="14646" y="17796"/>
                  </a:lnTo>
                  <a:lnTo>
                    <a:pt x="14324" y="17796"/>
                  </a:lnTo>
                  <a:lnTo>
                    <a:pt x="13842" y="17886"/>
                  </a:lnTo>
                  <a:lnTo>
                    <a:pt x="13616" y="18022"/>
                  </a:lnTo>
                  <a:lnTo>
                    <a:pt x="13133" y="18113"/>
                  </a:lnTo>
                  <a:lnTo>
                    <a:pt x="12876" y="18249"/>
                  </a:lnTo>
                  <a:lnTo>
                    <a:pt x="12393" y="18475"/>
                  </a:lnTo>
                  <a:lnTo>
                    <a:pt x="12232" y="18566"/>
                  </a:lnTo>
                  <a:lnTo>
                    <a:pt x="11846" y="18792"/>
                  </a:lnTo>
                  <a:lnTo>
                    <a:pt x="11620" y="18928"/>
                  </a:lnTo>
                  <a:lnTo>
                    <a:pt x="11202" y="19245"/>
                  </a:lnTo>
                  <a:lnTo>
                    <a:pt x="11041" y="19335"/>
                  </a:lnTo>
                  <a:lnTo>
                    <a:pt x="10816" y="19471"/>
                  </a:lnTo>
                  <a:lnTo>
                    <a:pt x="10494" y="19924"/>
                  </a:lnTo>
                  <a:lnTo>
                    <a:pt x="10075" y="20150"/>
                  </a:lnTo>
                  <a:lnTo>
                    <a:pt x="9850" y="20377"/>
                  </a:lnTo>
                  <a:lnTo>
                    <a:pt x="9431" y="20603"/>
                  </a:lnTo>
                  <a:lnTo>
                    <a:pt x="9206" y="20694"/>
                  </a:lnTo>
                  <a:lnTo>
                    <a:pt x="8788" y="20920"/>
                  </a:lnTo>
                  <a:lnTo>
                    <a:pt x="8562" y="21056"/>
                  </a:lnTo>
                  <a:lnTo>
                    <a:pt x="8079" y="21147"/>
                  </a:lnTo>
                  <a:lnTo>
                    <a:pt x="7854" y="21283"/>
                  </a:lnTo>
                  <a:lnTo>
                    <a:pt x="7371" y="21373"/>
                  </a:lnTo>
                  <a:lnTo>
                    <a:pt x="7114" y="21509"/>
                  </a:lnTo>
                  <a:lnTo>
                    <a:pt x="6566" y="21599"/>
                  </a:lnTo>
                  <a:lnTo>
                    <a:pt x="4088" y="21599"/>
                  </a:lnTo>
                  <a:lnTo>
                    <a:pt x="3605" y="21509"/>
                  </a:lnTo>
                  <a:lnTo>
                    <a:pt x="3347" y="21373"/>
                  </a:lnTo>
                  <a:lnTo>
                    <a:pt x="2864" y="21283"/>
                  </a:lnTo>
                  <a:lnTo>
                    <a:pt x="2639" y="21147"/>
                  </a:lnTo>
                  <a:lnTo>
                    <a:pt x="2253" y="21056"/>
                  </a:lnTo>
                  <a:lnTo>
                    <a:pt x="1995" y="20920"/>
                  </a:lnTo>
                  <a:lnTo>
                    <a:pt x="1512" y="20694"/>
                  </a:lnTo>
                  <a:lnTo>
                    <a:pt x="1352" y="20603"/>
                  </a:lnTo>
                  <a:lnTo>
                    <a:pt x="965" y="20377"/>
                  </a:lnTo>
                  <a:lnTo>
                    <a:pt x="708" y="20150"/>
                  </a:lnTo>
                  <a:lnTo>
                    <a:pt x="386" y="19924"/>
                  </a:lnTo>
                  <a:lnTo>
                    <a:pt x="225" y="19698"/>
                  </a:lnTo>
                  <a:lnTo>
                    <a:pt x="0" y="19471"/>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round/>
              <a:headEnd/>
              <a:tailEnd/>
            </a:ln>
          </p:spPr>
          <p:txBody>
            <a:bodyPr lIns="8286" tIns="8286" rIns="8286" bIns="8286"/>
            <a:lstStyle/>
            <a:p>
              <a:endParaRPr lang="pt-BR"/>
            </a:p>
          </p:txBody>
        </p:sp>
        <p:sp>
          <p:nvSpPr>
            <p:cNvPr id="76837" name="AutoShape 10"/>
            <p:cNvSpPr>
              <a:spLocks/>
            </p:cNvSpPr>
            <p:nvPr/>
          </p:nvSpPr>
          <p:spPr bwMode="auto">
            <a:xfrm>
              <a:off x="57075" y="244474"/>
              <a:ext cx="1108225" cy="454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PORTFÓLIO,</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PROGRAMAS E</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PROJETOS</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sp>
        <p:nvSpPr>
          <p:cNvPr id="76811" name="AutoShape 11"/>
          <p:cNvSpPr>
            <a:spLocks/>
          </p:cNvSpPr>
          <p:nvPr/>
        </p:nvSpPr>
        <p:spPr bwMode="auto">
          <a:xfrm>
            <a:off x="2316957" y="8231983"/>
            <a:ext cx="2447925" cy="22145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003300"/>
                </a:solidFill>
                <a:latin typeface="Arial" panose="020B0604020202020204" pitchFamily="34" charset="0"/>
                <a:ea typeface="MS PGothic" panose="020B0600070205080204" pitchFamily="34" charset="-128"/>
                <a:sym typeface="Arial" panose="020B0604020202020204" pitchFamily="34" charset="0"/>
              </a:rPr>
              <a:t>GESTÃO ESTRATÉGICA</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sp>
        <p:nvSpPr>
          <p:cNvPr id="76812" name="AutoShape 12"/>
          <p:cNvSpPr>
            <a:spLocks/>
          </p:cNvSpPr>
          <p:nvPr/>
        </p:nvSpPr>
        <p:spPr bwMode="auto">
          <a:xfrm>
            <a:off x="2638425" y="6496050"/>
            <a:ext cx="2381250" cy="45005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000000"/>
                </a:solidFill>
                <a:latin typeface="Arial" panose="020B0604020202020204" pitchFamily="34" charset="0"/>
                <a:ea typeface="MS PGothic" panose="020B0600070205080204" pitchFamily="34" charset="-128"/>
                <a:sym typeface="Arial" panose="020B0604020202020204" pitchFamily="34" charset="0"/>
              </a:rPr>
              <a:t>DEFININDO O FUTURO</a:t>
            </a:r>
          </a:p>
          <a:p>
            <a:pPr eaLnBrk="1">
              <a:spcBef>
                <a:spcPct val="0"/>
              </a:spcBef>
              <a:buClr>
                <a:srgbClr val="000000"/>
              </a:buClr>
              <a:buFontTx/>
              <a:buNone/>
            </a:pPr>
            <a:r>
              <a:rPr lang="en-US" altLang="pt-BR" sz="1650">
                <a:solidFill>
                  <a:srgbClr val="000000"/>
                </a:solidFill>
                <a:latin typeface="Arial" panose="020B0604020202020204" pitchFamily="34" charset="0"/>
                <a:ea typeface="MS PGothic" panose="020B0600070205080204" pitchFamily="34" charset="-128"/>
                <a:sym typeface="Arial" panose="020B0604020202020204" pitchFamily="34" charset="0"/>
              </a:rPr>
              <a:t>DA ORGANIZAÇÃO </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sp>
        <p:nvSpPr>
          <p:cNvPr id="76813" name="AutoShape 13"/>
          <p:cNvSpPr>
            <a:spLocks/>
          </p:cNvSpPr>
          <p:nvPr/>
        </p:nvSpPr>
        <p:spPr bwMode="auto">
          <a:xfrm>
            <a:off x="9151145" y="6496050"/>
            <a:ext cx="3162300" cy="45005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a:spcBef>
                <a:spcPct val="0"/>
              </a:spcBef>
              <a:buClr>
                <a:srgbClr val="000000"/>
              </a:buClr>
              <a:buFontTx/>
              <a:buNone/>
            </a:pPr>
            <a:r>
              <a:rPr lang="en-US" altLang="pt-BR" sz="1650">
                <a:solidFill>
                  <a:srgbClr val="000000"/>
                </a:solidFill>
                <a:latin typeface="Arial" panose="020B0604020202020204" pitchFamily="34" charset="0"/>
                <a:ea typeface="MS PGothic" panose="020B0600070205080204" pitchFamily="34" charset="-128"/>
                <a:sym typeface="Arial" panose="020B0604020202020204" pitchFamily="34" charset="0"/>
              </a:rPr>
              <a:t>TRANSFORMANDO IDEIAS EM</a:t>
            </a:r>
          </a:p>
          <a:p>
            <a:pPr algn="ctr" eaLnBrk="1">
              <a:spcBef>
                <a:spcPct val="0"/>
              </a:spcBef>
              <a:buClr>
                <a:srgbClr val="000000"/>
              </a:buClr>
              <a:buFontTx/>
              <a:buNone/>
            </a:pPr>
            <a:r>
              <a:rPr lang="en-US" altLang="pt-BR" sz="1650">
                <a:solidFill>
                  <a:srgbClr val="000000"/>
                </a:solidFill>
                <a:latin typeface="Arial" panose="020B0604020202020204" pitchFamily="34" charset="0"/>
                <a:ea typeface="MS PGothic" panose="020B0600070205080204" pitchFamily="34" charset="-128"/>
                <a:sym typeface="Arial" panose="020B0604020202020204" pitchFamily="34" charset="0"/>
              </a:rPr>
              <a:t>REALIDADE </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sp>
        <p:nvSpPr>
          <p:cNvPr id="76814" name="AutoShape 14"/>
          <p:cNvSpPr>
            <a:spLocks/>
          </p:cNvSpPr>
          <p:nvPr/>
        </p:nvSpPr>
        <p:spPr bwMode="auto">
          <a:xfrm>
            <a:off x="10779920" y="3469483"/>
            <a:ext cx="809625" cy="43100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5030"/>
                </a:moveTo>
                <a:lnTo>
                  <a:pt x="16345" y="5030"/>
                </a:lnTo>
                <a:lnTo>
                  <a:pt x="16345" y="0"/>
                </a:lnTo>
                <a:lnTo>
                  <a:pt x="21600" y="10652"/>
                </a:lnTo>
                <a:lnTo>
                  <a:pt x="16345" y="21600"/>
                </a:lnTo>
                <a:lnTo>
                  <a:pt x="16345" y="16569"/>
                </a:lnTo>
                <a:lnTo>
                  <a:pt x="0" y="16569"/>
                </a:lnTo>
                <a:lnTo>
                  <a:pt x="0" y="5030"/>
                </a:lnTo>
                <a:close/>
              </a:path>
            </a:pathLst>
          </a:custGeom>
          <a:solidFill>
            <a:srgbClr val="993300"/>
          </a:solidFill>
          <a:ln w="12700" cap="flat" cmpd="sng">
            <a:solidFill>
              <a:srgbClr val="993300"/>
            </a:solidFill>
            <a:prstDash val="solid"/>
            <a:round/>
            <a:headEnd/>
            <a:tailEnd/>
          </a:ln>
        </p:spPr>
        <p:txBody>
          <a:bodyPr lIns="8286" tIns="8286" rIns="8286" bIns="8286"/>
          <a:lstStyle/>
          <a:p>
            <a:endParaRPr lang="pt-BR"/>
          </a:p>
        </p:txBody>
      </p:sp>
      <p:sp>
        <p:nvSpPr>
          <p:cNvPr id="76815" name="AutoShape 15"/>
          <p:cNvSpPr>
            <a:spLocks/>
          </p:cNvSpPr>
          <p:nvPr/>
        </p:nvSpPr>
        <p:spPr bwMode="auto">
          <a:xfrm>
            <a:off x="7465220" y="3445670"/>
            <a:ext cx="809625" cy="43576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5142"/>
                </a:moveTo>
                <a:lnTo>
                  <a:pt x="16345" y="5142"/>
                </a:lnTo>
                <a:lnTo>
                  <a:pt x="16345" y="0"/>
                </a:lnTo>
                <a:lnTo>
                  <a:pt x="21600" y="10579"/>
                </a:lnTo>
                <a:lnTo>
                  <a:pt x="16345" y="21599"/>
                </a:lnTo>
                <a:lnTo>
                  <a:pt x="16345" y="16457"/>
                </a:lnTo>
                <a:lnTo>
                  <a:pt x="0" y="16457"/>
                </a:lnTo>
                <a:lnTo>
                  <a:pt x="0" y="5142"/>
                </a:lnTo>
                <a:close/>
              </a:path>
            </a:pathLst>
          </a:custGeom>
          <a:solidFill>
            <a:srgbClr val="993300"/>
          </a:solidFill>
          <a:ln w="12700" cap="flat" cmpd="sng">
            <a:solidFill>
              <a:srgbClr val="993300"/>
            </a:solidFill>
            <a:prstDash val="solid"/>
            <a:round/>
            <a:headEnd/>
            <a:tailEnd/>
          </a:ln>
        </p:spPr>
        <p:txBody>
          <a:bodyPr lIns="8286" tIns="8286" rIns="8286" bIns="8286"/>
          <a:lstStyle/>
          <a:p>
            <a:endParaRPr lang="pt-BR"/>
          </a:p>
        </p:txBody>
      </p:sp>
      <p:sp>
        <p:nvSpPr>
          <p:cNvPr id="76816" name="AutoShape 17"/>
          <p:cNvSpPr>
            <a:spLocks/>
          </p:cNvSpPr>
          <p:nvPr/>
        </p:nvSpPr>
        <p:spPr bwMode="auto">
          <a:xfrm>
            <a:off x="1543051" y="7072313"/>
            <a:ext cx="969170" cy="28813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21599" y="4898"/>
                </a:moveTo>
                <a:lnTo>
                  <a:pt x="2912" y="4898"/>
                </a:lnTo>
                <a:lnTo>
                  <a:pt x="2912" y="0"/>
                </a:lnTo>
                <a:lnTo>
                  <a:pt x="0" y="10465"/>
                </a:lnTo>
                <a:lnTo>
                  <a:pt x="2912" y="21600"/>
                </a:lnTo>
                <a:lnTo>
                  <a:pt x="2912" y="16701"/>
                </a:lnTo>
                <a:lnTo>
                  <a:pt x="21599" y="16701"/>
                </a:lnTo>
                <a:lnTo>
                  <a:pt x="21599" y="4898"/>
                </a:lnTo>
                <a:close/>
              </a:path>
            </a:pathLst>
          </a:custGeom>
          <a:solidFill>
            <a:srgbClr val="003300"/>
          </a:solidFill>
          <a:ln w="12700" cap="flat" cmpd="sng">
            <a:solidFill>
              <a:srgbClr val="003300"/>
            </a:solidFill>
            <a:prstDash val="solid"/>
            <a:round/>
            <a:headEnd/>
            <a:tailEnd/>
          </a:ln>
        </p:spPr>
        <p:txBody>
          <a:bodyPr lIns="8286" tIns="8286" rIns="8286" bIns="8286"/>
          <a:lstStyle/>
          <a:p>
            <a:endParaRPr lang="pt-BR"/>
          </a:p>
        </p:txBody>
      </p:sp>
      <p:sp>
        <p:nvSpPr>
          <p:cNvPr id="76817" name="AutoShape 18"/>
          <p:cNvSpPr>
            <a:spLocks/>
          </p:cNvSpPr>
          <p:nvPr/>
        </p:nvSpPr>
        <p:spPr bwMode="auto">
          <a:xfrm>
            <a:off x="2143125" y="7072313"/>
            <a:ext cx="4029075" cy="28813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4898"/>
                </a:moveTo>
                <a:lnTo>
                  <a:pt x="20840" y="4898"/>
                </a:lnTo>
                <a:lnTo>
                  <a:pt x="20840" y="0"/>
                </a:lnTo>
                <a:lnTo>
                  <a:pt x="21600" y="10465"/>
                </a:lnTo>
                <a:lnTo>
                  <a:pt x="20840" y="21600"/>
                </a:lnTo>
                <a:lnTo>
                  <a:pt x="20840" y="16701"/>
                </a:lnTo>
                <a:lnTo>
                  <a:pt x="0" y="16701"/>
                </a:lnTo>
                <a:lnTo>
                  <a:pt x="0" y="4898"/>
                </a:lnTo>
                <a:close/>
              </a:path>
            </a:pathLst>
          </a:custGeom>
          <a:solidFill>
            <a:srgbClr val="003300"/>
          </a:solidFill>
          <a:ln w="12700" cap="flat" cmpd="sng">
            <a:solidFill>
              <a:srgbClr val="003300"/>
            </a:solidFill>
            <a:prstDash val="solid"/>
            <a:round/>
            <a:headEnd/>
            <a:tailEnd/>
          </a:ln>
        </p:spPr>
        <p:txBody>
          <a:bodyPr lIns="8286" tIns="8286" rIns="8286" bIns="8286"/>
          <a:lstStyle/>
          <a:p>
            <a:endParaRPr lang="pt-BR"/>
          </a:p>
        </p:txBody>
      </p:sp>
      <p:sp>
        <p:nvSpPr>
          <p:cNvPr id="76818" name="AutoShape 19"/>
          <p:cNvSpPr>
            <a:spLocks/>
          </p:cNvSpPr>
          <p:nvPr/>
        </p:nvSpPr>
        <p:spPr bwMode="auto">
          <a:xfrm>
            <a:off x="8305800" y="7072313"/>
            <a:ext cx="971550" cy="28813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21600" y="4898"/>
                </a:moveTo>
                <a:lnTo>
                  <a:pt x="2851" y="4898"/>
                </a:lnTo>
                <a:lnTo>
                  <a:pt x="2851" y="0"/>
                </a:lnTo>
                <a:lnTo>
                  <a:pt x="0" y="10465"/>
                </a:lnTo>
                <a:lnTo>
                  <a:pt x="2851" y="21600"/>
                </a:lnTo>
                <a:lnTo>
                  <a:pt x="2851" y="16701"/>
                </a:lnTo>
                <a:lnTo>
                  <a:pt x="21600" y="16701"/>
                </a:lnTo>
                <a:lnTo>
                  <a:pt x="21600" y="4898"/>
                </a:lnTo>
                <a:close/>
              </a:path>
            </a:pathLst>
          </a:custGeom>
          <a:solidFill>
            <a:srgbClr val="003300"/>
          </a:solidFill>
          <a:ln w="12700" cap="flat" cmpd="sng">
            <a:solidFill>
              <a:srgbClr val="003300"/>
            </a:solidFill>
            <a:prstDash val="solid"/>
            <a:round/>
            <a:headEnd/>
            <a:tailEnd/>
          </a:ln>
        </p:spPr>
        <p:txBody>
          <a:bodyPr lIns="8286" tIns="8286" rIns="8286" bIns="8286"/>
          <a:lstStyle/>
          <a:p>
            <a:endParaRPr lang="pt-BR"/>
          </a:p>
        </p:txBody>
      </p:sp>
      <p:sp>
        <p:nvSpPr>
          <p:cNvPr id="76819" name="AutoShape 20"/>
          <p:cNvSpPr>
            <a:spLocks/>
          </p:cNvSpPr>
          <p:nvPr/>
        </p:nvSpPr>
        <p:spPr bwMode="auto">
          <a:xfrm>
            <a:off x="9005888" y="7072313"/>
            <a:ext cx="3907632" cy="28813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4898"/>
                </a:moveTo>
                <a:lnTo>
                  <a:pt x="20840" y="4898"/>
                </a:lnTo>
                <a:lnTo>
                  <a:pt x="20840" y="0"/>
                </a:lnTo>
                <a:lnTo>
                  <a:pt x="21599" y="10465"/>
                </a:lnTo>
                <a:lnTo>
                  <a:pt x="20840" y="21600"/>
                </a:lnTo>
                <a:lnTo>
                  <a:pt x="20840" y="16701"/>
                </a:lnTo>
                <a:lnTo>
                  <a:pt x="0" y="16701"/>
                </a:lnTo>
                <a:lnTo>
                  <a:pt x="0" y="4898"/>
                </a:lnTo>
                <a:close/>
              </a:path>
            </a:pathLst>
          </a:custGeom>
          <a:solidFill>
            <a:srgbClr val="003300"/>
          </a:solidFill>
          <a:ln w="12700" cap="flat" cmpd="sng">
            <a:solidFill>
              <a:srgbClr val="003300"/>
            </a:solidFill>
            <a:prstDash val="solid"/>
            <a:round/>
            <a:headEnd/>
            <a:tailEnd/>
          </a:ln>
        </p:spPr>
        <p:txBody>
          <a:bodyPr lIns="8286" tIns="8286" rIns="8286" bIns="8286"/>
          <a:lstStyle/>
          <a:p>
            <a:endParaRPr lang="pt-BR"/>
          </a:p>
        </p:txBody>
      </p:sp>
      <p:grpSp>
        <p:nvGrpSpPr>
          <p:cNvPr id="76820" name="Group 21"/>
          <p:cNvGrpSpPr>
            <a:grpSpLocks/>
          </p:cNvGrpSpPr>
          <p:nvPr/>
        </p:nvGrpSpPr>
        <p:grpSpPr bwMode="auto">
          <a:xfrm>
            <a:off x="185738" y="3281363"/>
            <a:ext cx="2283620" cy="1252538"/>
            <a:chOff x="0" y="0"/>
            <a:chExt cx="1522412" cy="835025"/>
          </a:xfrm>
        </p:grpSpPr>
        <p:sp>
          <p:nvSpPr>
            <p:cNvPr id="76834" name="AutoShape 22"/>
            <p:cNvSpPr>
              <a:spLocks/>
            </p:cNvSpPr>
            <p:nvPr/>
          </p:nvSpPr>
          <p:spPr bwMode="auto">
            <a:xfrm>
              <a:off x="0" y="0"/>
              <a:ext cx="1522412" cy="835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miter lim="0"/>
              <a:headEnd/>
              <a:tailEnd/>
            </a:ln>
          </p:spPr>
          <p:txBody>
            <a:bodyPr lIns="8286" tIns="8286" rIns="8286" bIns="8286"/>
            <a:lstStyle/>
            <a:p>
              <a:endParaRPr lang="pt-BR"/>
            </a:p>
          </p:txBody>
        </p:sp>
        <p:sp>
          <p:nvSpPr>
            <p:cNvPr id="76835" name="AutoShape 23"/>
            <p:cNvSpPr>
              <a:spLocks/>
            </p:cNvSpPr>
            <p:nvPr/>
          </p:nvSpPr>
          <p:spPr bwMode="auto">
            <a:xfrm>
              <a:off x="236537" y="168275"/>
              <a:ext cx="1135063" cy="45243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dirty="0">
                  <a:solidFill>
                    <a:srgbClr val="663300"/>
                  </a:solidFill>
                  <a:latin typeface="Arial" panose="020B0604020202020204" pitchFamily="34" charset="0"/>
                  <a:ea typeface="MS PGothic" panose="020B0600070205080204" pitchFamily="34" charset="-128"/>
                  <a:sym typeface="Arial" panose="020B0604020202020204" pitchFamily="34" charset="0"/>
                </a:rPr>
                <a:t>DEFINIÇÃO </a:t>
              </a:r>
            </a:p>
            <a:p>
              <a:pPr eaLnBrk="1">
                <a:spcBef>
                  <a:spcPct val="0"/>
                </a:spcBef>
                <a:buClr>
                  <a:srgbClr val="000000"/>
                </a:buClr>
                <a:buFontTx/>
                <a:buNone/>
              </a:pPr>
              <a:r>
                <a:rPr lang="en-US" altLang="pt-BR" sz="1650" dirty="0">
                  <a:solidFill>
                    <a:srgbClr val="663300"/>
                  </a:solidFill>
                  <a:latin typeface="Arial" panose="020B0604020202020204" pitchFamily="34" charset="0"/>
                  <a:ea typeface="MS PGothic" panose="020B0600070205080204" pitchFamily="34" charset="-128"/>
                  <a:sym typeface="Arial" panose="020B0604020202020204" pitchFamily="34" charset="0"/>
                </a:rPr>
                <a:t>OBJETIVOS </a:t>
              </a:r>
            </a:p>
            <a:p>
              <a:pPr eaLnBrk="1">
                <a:spcBef>
                  <a:spcPct val="0"/>
                </a:spcBef>
                <a:buClr>
                  <a:srgbClr val="000000"/>
                </a:buClr>
                <a:buFontTx/>
                <a:buNone/>
              </a:pPr>
              <a:r>
                <a:rPr lang="en-US" altLang="pt-BR" sz="1650" dirty="0">
                  <a:solidFill>
                    <a:srgbClr val="663300"/>
                  </a:solidFill>
                  <a:latin typeface="Arial" panose="020B0604020202020204" pitchFamily="34" charset="0"/>
                  <a:ea typeface="MS PGothic" panose="020B0600070205080204" pitchFamily="34" charset="-128"/>
                  <a:sym typeface="Arial" panose="020B0604020202020204" pitchFamily="34" charset="0"/>
                </a:rPr>
                <a:t>ESTRATÉGICOS </a:t>
              </a:r>
              <a:endParaRPr lang="en-US" altLang="pt-BR" sz="3300" dirty="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grpSp>
        <p:nvGrpSpPr>
          <p:cNvPr id="76821" name="Group 24"/>
          <p:cNvGrpSpPr>
            <a:grpSpLocks/>
          </p:cNvGrpSpPr>
          <p:nvPr/>
        </p:nvGrpSpPr>
        <p:grpSpPr bwMode="auto">
          <a:xfrm>
            <a:off x="2638426" y="1316833"/>
            <a:ext cx="2283620" cy="1252538"/>
            <a:chOff x="0" y="0"/>
            <a:chExt cx="1522412" cy="835025"/>
          </a:xfrm>
        </p:grpSpPr>
        <p:sp>
          <p:nvSpPr>
            <p:cNvPr id="76832" name="AutoShape 25"/>
            <p:cNvSpPr>
              <a:spLocks/>
            </p:cNvSpPr>
            <p:nvPr/>
          </p:nvSpPr>
          <p:spPr bwMode="auto">
            <a:xfrm>
              <a:off x="0" y="0"/>
              <a:ext cx="1522412" cy="835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miter lim="0"/>
              <a:headEnd/>
              <a:tailEnd/>
            </a:ln>
          </p:spPr>
          <p:txBody>
            <a:bodyPr lIns="8286" tIns="8286" rIns="8286" bIns="8286"/>
            <a:lstStyle/>
            <a:p>
              <a:endParaRPr lang="pt-BR"/>
            </a:p>
          </p:txBody>
        </p:sp>
        <p:sp>
          <p:nvSpPr>
            <p:cNvPr id="76833" name="AutoShape 26"/>
            <p:cNvSpPr>
              <a:spLocks/>
            </p:cNvSpPr>
            <p:nvPr/>
          </p:nvSpPr>
          <p:spPr bwMode="auto">
            <a:xfrm>
              <a:off x="357187" y="123825"/>
              <a:ext cx="912813" cy="45243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ANÁLISE DO</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AMBIENTE </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INTERNO</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grpSp>
        <p:nvGrpSpPr>
          <p:cNvPr id="76822" name="Group 27"/>
          <p:cNvGrpSpPr>
            <a:grpSpLocks/>
          </p:cNvGrpSpPr>
          <p:nvPr/>
        </p:nvGrpSpPr>
        <p:grpSpPr bwMode="auto">
          <a:xfrm>
            <a:off x="2631282" y="4781551"/>
            <a:ext cx="2286000" cy="1252538"/>
            <a:chOff x="-1" y="0"/>
            <a:chExt cx="1522415" cy="835025"/>
          </a:xfrm>
        </p:grpSpPr>
        <p:sp>
          <p:nvSpPr>
            <p:cNvPr id="76830" name="AutoShape 28"/>
            <p:cNvSpPr>
              <a:spLocks/>
            </p:cNvSpPr>
            <p:nvPr/>
          </p:nvSpPr>
          <p:spPr bwMode="auto">
            <a:xfrm>
              <a:off x="-1" y="0"/>
              <a:ext cx="1522415" cy="835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miter lim="0"/>
              <a:headEnd/>
              <a:tailEnd/>
            </a:ln>
          </p:spPr>
          <p:txBody>
            <a:bodyPr lIns="8286" tIns="8286" rIns="8286" bIns="8286"/>
            <a:lstStyle/>
            <a:p>
              <a:endParaRPr lang="pt-BR"/>
            </a:p>
          </p:txBody>
        </p:sp>
        <p:sp>
          <p:nvSpPr>
            <p:cNvPr id="76831" name="AutoShape 29"/>
            <p:cNvSpPr>
              <a:spLocks/>
            </p:cNvSpPr>
            <p:nvPr/>
          </p:nvSpPr>
          <p:spPr bwMode="auto">
            <a:xfrm>
              <a:off x="356816" y="109538"/>
              <a:ext cx="913449" cy="45243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ANÁLISE DO</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AMBIENTE </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EXTERNO</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grpSp>
        <p:nvGrpSpPr>
          <p:cNvPr id="76823" name="Group 30"/>
          <p:cNvGrpSpPr>
            <a:grpSpLocks/>
          </p:cNvGrpSpPr>
          <p:nvPr/>
        </p:nvGrpSpPr>
        <p:grpSpPr bwMode="auto">
          <a:xfrm>
            <a:off x="5055395" y="3174208"/>
            <a:ext cx="2281238" cy="1252538"/>
            <a:chOff x="0" y="0"/>
            <a:chExt cx="1522412" cy="835025"/>
          </a:xfrm>
        </p:grpSpPr>
        <p:sp>
          <p:nvSpPr>
            <p:cNvPr id="76828" name="AutoShape 31"/>
            <p:cNvSpPr>
              <a:spLocks/>
            </p:cNvSpPr>
            <p:nvPr/>
          </p:nvSpPr>
          <p:spPr bwMode="auto">
            <a:xfrm>
              <a:off x="0" y="0"/>
              <a:ext cx="1522412" cy="8350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gradFill rotWithShape="0">
              <a:gsLst>
                <a:gs pos="0">
                  <a:srgbClr val="FFFFFF"/>
                </a:gs>
                <a:gs pos="100000">
                  <a:srgbClr val="FFCC99"/>
                </a:gs>
              </a:gsLst>
              <a:path path="rect">
                <a:fillToRect l="37720" t="-19635" r="62280" b="119635"/>
              </a:path>
            </a:gradFill>
            <a:ln w="12700" cap="flat" cmpd="sng">
              <a:solidFill>
                <a:srgbClr val="FFCC99"/>
              </a:solidFill>
              <a:prstDash val="solid"/>
              <a:miter lim="0"/>
              <a:headEnd/>
              <a:tailEnd/>
            </a:ln>
          </p:spPr>
          <p:txBody>
            <a:bodyPr lIns="8286" tIns="8286" rIns="8286" bIns="8286"/>
            <a:lstStyle/>
            <a:p>
              <a:endParaRPr lang="pt-BR"/>
            </a:p>
          </p:txBody>
        </p:sp>
        <p:sp>
          <p:nvSpPr>
            <p:cNvPr id="76829" name="AutoShape 32"/>
            <p:cNvSpPr>
              <a:spLocks/>
            </p:cNvSpPr>
            <p:nvPr/>
          </p:nvSpPr>
          <p:spPr bwMode="auto">
            <a:xfrm>
              <a:off x="289226" y="123825"/>
              <a:ext cx="1059968" cy="45243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FORMULAÇÃO</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DA</a:t>
              </a:r>
            </a:p>
            <a:p>
              <a:pPr eaLnBrk="1">
                <a:spcBef>
                  <a:spcPct val="0"/>
                </a:spcBef>
                <a:buClr>
                  <a:srgbClr val="000000"/>
                </a:buClr>
                <a:buFontTx/>
                <a:buNone/>
              </a:pPr>
              <a:r>
                <a:rPr lang="en-US" altLang="pt-BR" sz="1650">
                  <a:solidFill>
                    <a:srgbClr val="663300"/>
                  </a:solidFill>
                  <a:latin typeface="Arial" panose="020B0604020202020204" pitchFamily="34" charset="0"/>
                  <a:ea typeface="MS PGothic" panose="020B0600070205080204" pitchFamily="34" charset="-128"/>
                  <a:sym typeface="Arial" panose="020B0604020202020204" pitchFamily="34" charset="0"/>
                </a:rPr>
                <a:t>ESTRATÉGIA</a:t>
              </a:r>
              <a:endParaRPr lang="en-US" altLang="pt-BR" sz="3300">
                <a:solidFill>
                  <a:srgbClr val="000000"/>
                </a:solidFill>
                <a:latin typeface="Arial Black" panose="020B0A04020102020204" pitchFamily="34" charset="0"/>
                <a:ea typeface="MS PGothic" panose="020B0600070205080204" pitchFamily="34" charset="-128"/>
                <a:sym typeface="Arial Black" panose="020B0A04020102020204" pitchFamily="34" charset="0"/>
              </a:endParaRPr>
            </a:p>
          </p:txBody>
        </p:sp>
      </p:grpSp>
      <p:sp>
        <p:nvSpPr>
          <p:cNvPr id="76824" name="AutoShape 33"/>
          <p:cNvSpPr>
            <a:spLocks/>
          </p:cNvSpPr>
          <p:nvPr/>
        </p:nvSpPr>
        <p:spPr bwMode="auto">
          <a:xfrm>
            <a:off x="5031583" y="4595813"/>
            <a:ext cx="1176338" cy="9144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5429" y="0"/>
                </a:moveTo>
                <a:lnTo>
                  <a:pt x="9257" y="7199"/>
                </a:lnTo>
                <a:lnTo>
                  <a:pt x="12343" y="7199"/>
                </a:lnTo>
                <a:lnTo>
                  <a:pt x="12343" y="14399"/>
                </a:lnTo>
                <a:lnTo>
                  <a:pt x="0" y="14399"/>
                </a:lnTo>
                <a:lnTo>
                  <a:pt x="0" y="21599"/>
                </a:lnTo>
                <a:lnTo>
                  <a:pt x="18514" y="21599"/>
                </a:lnTo>
                <a:lnTo>
                  <a:pt x="18514" y="7199"/>
                </a:lnTo>
                <a:lnTo>
                  <a:pt x="21599" y="7199"/>
                </a:lnTo>
                <a:lnTo>
                  <a:pt x="15429" y="0"/>
                </a:lnTo>
                <a:close/>
              </a:path>
            </a:pathLst>
          </a:custGeom>
          <a:solidFill>
            <a:srgbClr val="990000"/>
          </a:solidFill>
          <a:ln w="3175" cap="flat" cmpd="sng">
            <a:solidFill>
              <a:srgbClr val="000000"/>
            </a:solidFill>
            <a:prstDash val="solid"/>
            <a:miter lim="0"/>
            <a:headEnd/>
            <a:tailEnd/>
          </a:ln>
        </p:spPr>
        <p:txBody>
          <a:bodyPr lIns="8286" tIns="8286" rIns="8286" bIns="8286" anchor="ctr"/>
          <a:lstStyle/>
          <a:p>
            <a:endParaRPr lang="pt-BR"/>
          </a:p>
        </p:txBody>
      </p:sp>
      <p:sp>
        <p:nvSpPr>
          <p:cNvPr id="76825" name="AutoShape 34"/>
          <p:cNvSpPr>
            <a:spLocks/>
          </p:cNvSpPr>
          <p:nvPr/>
        </p:nvSpPr>
        <p:spPr bwMode="auto">
          <a:xfrm rot="10800000" flipH="1">
            <a:off x="5017295" y="2045495"/>
            <a:ext cx="1176338" cy="9144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5429" y="0"/>
                </a:moveTo>
                <a:lnTo>
                  <a:pt x="9257" y="7199"/>
                </a:lnTo>
                <a:lnTo>
                  <a:pt x="12343" y="7199"/>
                </a:lnTo>
                <a:lnTo>
                  <a:pt x="12343" y="14399"/>
                </a:lnTo>
                <a:lnTo>
                  <a:pt x="0" y="14399"/>
                </a:lnTo>
                <a:lnTo>
                  <a:pt x="0" y="21599"/>
                </a:lnTo>
                <a:lnTo>
                  <a:pt x="18514" y="21599"/>
                </a:lnTo>
                <a:lnTo>
                  <a:pt x="18514" y="7199"/>
                </a:lnTo>
                <a:lnTo>
                  <a:pt x="21599" y="7199"/>
                </a:lnTo>
                <a:lnTo>
                  <a:pt x="15429" y="0"/>
                </a:lnTo>
                <a:close/>
              </a:path>
            </a:pathLst>
          </a:custGeom>
          <a:solidFill>
            <a:srgbClr val="990000"/>
          </a:solidFill>
          <a:ln w="3175" cap="flat" cmpd="sng">
            <a:solidFill>
              <a:srgbClr val="000000"/>
            </a:solidFill>
            <a:prstDash val="solid"/>
            <a:miter lim="0"/>
            <a:headEnd/>
            <a:tailEnd/>
          </a:ln>
        </p:spPr>
        <p:txBody>
          <a:bodyPr lIns="8286" tIns="8286" rIns="8286" bIns="8286" anchor="ctr"/>
          <a:lstStyle/>
          <a:p>
            <a:endParaRPr lang="pt-BR"/>
          </a:p>
        </p:txBody>
      </p:sp>
      <p:sp>
        <p:nvSpPr>
          <p:cNvPr id="76826" name="AutoShape 35"/>
          <p:cNvSpPr>
            <a:spLocks/>
          </p:cNvSpPr>
          <p:nvPr/>
        </p:nvSpPr>
        <p:spPr bwMode="auto">
          <a:xfrm rot="5400000" flipH="1">
            <a:off x="1326356" y="2035970"/>
            <a:ext cx="1176338" cy="9144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5429" y="0"/>
                </a:moveTo>
                <a:lnTo>
                  <a:pt x="9257" y="7199"/>
                </a:lnTo>
                <a:lnTo>
                  <a:pt x="12343" y="7199"/>
                </a:lnTo>
                <a:lnTo>
                  <a:pt x="12343" y="14399"/>
                </a:lnTo>
                <a:lnTo>
                  <a:pt x="0" y="14399"/>
                </a:lnTo>
                <a:lnTo>
                  <a:pt x="0" y="21599"/>
                </a:lnTo>
                <a:lnTo>
                  <a:pt x="18514" y="21599"/>
                </a:lnTo>
                <a:lnTo>
                  <a:pt x="18514" y="7199"/>
                </a:lnTo>
                <a:lnTo>
                  <a:pt x="21599" y="7199"/>
                </a:lnTo>
                <a:lnTo>
                  <a:pt x="15429" y="0"/>
                </a:lnTo>
                <a:close/>
              </a:path>
            </a:pathLst>
          </a:custGeom>
          <a:solidFill>
            <a:srgbClr val="990000"/>
          </a:solidFill>
          <a:ln w="3175" cap="flat" cmpd="sng">
            <a:solidFill>
              <a:srgbClr val="000000"/>
            </a:solidFill>
            <a:prstDash val="solid"/>
            <a:miter lim="0"/>
            <a:headEnd/>
            <a:tailEnd/>
          </a:ln>
        </p:spPr>
        <p:txBody>
          <a:bodyPr lIns="8286" tIns="8286" rIns="8286" bIns="8286" anchor="ctr"/>
          <a:lstStyle/>
          <a:p>
            <a:endParaRPr lang="pt-BR"/>
          </a:p>
        </p:txBody>
      </p:sp>
      <p:sp>
        <p:nvSpPr>
          <p:cNvPr id="76827" name="AutoShape 36"/>
          <p:cNvSpPr>
            <a:spLocks/>
          </p:cNvSpPr>
          <p:nvPr/>
        </p:nvSpPr>
        <p:spPr bwMode="auto">
          <a:xfrm rot="5400000">
            <a:off x="1293019" y="4833939"/>
            <a:ext cx="1176338" cy="9144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5429" y="0"/>
                </a:moveTo>
                <a:lnTo>
                  <a:pt x="9257" y="7199"/>
                </a:lnTo>
                <a:lnTo>
                  <a:pt x="12343" y="7199"/>
                </a:lnTo>
                <a:lnTo>
                  <a:pt x="12343" y="14399"/>
                </a:lnTo>
                <a:lnTo>
                  <a:pt x="0" y="14399"/>
                </a:lnTo>
                <a:lnTo>
                  <a:pt x="0" y="21599"/>
                </a:lnTo>
                <a:lnTo>
                  <a:pt x="18514" y="21599"/>
                </a:lnTo>
                <a:lnTo>
                  <a:pt x="18514" y="7199"/>
                </a:lnTo>
                <a:lnTo>
                  <a:pt x="21599" y="7199"/>
                </a:lnTo>
                <a:lnTo>
                  <a:pt x="15429" y="0"/>
                </a:lnTo>
                <a:close/>
              </a:path>
            </a:pathLst>
          </a:custGeom>
          <a:solidFill>
            <a:srgbClr val="990000"/>
          </a:solidFill>
          <a:ln w="3175" cap="flat" cmpd="sng">
            <a:solidFill>
              <a:srgbClr val="000000"/>
            </a:solidFill>
            <a:prstDash val="solid"/>
            <a:miter lim="0"/>
            <a:headEnd/>
            <a:tailEnd/>
          </a:ln>
        </p:spPr>
        <p:txBody>
          <a:bodyPr lIns="8286" tIns="8286" rIns="8286" bIns="8286" anchor="ctr"/>
          <a:lstStyle/>
          <a:p>
            <a:endParaRPr lang="pt-BR"/>
          </a:p>
        </p:txBody>
      </p:sp>
    </p:spTree>
    <p:custDataLst>
      <p:tags r:id="rId1"/>
    </p:custDataLst>
    <p:extLst>
      <p:ext uri="{BB962C8B-B14F-4D97-AF65-F5344CB8AC3E}">
        <p14:creationId xmlns:p14="http://schemas.microsoft.com/office/powerpoint/2010/main" val="3816761931"/>
      </p:ext>
    </p:extLst>
  </p:cSld>
  <p:clrMapOvr>
    <a:masterClrMapping/>
  </p:clrMapOvr>
  <p:transition>
    <p:strips dir="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pt-BR" sz="3600" dirty="0">
                <a:solidFill>
                  <a:schemeClr val="tx1"/>
                </a:solidFill>
                <a:latin typeface="Arial" panose="020B0604020202020204" pitchFamily="34" charset="0"/>
              </a:rPr>
              <a:t>Cadeia de valor de um PMO - EGP</a:t>
            </a:r>
          </a:p>
        </p:txBody>
      </p:sp>
      <p:sp>
        <p:nvSpPr>
          <p:cNvPr id="4" name="Espaço Reservado para Texto 3"/>
          <p:cNvSpPr>
            <a:spLocks noGrp="1"/>
          </p:cNvSpPr>
          <p:nvPr>
            <p:ph type="body" sz="quarter" idx="13"/>
          </p:nvPr>
        </p:nvSpPr>
        <p:spPr>
          <a:xfrm>
            <a:off x="598512" y="1636314"/>
            <a:ext cx="12532015" cy="8043687"/>
          </a:xfrm>
        </p:spPr>
        <p:style>
          <a:lnRef idx="2">
            <a:schemeClr val="accent2"/>
          </a:lnRef>
          <a:fillRef idx="1">
            <a:schemeClr val="lt1"/>
          </a:fillRef>
          <a:effectRef idx="0">
            <a:schemeClr val="accent2"/>
          </a:effectRef>
          <a:fontRef idx="minor">
            <a:schemeClr val="dk1"/>
          </a:fontRef>
        </p:style>
        <p:txBody>
          <a:bodyPr anchor="b">
            <a:normAutofit/>
          </a:bodyPr>
          <a:lstStyle/>
          <a:p>
            <a:pPr marL="0" indent="0">
              <a:buNone/>
            </a:pPr>
            <a:r>
              <a:rPr lang="pt-BR" sz="2250" dirty="0"/>
              <a:t>METODOLOGIA </a:t>
            </a:r>
            <a:r>
              <a:rPr lang="pt-BR" sz="2250" dirty="0">
                <a:sym typeface="Wingdings" panose="05000000000000000000" pitchFamily="2" charset="2"/>
              </a:rPr>
              <a:t> MATURIDADE  BASE DE CONHECIMENTO  CAPACITAÇÃO PERMANENTE</a:t>
            </a:r>
            <a:endParaRPr lang="pt-BR" sz="2250" dirty="0"/>
          </a:p>
        </p:txBody>
      </p:sp>
      <p:grpSp>
        <p:nvGrpSpPr>
          <p:cNvPr id="30" name="Grupo 29"/>
          <p:cNvGrpSpPr/>
          <p:nvPr/>
        </p:nvGrpSpPr>
        <p:grpSpPr>
          <a:xfrm>
            <a:off x="1167990" y="2611158"/>
            <a:ext cx="10928592" cy="4746589"/>
            <a:chOff x="1773344" y="1615108"/>
            <a:chExt cx="14571456" cy="6328785"/>
          </a:xfrm>
        </p:grpSpPr>
        <p:sp>
          <p:nvSpPr>
            <p:cNvPr id="7" name="Retângulo: Cantos Arredondados 6">
              <a:extLst>
                <a:ext uri="{FF2B5EF4-FFF2-40B4-BE49-F238E27FC236}">
                  <a16:creationId xmlns:a16="http://schemas.microsoft.com/office/drawing/2014/main" id="{82BD636F-585F-4654-8A68-8B3323C5A625}"/>
                </a:ext>
              </a:extLst>
            </p:cNvPr>
            <p:cNvSpPr/>
            <p:nvPr/>
          </p:nvSpPr>
          <p:spPr>
            <a:xfrm>
              <a:off x="1773344" y="1615109"/>
              <a:ext cx="2994570" cy="1892378"/>
            </a:xfrm>
            <a:prstGeom prst="ellipse">
              <a:avLst/>
            </a:prstGeom>
            <a:solidFill>
              <a:schemeClr val="bg1"/>
            </a:solidFill>
            <a:ln w="57150">
              <a:solidFill>
                <a:srgbClr val="20D6EC"/>
              </a:solidFill>
            </a:ln>
            <a:effectLst/>
          </p:spPr>
          <p:style>
            <a:lnRef idx="3">
              <a:schemeClr val="lt1"/>
            </a:lnRef>
            <a:fillRef idx="1">
              <a:schemeClr val="accent4"/>
            </a:fillRef>
            <a:effectRef idx="1">
              <a:schemeClr val="accent4"/>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redução do desperdício</a:t>
              </a:r>
            </a:p>
          </p:txBody>
        </p:sp>
        <p:sp>
          <p:nvSpPr>
            <p:cNvPr id="9" name="Retângulo: Cantos Arredondados 8">
              <a:extLst>
                <a:ext uri="{FF2B5EF4-FFF2-40B4-BE49-F238E27FC236}">
                  <a16:creationId xmlns:a16="http://schemas.microsoft.com/office/drawing/2014/main" id="{990D4955-5EA0-4B8E-A10D-A6EA20D22FA7}"/>
                </a:ext>
              </a:extLst>
            </p:cNvPr>
            <p:cNvSpPr/>
            <p:nvPr/>
          </p:nvSpPr>
          <p:spPr>
            <a:xfrm>
              <a:off x="6704207" y="1615108"/>
              <a:ext cx="4591980" cy="1885296"/>
            </a:xfrm>
            <a:prstGeom prst="ellipse">
              <a:avLst/>
            </a:prstGeom>
            <a:solidFill>
              <a:schemeClr val="bg1"/>
            </a:solidFill>
            <a:ln w="57150">
              <a:solidFill>
                <a:srgbClr val="20D6EC"/>
              </a:solidFill>
            </a:ln>
            <a:effectLst/>
          </p:spPr>
          <p:style>
            <a:lnRef idx="3">
              <a:schemeClr val="lt1"/>
            </a:lnRef>
            <a:fillRef idx="1">
              <a:schemeClr val="accent4"/>
            </a:fillRef>
            <a:effectRef idx="1">
              <a:schemeClr val="accent4"/>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eficiência: mais barato, mais rápido e melhor</a:t>
              </a:r>
            </a:p>
          </p:txBody>
        </p:sp>
        <p:sp>
          <p:nvSpPr>
            <p:cNvPr id="10" name="Retângulo: Cantos Arredondados 9">
              <a:extLst>
                <a:ext uri="{FF2B5EF4-FFF2-40B4-BE49-F238E27FC236}">
                  <a16:creationId xmlns:a16="http://schemas.microsoft.com/office/drawing/2014/main" id="{D591572C-C6BC-4FFE-AC64-8E62DFE2DB86}"/>
                </a:ext>
              </a:extLst>
            </p:cNvPr>
            <p:cNvSpPr/>
            <p:nvPr/>
          </p:nvSpPr>
          <p:spPr>
            <a:xfrm>
              <a:off x="4514214" y="6047926"/>
              <a:ext cx="3242397" cy="1895967"/>
            </a:xfrm>
            <a:prstGeom prst="ellipse">
              <a:avLst/>
            </a:prstGeom>
            <a:solidFill>
              <a:schemeClr val="bg1"/>
            </a:solidFill>
            <a:ln w="57150">
              <a:solidFill>
                <a:srgbClr val="20D6EC"/>
              </a:solidFill>
            </a:ln>
            <a:effectLst/>
          </p:spPr>
          <p:style>
            <a:lnRef idx="3">
              <a:schemeClr val="lt1"/>
            </a:lnRef>
            <a:fillRef idx="1">
              <a:schemeClr val="accent4"/>
            </a:fillRef>
            <a:effectRef idx="1">
              <a:schemeClr val="accent4"/>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fonte única,</a:t>
              </a:r>
            </a:p>
            <a:p>
              <a:pPr algn="ctr" fontAlgn="base">
                <a:spcBef>
                  <a:spcPct val="0"/>
                </a:spcBef>
                <a:spcAft>
                  <a:spcPct val="0"/>
                </a:spcAft>
              </a:pPr>
              <a:r>
                <a:rPr lang="en-US" sz="2250" dirty="0">
                  <a:solidFill>
                    <a:schemeClr val="tx1"/>
                  </a:solidFill>
                  <a:latin typeface="+mj-lt"/>
                </a:rPr>
                <a:t>metodologia e SIGP</a:t>
              </a:r>
            </a:p>
          </p:txBody>
        </p:sp>
        <p:sp>
          <p:nvSpPr>
            <p:cNvPr id="11" name="Retângulo: Cantos Arredondados 10">
              <a:extLst>
                <a:ext uri="{FF2B5EF4-FFF2-40B4-BE49-F238E27FC236}">
                  <a16:creationId xmlns:a16="http://schemas.microsoft.com/office/drawing/2014/main" id="{167646C6-5AED-466B-811F-735C4C7C4C31}"/>
                </a:ext>
              </a:extLst>
            </p:cNvPr>
            <p:cNvSpPr/>
            <p:nvPr/>
          </p:nvSpPr>
          <p:spPr>
            <a:xfrm>
              <a:off x="13974930" y="4157440"/>
              <a:ext cx="2369870" cy="998907"/>
            </a:xfrm>
            <a:prstGeom prst="roundRect">
              <a:avLst/>
            </a:prstGeom>
            <a:solidFill>
              <a:schemeClr val="bg1"/>
            </a:solidFill>
            <a:ln w="57150">
              <a:solidFill>
                <a:srgbClr val="FF9701"/>
              </a:solidFill>
            </a:ln>
            <a:effectLst/>
            <a:scene3d>
              <a:camera prst="orthographicFront">
                <a:rot lat="0" lon="0" rev="0"/>
              </a:camera>
              <a:lightRig rig="threePt" dir="t">
                <a:rot lat="0" lon="0" rev="1200000"/>
              </a:lightRig>
            </a:scene3d>
            <a:sp3d>
              <a:bevelT w="0" h="0"/>
            </a:sp3d>
          </p:spPr>
          <p:style>
            <a:lnRef idx="0">
              <a:schemeClr val="accent6"/>
            </a:lnRef>
            <a:fillRef idx="3">
              <a:schemeClr val="accent6"/>
            </a:fillRef>
            <a:effectRef idx="3">
              <a:schemeClr val="accent6"/>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valor agregado</a:t>
              </a:r>
            </a:p>
          </p:txBody>
        </p:sp>
        <p:cxnSp>
          <p:nvCxnSpPr>
            <p:cNvPr id="16" name="Conector reto 15">
              <a:extLst>
                <a:ext uri="{FF2B5EF4-FFF2-40B4-BE49-F238E27FC236}">
                  <a16:creationId xmlns:a16="http://schemas.microsoft.com/office/drawing/2014/main" id="{527C7885-B140-4C26-BF67-B4829DF6A3FA}"/>
                </a:ext>
              </a:extLst>
            </p:cNvPr>
            <p:cNvCxnSpPr>
              <a:cxnSpLocks/>
            </p:cNvCxnSpPr>
            <p:nvPr/>
          </p:nvCxnSpPr>
          <p:spPr>
            <a:xfrm>
              <a:off x="3270629" y="3507486"/>
              <a:ext cx="2" cy="701009"/>
            </a:xfrm>
            <a:prstGeom prst="line">
              <a:avLst/>
            </a:prstGeom>
            <a:ln>
              <a:solidFill>
                <a:srgbClr val="20D6EC"/>
              </a:solidFill>
              <a:tailEnd type="none"/>
            </a:ln>
          </p:spPr>
          <p:style>
            <a:lnRef idx="3">
              <a:schemeClr val="accent1"/>
            </a:lnRef>
            <a:fillRef idx="0">
              <a:schemeClr val="accent1"/>
            </a:fillRef>
            <a:effectRef idx="2">
              <a:schemeClr val="accent1"/>
            </a:effectRef>
            <a:fontRef idx="minor">
              <a:schemeClr val="tx1"/>
            </a:fontRef>
          </p:style>
        </p:cxnSp>
        <p:sp>
          <p:nvSpPr>
            <p:cNvPr id="13" name="Retângulo: Cantos Arredondados 12">
              <a:extLst>
                <a:ext uri="{FF2B5EF4-FFF2-40B4-BE49-F238E27FC236}">
                  <a16:creationId xmlns:a16="http://schemas.microsoft.com/office/drawing/2014/main" id="{06B7A3A0-BF75-4BDE-B3E3-F3850DEAEFF0}"/>
                </a:ext>
              </a:extLst>
            </p:cNvPr>
            <p:cNvSpPr/>
            <p:nvPr/>
          </p:nvSpPr>
          <p:spPr>
            <a:xfrm>
              <a:off x="2085695" y="4208495"/>
              <a:ext cx="2369870" cy="1009547"/>
            </a:xfrm>
            <a:prstGeom prst="roundRect">
              <a:avLst/>
            </a:prstGeom>
            <a:solidFill>
              <a:schemeClr val="bg1"/>
            </a:solidFill>
            <a:ln w="57150">
              <a:solidFill>
                <a:srgbClr val="FF9701"/>
              </a:solidFill>
            </a:ln>
            <a:effectLst/>
            <a:scene3d>
              <a:camera prst="orthographicFront">
                <a:rot lat="0" lon="0" rev="0"/>
              </a:camera>
              <a:lightRig rig="threePt" dir="t">
                <a:rot lat="0" lon="0" rev="1200000"/>
              </a:lightRig>
            </a:scene3d>
            <a:sp3d>
              <a:bevelT w="0" h="0"/>
            </a:sp3d>
          </p:spPr>
          <p:style>
            <a:lnRef idx="0">
              <a:schemeClr val="accent6"/>
            </a:lnRef>
            <a:fillRef idx="3">
              <a:schemeClr val="accent6"/>
            </a:fillRef>
            <a:effectRef idx="3">
              <a:schemeClr val="accent6"/>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controle</a:t>
              </a:r>
            </a:p>
          </p:txBody>
        </p:sp>
        <p:sp>
          <p:nvSpPr>
            <p:cNvPr id="14" name="Retângulo: Cantos Arredondados 13">
              <a:extLst>
                <a:ext uri="{FF2B5EF4-FFF2-40B4-BE49-F238E27FC236}">
                  <a16:creationId xmlns:a16="http://schemas.microsoft.com/office/drawing/2014/main" id="{F64F035C-5454-4EE6-AEFD-2759660590A8}"/>
                </a:ext>
              </a:extLst>
            </p:cNvPr>
            <p:cNvSpPr/>
            <p:nvPr/>
          </p:nvSpPr>
          <p:spPr>
            <a:xfrm>
              <a:off x="10642948" y="4208496"/>
              <a:ext cx="2369870" cy="998906"/>
            </a:xfrm>
            <a:prstGeom prst="roundRect">
              <a:avLst/>
            </a:prstGeom>
            <a:solidFill>
              <a:schemeClr val="bg1"/>
            </a:solidFill>
            <a:ln w="57150">
              <a:solidFill>
                <a:srgbClr val="FF9701"/>
              </a:solidFill>
            </a:ln>
            <a:effectLst/>
            <a:scene3d>
              <a:camera prst="orthographicFront">
                <a:rot lat="0" lon="0" rev="0"/>
              </a:camera>
              <a:lightRig rig="threePt" dir="t">
                <a:rot lat="0" lon="0" rev="1200000"/>
              </a:lightRig>
            </a:scene3d>
            <a:sp3d>
              <a:bevelT w="0" h="0"/>
            </a:sp3d>
          </p:spPr>
          <p:style>
            <a:lnRef idx="0">
              <a:schemeClr val="accent6"/>
            </a:lnRef>
            <a:fillRef idx="3">
              <a:schemeClr val="accent6"/>
            </a:fillRef>
            <a:effectRef idx="3">
              <a:schemeClr val="accent6"/>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alinhamento estratégico</a:t>
              </a:r>
            </a:p>
          </p:txBody>
        </p:sp>
        <p:sp>
          <p:nvSpPr>
            <p:cNvPr id="15" name="Retângulo: Cantos Arredondados 14">
              <a:extLst>
                <a:ext uri="{FF2B5EF4-FFF2-40B4-BE49-F238E27FC236}">
                  <a16:creationId xmlns:a16="http://schemas.microsoft.com/office/drawing/2014/main" id="{EECB79AF-53B6-44B2-A127-620D8E5AF7D4}"/>
                </a:ext>
              </a:extLst>
            </p:cNvPr>
            <p:cNvSpPr/>
            <p:nvPr/>
          </p:nvSpPr>
          <p:spPr>
            <a:xfrm>
              <a:off x="9615208" y="6028095"/>
              <a:ext cx="4450538" cy="1910834"/>
            </a:xfrm>
            <a:prstGeom prst="ellipse">
              <a:avLst/>
            </a:prstGeom>
            <a:solidFill>
              <a:schemeClr val="bg1"/>
            </a:solidFill>
            <a:ln w="57150">
              <a:solidFill>
                <a:srgbClr val="20D6EC"/>
              </a:solidFill>
            </a:ln>
            <a:effectLst/>
          </p:spPr>
          <p:style>
            <a:lnRef idx="3">
              <a:schemeClr val="lt1"/>
            </a:lnRef>
            <a:fillRef idx="1">
              <a:schemeClr val="accent4"/>
            </a:fillRef>
            <a:effectRef idx="1">
              <a:schemeClr val="accent4"/>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selecionar e priorizar o melhor </a:t>
              </a:r>
              <a:r>
                <a:rPr lang="en-US" sz="2250" i="1" dirty="0">
                  <a:solidFill>
                    <a:schemeClr val="tx1"/>
                  </a:solidFill>
                  <a:latin typeface="+mj-lt"/>
                </a:rPr>
                <a:t>mix</a:t>
              </a:r>
              <a:r>
                <a:rPr lang="en-US" sz="2250" dirty="0">
                  <a:solidFill>
                    <a:schemeClr val="tx1"/>
                  </a:solidFill>
                  <a:latin typeface="+mj-lt"/>
                </a:rPr>
                <a:t> de projetos</a:t>
              </a:r>
            </a:p>
          </p:txBody>
        </p:sp>
        <p:cxnSp>
          <p:nvCxnSpPr>
            <p:cNvPr id="17" name="Conector reto 16">
              <a:extLst>
                <a:ext uri="{FF2B5EF4-FFF2-40B4-BE49-F238E27FC236}">
                  <a16:creationId xmlns:a16="http://schemas.microsoft.com/office/drawing/2014/main" id="{E4C8BB79-F2CA-4FDA-9527-9D4C9255918C}"/>
                </a:ext>
              </a:extLst>
            </p:cNvPr>
            <p:cNvCxnSpPr>
              <a:cxnSpLocks/>
            </p:cNvCxnSpPr>
            <p:nvPr/>
          </p:nvCxnSpPr>
          <p:spPr>
            <a:xfrm>
              <a:off x="9000197" y="3500405"/>
              <a:ext cx="2" cy="708092"/>
            </a:xfrm>
            <a:prstGeom prst="line">
              <a:avLst/>
            </a:prstGeom>
            <a:ln>
              <a:solidFill>
                <a:srgbClr val="20D6EC"/>
              </a:solidFill>
              <a:tailEnd type="none"/>
            </a:ln>
          </p:spPr>
          <p:style>
            <a:lnRef idx="3">
              <a:schemeClr val="accent1"/>
            </a:lnRef>
            <a:fillRef idx="0">
              <a:schemeClr val="accent1"/>
            </a:fillRef>
            <a:effectRef idx="2">
              <a:schemeClr val="accent1"/>
            </a:effectRef>
            <a:fontRef idx="minor">
              <a:schemeClr val="tx1"/>
            </a:fontRef>
          </p:style>
        </p:cxnSp>
        <p:cxnSp>
          <p:nvCxnSpPr>
            <p:cNvPr id="18" name="Conector reto 17">
              <a:extLst>
                <a:ext uri="{FF2B5EF4-FFF2-40B4-BE49-F238E27FC236}">
                  <a16:creationId xmlns:a16="http://schemas.microsoft.com/office/drawing/2014/main" id="{DE5DE199-7A60-4257-B078-6089363C4EFC}"/>
                </a:ext>
              </a:extLst>
            </p:cNvPr>
            <p:cNvCxnSpPr>
              <a:cxnSpLocks/>
            </p:cNvCxnSpPr>
            <p:nvPr/>
          </p:nvCxnSpPr>
          <p:spPr>
            <a:xfrm flipH="1">
              <a:off x="6135413" y="5197965"/>
              <a:ext cx="2" cy="849962"/>
            </a:xfrm>
            <a:prstGeom prst="line">
              <a:avLst/>
            </a:prstGeom>
            <a:ln>
              <a:solidFill>
                <a:srgbClr val="20D6EC"/>
              </a:solidFill>
              <a:tailEnd type="none"/>
            </a:ln>
          </p:spPr>
          <p:style>
            <a:lnRef idx="3">
              <a:schemeClr val="accent1"/>
            </a:lnRef>
            <a:fillRef idx="0">
              <a:schemeClr val="accent1"/>
            </a:fillRef>
            <a:effectRef idx="2">
              <a:schemeClr val="accent1"/>
            </a:effectRef>
            <a:fontRef idx="minor">
              <a:schemeClr val="tx1"/>
            </a:fontRef>
          </p:style>
        </p:cxnSp>
        <p:cxnSp>
          <p:nvCxnSpPr>
            <p:cNvPr id="19" name="Conector reto 18">
              <a:extLst>
                <a:ext uri="{FF2B5EF4-FFF2-40B4-BE49-F238E27FC236}">
                  <a16:creationId xmlns:a16="http://schemas.microsoft.com/office/drawing/2014/main" id="{6CC1AD1A-4F0B-4C92-B51E-817E5E434162}"/>
                </a:ext>
              </a:extLst>
            </p:cNvPr>
            <p:cNvCxnSpPr>
              <a:cxnSpLocks/>
            </p:cNvCxnSpPr>
            <p:nvPr/>
          </p:nvCxnSpPr>
          <p:spPr>
            <a:xfrm>
              <a:off x="11827883" y="5207402"/>
              <a:ext cx="12594" cy="820694"/>
            </a:xfrm>
            <a:prstGeom prst="line">
              <a:avLst/>
            </a:prstGeom>
            <a:ln>
              <a:solidFill>
                <a:srgbClr val="20D6EC"/>
              </a:solidFill>
              <a:tailEnd type="none"/>
            </a:ln>
          </p:spPr>
          <p:style>
            <a:lnRef idx="3">
              <a:schemeClr val="accent1"/>
            </a:lnRef>
            <a:fillRef idx="0">
              <a:schemeClr val="accent1"/>
            </a:fillRef>
            <a:effectRef idx="2">
              <a:schemeClr val="accent1"/>
            </a:effectRef>
            <a:fontRef idx="minor">
              <a:schemeClr val="tx1"/>
            </a:fontRef>
          </p:style>
        </p:cxnSp>
        <p:cxnSp>
          <p:nvCxnSpPr>
            <p:cNvPr id="20" name="Conector reto 19">
              <a:extLst>
                <a:ext uri="{FF2B5EF4-FFF2-40B4-BE49-F238E27FC236}">
                  <a16:creationId xmlns:a16="http://schemas.microsoft.com/office/drawing/2014/main" id="{7798683C-6FF8-4AB7-BD6E-3623493B7987}"/>
                </a:ext>
              </a:extLst>
            </p:cNvPr>
            <p:cNvCxnSpPr/>
            <p:nvPr/>
          </p:nvCxnSpPr>
          <p:spPr>
            <a:xfrm>
              <a:off x="13227263" y="4605771"/>
              <a:ext cx="533220" cy="0"/>
            </a:xfrm>
            <a:prstGeom prst="line">
              <a:avLst/>
            </a:prstGeom>
            <a:ln w="38100">
              <a:solidFill>
                <a:srgbClr val="20D6EC"/>
              </a:solidFill>
              <a:tailEnd type="none"/>
            </a:ln>
            <a:effectLst/>
          </p:spPr>
          <p:style>
            <a:lnRef idx="3">
              <a:schemeClr val="accent1"/>
            </a:lnRef>
            <a:fillRef idx="0">
              <a:schemeClr val="accent1"/>
            </a:fillRef>
            <a:effectRef idx="2">
              <a:schemeClr val="accent1"/>
            </a:effectRef>
            <a:fontRef idx="minor">
              <a:schemeClr val="tx1"/>
            </a:fontRef>
          </p:style>
        </p:cxnSp>
        <p:cxnSp>
          <p:nvCxnSpPr>
            <p:cNvPr id="21" name="Conector reto 20">
              <a:extLst>
                <a:ext uri="{FF2B5EF4-FFF2-40B4-BE49-F238E27FC236}">
                  <a16:creationId xmlns:a16="http://schemas.microsoft.com/office/drawing/2014/main" id="{F2145D06-8D31-48B6-9704-91AF38570C3B}"/>
                </a:ext>
              </a:extLst>
            </p:cNvPr>
            <p:cNvCxnSpPr/>
            <p:nvPr/>
          </p:nvCxnSpPr>
          <p:spPr>
            <a:xfrm>
              <a:off x="13227263" y="4834371"/>
              <a:ext cx="533220" cy="0"/>
            </a:xfrm>
            <a:prstGeom prst="line">
              <a:avLst/>
            </a:prstGeom>
            <a:ln w="38100">
              <a:solidFill>
                <a:srgbClr val="20D6EC"/>
              </a:solidFill>
              <a:tailEnd type="none"/>
            </a:ln>
            <a:effectLst/>
          </p:spPr>
          <p:style>
            <a:lnRef idx="3">
              <a:schemeClr val="accent1"/>
            </a:lnRef>
            <a:fillRef idx="0">
              <a:schemeClr val="accent1"/>
            </a:fillRef>
            <a:effectRef idx="2">
              <a:schemeClr val="accent1"/>
            </a:effectRef>
            <a:fontRef idx="minor">
              <a:schemeClr val="tx1"/>
            </a:fontRef>
          </p:style>
        </p:cxnSp>
        <p:cxnSp>
          <p:nvCxnSpPr>
            <p:cNvPr id="22" name="Conector reto 21">
              <a:extLst>
                <a:ext uri="{FF2B5EF4-FFF2-40B4-BE49-F238E27FC236}">
                  <a16:creationId xmlns:a16="http://schemas.microsoft.com/office/drawing/2014/main" id="{55A388CC-7D84-446D-9AF1-C73D79EA393E}"/>
                </a:ext>
              </a:extLst>
            </p:cNvPr>
            <p:cNvCxnSpPr>
              <a:cxnSpLocks/>
            </p:cNvCxnSpPr>
            <p:nvPr/>
          </p:nvCxnSpPr>
          <p:spPr>
            <a:xfrm>
              <a:off x="7320349" y="4703231"/>
              <a:ext cx="455499" cy="7178"/>
            </a:xfrm>
            <a:prstGeom prst="line">
              <a:avLst/>
            </a:prstGeom>
            <a:ln w="38100">
              <a:solidFill>
                <a:srgbClr val="20D6EC"/>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23" name="Conector reto 22">
              <a:extLst>
                <a:ext uri="{FF2B5EF4-FFF2-40B4-BE49-F238E27FC236}">
                  <a16:creationId xmlns:a16="http://schemas.microsoft.com/office/drawing/2014/main" id="{9A0B6C2B-1E70-4EB2-A358-5E233896B425}"/>
                </a:ext>
              </a:extLst>
            </p:cNvPr>
            <p:cNvCxnSpPr>
              <a:cxnSpLocks/>
            </p:cNvCxnSpPr>
            <p:nvPr/>
          </p:nvCxnSpPr>
          <p:spPr>
            <a:xfrm flipV="1">
              <a:off x="10185133" y="4710409"/>
              <a:ext cx="399027" cy="2863"/>
            </a:xfrm>
            <a:prstGeom prst="line">
              <a:avLst/>
            </a:prstGeom>
            <a:ln w="38100">
              <a:solidFill>
                <a:srgbClr val="20D6EC"/>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24" name="Conector reto 23">
              <a:extLst>
                <a:ext uri="{FF2B5EF4-FFF2-40B4-BE49-F238E27FC236}">
                  <a16:creationId xmlns:a16="http://schemas.microsoft.com/office/drawing/2014/main" id="{9B54A9F1-2C2B-4FD9-BAFD-A276DC72BE75}"/>
                </a:ext>
              </a:extLst>
            </p:cNvPr>
            <p:cNvCxnSpPr>
              <a:endCxn id="12" idx="1"/>
            </p:cNvCxnSpPr>
            <p:nvPr/>
          </p:nvCxnSpPr>
          <p:spPr>
            <a:xfrm flipV="1">
              <a:off x="4463480" y="4703231"/>
              <a:ext cx="486999" cy="7178"/>
            </a:xfrm>
            <a:prstGeom prst="line">
              <a:avLst/>
            </a:prstGeom>
            <a:ln w="38100">
              <a:solidFill>
                <a:srgbClr val="20D6EC"/>
              </a:solidFill>
              <a:tailEnd type="arrow"/>
            </a:ln>
            <a:effectLst/>
          </p:spPr>
          <p:style>
            <a:lnRef idx="3">
              <a:schemeClr val="accent1"/>
            </a:lnRef>
            <a:fillRef idx="0">
              <a:schemeClr val="accent1"/>
            </a:fillRef>
            <a:effectRef idx="2">
              <a:schemeClr val="accent1"/>
            </a:effectRef>
            <a:fontRef idx="minor">
              <a:schemeClr val="tx1"/>
            </a:fontRef>
          </p:style>
        </p:cxnSp>
        <p:sp>
          <p:nvSpPr>
            <p:cNvPr id="8" name="Retângulo: Cantos Arredondados 7">
              <a:extLst>
                <a:ext uri="{FF2B5EF4-FFF2-40B4-BE49-F238E27FC236}">
                  <a16:creationId xmlns:a16="http://schemas.microsoft.com/office/drawing/2014/main" id="{E5DBDDE1-2787-44BD-A063-A1635522978D}"/>
                </a:ext>
              </a:extLst>
            </p:cNvPr>
            <p:cNvSpPr/>
            <p:nvPr/>
          </p:nvSpPr>
          <p:spPr>
            <a:xfrm>
              <a:off x="7815263" y="4208496"/>
              <a:ext cx="2369870" cy="1009547"/>
            </a:xfrm>
            <a:prstGeom prst="roundRect">
              <a:avLst/>
            </a:prstGeom>
            <a:solidFill>
              <a:schemeClr val="bg1"/>
            </a:solidFill>
            <a:ln w="57150">
              <a:solidFill>
                <a:srgbClr val="FF9701"/>
              </a:solidFill>
            </a:ln>
            <a:effectLst/>
            <a:scene3d>
              <a:camera prst="orthographicFront">
                <a:rot lat="0" lon="0" rev="0"/>
              </a:camera>
              <a:lightRig rig="threePt" dir="t">
                <a:rot lat="0" lon="0" rev="1200000"/>
              </a:lightRig>
            </a:scene3d>
            <a:sp3d>
              <a:bevelT w="0" h="0"/>
            </a:sp3d>
          </p:spPr>
          <p:style>
            <a:lnRef idx="0">
              <a:schemeClr val="accent6"/>
            </a:lnRef>
            <a:fillRef idx="3">
              <a:schemeClr val="accent6"/>
            </a:fillRef>
            <a:effectRef idx="3">
              <a:schemeClr val="accent6"/>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melhoria</a:t>
              </a:r>
            </a:p>
          </p:txBody>
        </p:sp>
        <p:sp>
          <p:nvSpPr>
            <p:cNvPr id="12" name="Retângulo: Cantos Arredondados 11">
              <a:extLst>
                <a:ext uri="{FF2B5EF4-FFF2-40B4-BE49-F238E27FC236}">
                  <a16:creationId xmlns:a16="http://schemas.microsoft.com/office/drawing/2014/main" id="{BC8515A3-9F4A-4A0B-A6A5-900EEE515EB1}"/>
                </a:ext>
              </a:extLst>
            </p:cNvPr>
            <p:cNvSpPr/>
            <p:nvPr/>
          </p:nvSpPr>
          <p:spPr>
            <a:xfrm>
              <a:off x="4950479" y="4208496"/>
              <a:ext cx="2369870" cy="989469"/>
            </a:xfrm>
            <a:prstGeom prst="roundRect">
              <a:avLst/>
            </a:prstGeom>
            <a:solidFill>
              <a:schemeClr val="bg1"/>
            </a:solidFill>
            <a:ln w="57150">
              <a:solidFill>
                <a:srgbClr val="FF9701"/>
              </a:solidFill>
            </a:ln>
            <a:effectLst/>
            <a:scene3d>
              <a:camera prst="orthographicFront">
                <a:rot lat="0" lon="0" rev="0"/>
              </a:camera>
              <a:lightRig rig="threePt" dir="t">
                <a:rot lat="0" lon="0" rev="1200000"/>
              </a:lightRig>
            </a:scene3d>
            <a:sp3d>
              <a:bevelT w="0" h="0"/>
            </a:sp3d>
          </p:spPr>
          <p:style>
            <a:lnRef idx="0">
              <a:schemeClr val="accent6"/>
            </a:lnRef>
            <a:fillRef idx="3">
              <a:schemeClr val="accent6"/>
            </a:fillRef>
            <a:effectRef idx="3">
              <a:schemeClr val="accent6"/>
            </a:effectRef>
            <a:fontRef idx="minor">
              <a:schemeClr val="lt1"/>
            </a:fontRef>
          </p:style>
          <p:txBody>
            <a:bodyPr rtlCol="0" anchor="ctr"/>
            <a:lstStyle/>
            <a:p>
              <a:pPr algn="ctr" fontAlgn="base">
                <a:spcBef>
                  <a:spcPct val="0"/>
                </a:spcBef>
                <a:spcAft>
                  <a:spcPct val="0"/>
                </a:spcAft>
              </a:pPr>
              <a:r>
                <a:rPr lang="en-US" sz="2250" dirty="0">
                  <a:solidFill>
                    <a:schemeClr val="tx1"/>
                  </a:solidFill>
                  <a:latin typeface="+mj-lt"/>
                </a:rPr>
                <a:t>suporte</a:t>
              </a:r>
            </a:p>
          </p:txBody>
        </p:sp>
      </p:grpSp>
    </p:spTree>
    <p:extLst>
      <p:ext uri="{BB962C8B-B14F-4D97-AF65-F5344CB8AC3E}">
        <p14:creationId xmlns:p14="http://schemas.microsoft.com/office/powerpoint/2010/main" val="1583374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 name="Freeform 405"/>
          <p:cNvSpPr/>
          <p:nvPr/>
        </p:nvSpPr>
        <p:spPr>
          <a:xfrm>
            <a:off x="8250589" y="7844371"/>
            <a:ext cx="4945761" cy="478631"/>
          </a:xfrm>
          <a:custGeom>
            <a:avLst/>
            <a:gdLst/>
            <a:ahLst/>
            <a:cxnLst/>
            <a:rect l="0" t="0" r="0" b="0"/>
            <a:pathLst>
              <a:path w="3297174" h="319087">
                <a:moveTo>
                  <a:pt x="0" y="319087"/>
                </a:moveTo>
                <a:lnTo>
                  <a:pt x="3297174" y="319087"/>
                </a:lnTo>
                <a:lnTo>
                  <a:pt x="3297174" y="0"/>
                </a:lnTo>
                <a:lnTo>
                  <a:pt x="0" y="0"/>
                </a:lnTo>
                <a:lnTo>
                  <a:pt x="0" y="319087"/>
                </a:lnTo>
                <a:close/>
              </a:path>
            </a:pathLst>
          </a:custGeom>
          <a:solidFill>
            <a:srgbClr val="90909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06" name="Picture 40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8307740" y="7732453"/>
            <a:ext cx="4907660" cy="500061"/>
          </a:xfrm>
          <a:prstGeom prst="rect">
            <a:avLst/>
          </a:prstGeom>
          <a:noFill/>
        </p:spPr>
      </p:pic>
      <p:sp>
        <p:nvSpPr>
          <p:cNvPr id="407" name="Freeform 407"/>
          <p:cNvSpPr/>
          <p:nvPr/>
        </p:nvSpPr>
        <p:spPr>
          <a:xfrm>
            <a:off x="8326789" y="7751502"/>
            <a:ext cx="4869561" cy="461963"/>
          </a:xfrm>
          <a:custGeom>
            <a:avLst/>
            <a:gdLst/>
            <a:ahLst/>
            <a:cxnLst/>
            <a:rect l="0" t="0" r="0" b="0"/>
            <a:pathLst>
              <a:path w="3246374" h="307975">
                <a:moveTo>
                  <a:pt x="0" y="307975"/>
                </a:moveTo>
                <a:lnTo>
                  <a:pt x="3246374" y="307975"/>
                </a:lnTo>
                <a:lnTo>
                  <a:pt x="3246374" y="0"/>
                </a:lnTo>
                <a:lnTo>
                  <a:pt x="0" y="0"/>
                </a:lnTo>
                <a:lnTo>
                  <a:pt x="0" y="307975"/>
                </a:lnTo>
                <a:close/>
              </a:path>
            </a:pathLst>
          </a:custGeom>
          <a:noFill/>
          <a:ln w="27051" cap="flat" cmpd="sng">
            <a:solidFill>
              <a:srgbClr val="CCFF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408" name="Freeform 408"/>
          <p:cNvSpPr/>
          <p:nvPr/>
        </p:nvSpPr>
        <p:spPr>
          <a:xfrm>
            <a:off x="2790288" y="2688870"/>
            <a:ext cx="1871663" cy="1069181"/>
          </a:xfrm>
          <a:custGeom>
            <a:avLst/>
            <a:gdLst/>
            <a:ahLst/>
            <a:cxnLst/>
            <a:rect l="0" t="0" r="0" b="0"/>
            <a:pathLst>
              <a:path w="1247775" h="712787">
                <a:moveTo>
                  <a:pt x="0" y="712787"/>
                </a:moveTo>
                <a:lnTo>
                  <a:pt x="1247775" y="712787"/>
                </a:lnTo>
                <a:lnTo>
                  <a:pt x="1247775" y="0"/>
                </a:lnTo>
                <a:lnTo>
                  <a:pt x="0" y="0"/>
                </a:lnTo>
                <a:lnTo>
                  <a:pt x="0" y="712787"/>
                </a:lnTo>
                <a:close/>
              </a:path>
            </a:pathLst>
          </a:custGeom>
          <a:solidFill>
            <a:srgbClr val="90909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09" name="Freeform 409"/>
          <p:cNvSpPr/>
          <p:nvPr/>
        </p:nvSpPr>
        <p:spPr>
          <a:xfrm>
            <a:off x="3909476" y="4400988"/>
            <a:ext cx="2014538" cy="1662113"/>
          </a:xfrm>
          <a:custGeom>
            <a:avLst/>
            <a:gdLst/>
            <a:ahLst/>
            <a:cxnLst/>
            <a:rect l="0" t="0" r="0" b="0"/>
            <a:pathLst>
              <a:path w="1343025" h="1108075">
                <a:moveTo>
                  <a:pt x="0" y="0"/>
                </a:moveTo>
                <a:lnTo>
                  <a:pt x="1343025" y="0"/>
                </a:lnTo>
                <a:lnTo>
                  <a:pt x="1343025" y="990981"/>
                </a:lnTo>
                <a:lnTo>
                  <a:pt x="1333753" y="983870"/>
                </a:lnTo>
                <a:lnTo>
                  <a:pt x="1324483" y="972186"/>
                </a:lnTo>
                <a:lnTo>
                  <a:pt x="1302384" y="955802"/>
                </a:lnTo>
                <a:lnTo>
                  <a:pt x="1287526" y="948818"/>
                </a:lnTo>
                <a:lnTo>
                  <a:pt x="1265301" y="937006"/>
                </a:lnTo>
                <a:lnTo>
                  <a:pt x="1250569" y="925323"/>
                </a:lnTo>
                <a:lnTo>
                  <a:pt x="1222755" y="913639"/>
                </a:lnTo>
                <a:lnTo>
                  <a:pt x="1209802" y="908940"/>
                </a:lnTo>
                <a:lnTo>
                  <a:pt x="1178433" y="904240"/>
                </a:lnTo>
                <a:lnTo>
                  <a:pt x="1163573" y="897255"/>
                </a:lnTo>
                <a:lnTo>
                  <a:pt x="1135888" y="885571"/>
                </a:lnTo>
                <a:lnTo>
                  <a:pt x="1122934" y="885571"/>
                </a:lnTo>
                <a:lnTo>
                  <a:pt x="1089533" y="880873"/>
                </a:lnTo>
                <a:lnTo>
                  <a:pt x="1076578" y="880873"/>
                </a:lnTo>
                <a:lnTo>
                  <a:pt x="1043304" y="873761"/>
                </a:lnTo>
                <a:lnTo>
                  <a:pt x="1030351" y="873761"/>
                </a:lnTo>
                <a:lnTo>
                  <a:pt x="998982" y="873761"/>
                </a:lnTo>
                <a:lnTo>
                  <a:pt x="984122" y="873761"/>
                </a:lnTo>
                <a:lnTo>
                  <a:pt x="952753" y="880873"/>
                </a:lnTo>
                <a:lnTo>
                  <a:pt x="937895" y="880873"/>
                </a:lnTo>
                <a:lnTo>
                  <a:pt x="906398" y="885571"/>
                </a:lnTo>
                <a:lnTo>
                  <a:pt x="887984" y="885571"/>
                </a:lnTo>
                <a:lnTo>
                  <a:pt x="860171" y="897255"/>
                </a:lnTo>
                <a:lnTo>
                  <a:pt x="847216" y="904240"/>
                </a:lnTo>
                <a:lnTo>
                  <a:pt x="813942" y="908940"/>
                </a:lnTo>
                <a:lnTo>
                  <a:pt x="800989" y="913639"/>
                </a:lnTo>
                <a:lnTo>
                  <a:pt x="773303" y="925323"/>
                </a:lnTo>
                <a:lnTo>
                  <a:pt x="758444" y="937006"/>
                </a:lnTo>
                <a:lnTo>
                  <a:pt x="730758" y="948818"/>
                </a:lnTo>
                <a:lnTo>
                  <a:pt x="717803" y="955802"/>
                </a:lnTo>
                <a:lnTo>
                  <a:pt x="693673" y="972186"/>
                </a:lnTo>
                <a:lnTo>
                  <a:pt x="684403" y="983870"/>
                </a:lnTo>
                <a:lnTo>
                  <a:pt x="671448" y="990981"/>
                </a:lnTo>
                <a:lnTo>
                  <a:pt x="662304" y="1002665"/>
                </a:lnTo>
                <a:lnTo>
                  <a:pt x="653034" y="1014349"/>
                </a:lnTo>
                <a:lnTo>
                  <a:pt x="625221" y="1030733"/>
                </a:lnTo>
                <a:lnTo>
                  <a:pt x="616076" y="1037845"/>
                </a:lnTo>
                <a:lnTo>
                  <a:pt x="588264" y="1054227"/>
                </a:lnTo>
                <a:lnTo>
                  <a:pt x="575310" y="1061212"/>
                </a:lnTo>
                <a:lnTo>
                  <a:pt x="547623" y="1072896"/>
                </a:lnTo>
                <a:lnTo>
                  <a:pt x="532764" y="1077596"/>
                </a:lnTo>
                <a:lnTo>
                  <a:pt x="501269" y="1084708"/>
                </a:lnTo>
                <a:lnTo>
                  <a:pt x="488314" y="1089280"/>
                </a:lnTo>
                <a:lnTo>
                  <a:pt x="460629" y="1096392"/>
                </a:lnTo>
                <a:lnTo>
                  <a:pt x="445770" y="1101090"/>
                </a:lnTo>
                <a:lnTo>
                  <a:pt x="414401" y="1108075"/>
                </a:lnTo>
                <a:lnTo>
                  <a:pt x="395858" y="1108075"/>
                </a:lnTo>
                <a:lnTo>
                  <a:pt x="362585" y="1108075"/>
                </a:lnTo>
                <a:lnTo>
                  <a:pt x="349630" y="1108075"/>
                </a:lnTo>
                <a:lnTo>
                  <a:pt x="316357" y="1108075"/>
                </a:lnTo>
                <a:lnTo>
                  <a:pt x="303402" y="1108075"/>
                </a:lnTo>
                <a:lnTo>
                  <a:pt x="271907" y="1108075"/>
                </a:lnTo>
                <a:lnTo>
                  <a:pt x="257175" y="1108075"/>
                </a:lnTo>
                <a:lnTo>
                  <a:pt x="225679" y="1101090"/>
                </a:lnTo>
                <a:lnTo>
                  <a:pt x="210947" y="1096392"/>
                </a:lnTo>
                <a:lnTo>
                  <a:pt x="179451" y="1089280"/>
                </a:lnTo>
                <a:lnTo>
                  <a:pt x="164592" y="1084708"/>
                </a:lnTo>
                <a:lnTo>
                  <a:pt x="136905" y="1077596"/>
                </a:lnTo>
                <a:lnTo>
                  <a:pt x="123951" y="1072896"/>
                </a:lnTo>
                <a:lnTo>
                  <a:pt x="96139" y="1061212"/>
                </a:lnTo>
                <a:lnTo>
                  <a:pt x="83185" y="1054227"/>
                </a:lnTo>
                <a:lnTo>
                  <a:pt x="59182" y="1037845"/>
                </a:lnTo>
                <a:lnTo>
                  <a:pt x="46227" y="1030733"/>
                </a:lnTo>
                <a:lnTo>
                  <a:pt x="22225" y="1014349"/>
                </a:lnTo>
                <a:lnTo>
                  <a:pt x="12954" y="1002665"/>
                </a:lnTo>
                <a:lnTo>
                  <a:pt x="0" y="990981"/>
                </a:lnTo>
                <a:lnTo>
                  <a:pt x="0" y="0"/>
                </a:lnTo>
                <a:close/>
                <a:moveTo>
                  <a:pt x="1289050" y="3917950"/>
                </a:moveTo>
              </a:path>
            </a:pathLst>
          </a:custGeom>
          <a:solidFill>
            <a:srgbClr val="90909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pic>
        <p:nvPicPr>
          <p:cNvPr id="410" name="Picture 410"/>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992914" y="4289165"/>
            <a:ext cx="2054922" cy="1552575"/>
          </a:xfrm>
          <a:prstGeom prst="rect">
            <a:avLst/>
          </a:prstGeom>
          <a:noFill/>
        </p:spPr>
      </p:pic>
      <p:sp>
        <p:nvSpPr>
          <p:cNvPr id="411" name="Freeform 411"/>
          <p:cNvSpPr/>
          <p:nvPr/>
        </p:nvSpPr>
        <p:spPr>
          <a:xfrm>
            <a:off x="4011965" y="4308215"/>
            <a:ext cx="2016824" cy="1514475"/>
          </a:xfrm>
          <a:custGeom>
            <a:avLst/>
            <a:gdLst/>
            <a:ahLst/>
            <a:cxnLst/>
            <a:rect l="0" t="0" r="0" b="0"/>
            <a:pathLst>
              <a:path w="1344549" h="1009650">
                <a:moveTo>
                  <a:pt x="0" y="0"/>
                </a:moveTo>
                <a:lnTo>
                  <a:pt x="1344549" y="0"/>
                </a:lnTo>
                <a:lnTo>
                  <a:pt x="1344549" y="904747"/>
                </a:lnTo>
                <a:lnTo>
                  <a:pt x="1335277" y="898397"/>
                </a:lnTo>
                <a:lnTo>
                  <a:pt x="1326007" y="887603"/>
                </a:lnTo>
                <a:lnTo>
                  <a:pt x="1303782" y="872744"/>
                </a:lnTo>
                <a:lnTo>
                  <a:pt x="1290827" y="866266"/>
                </a:lnTo>
                <a:lnTo>
                  <a:pt x="1266697" y="855598"/>
                </a:lnTo>
                <a:lnTo>
                  <a:pt x="1253744" y="844931"/>
                </a:lnTo>
                <a:lnTo>
                  <a:pt x="1226058" y="834135"/>
                </a:lnTo>
                <a:lnTo>
                  <a:pt x="1211199" y="829944"/>
                </a:lnTo>
                <a:lnTo>
                  <a:pt x="1179702" y="823468"/>
                </a:lnTo>
                <a:lnTo>
                  <a:pt x="1164844" y="819150"/>
                </a:lnTo>
                <a:lnTo>
                  <a:pt x="1138935" y="808481"/>
                </a:lnTo>
                <a:lnTo>
                  <a:pt x="1124203" y="808481"/>
                </a:lnTo>
                <a:lnTo>
                  <a:pt x="1092708" y="802131"/>
                </a:lnTo>
                <a:lnTo>
                  <a:pt x="1077849" y="802131"/>
                </a:lnTo>
                <a:lnTo>
                  <a:pt x="1046352" y="797813"/>
                </a:lnTo>
                <a:lnTo>
                  <a:pt x="1031494" y="797813"/>
                </a:lnTo>
                <a:lnTo>
                  <a:pt x="1000125" y="797813"/>
                </a:lnTo>
                <a:lnTo>
                  <a:pt x="985265" y="797813"/>
                </a:lnTo>
                <a:lnTo>
                  <a:pt x="953770" y="802131"/>
                </a:lnTo>
                <a:lnTo>
                  <a:pt x="940815" y="802131"/>
                </a:lnTo>
                <a:lnTo>
                  <a:pt x="907414" y="808481"/>
                </a:lnTo>
                <a:lnTo>
                  <a:pt x="889000" y="808481"/>
                </a:lnTo>
                <a:lnTo>
                  <a:pt x="861187" y="819150"/>
                </a:lnTo>
                <a:lnTo>
                  <a:pt x="848233" y="823468"/>
                </a:lnTo>
                <a:lnTo>
                  <a:pt x="814832" y="829944"/>
                </a:lnTo>
                <a:lnTo>
                  <a:pt x="801877" y="834135"/>
                </a:lnTo>
                <a:lnTo>
                  <a:pt x="774064" y="844931"/>
                </a:lnTo>
                <a:lnTo>
                  <a:pt x="761110" y="855598"/>
                </a:lnTo>
                <a:lnTo>
                  <a:pt x="733425" y="866266"/>
                </a:lnTo>
                <a:lnTo>
                  <a:pt x="718565" y="872744"/>
                </a:lnTo>
                <a:lnTo>
                  <a:pt x="696340" y="887603"/>
                </a:lnTo>
                <a:lnTo>
                  <a:pt x="687070" y="898397"/>
                </a:lnTo>
                <a:lnTo>
                  <a:pt x="672210" y="904747"/>
                </a:lnTo>
                <a:lnTo>
                  <a:pt x="662939" y="913384"/>
                </a:lnTo>
                <a:lnTo>
                  <a:pt x="653669" y="924051"/>
                </a:lnTo>
                <a:lnTo>
                  <a:pt x="625983" y="941197"/>
                </a:lnTo>
                <a:lnTo>
                  <a:pt x="616712" y="945388"/>
                </a:lnTo>
                <a:lnTo>
                  <a:pt x="590803" y="962532"/>
                </a:lnTo>
                <a:lnTo>
                  <a:pt x="575945" y="966850"/>
                </a:lnTo>
                <a:lnTo>
                  <a:pt x="548131" y="977519"/>
                </a:lnTo>
                <a:lnTo>
                  <a:pt x="535178" y="983869"/>
                </a:lnTo>
                <a:lnTo>
                  <a:pt x="501903" y="988187"/>
                </a:lnTo>
                <a:lnTo>
                  <a:pt x="488950" y="994663"/>
                </a:lnTo>
                <a:lnTo>
                  <a:pt x="461137" y="998854"/>
                </a:lnTo>
                <a:lnTo>
                  <a:pt x="446278" y="1005331"/>
                </a:lnTo>
                <a:lnTo>
                  <a:pt x="414781" y="1009650"/>
                </a:lnTo>
                <a:lnTo>
                  <a:pt x="396240" y="1009650"/>
                </a:lnTo>
                <a:lnTo>
                  <a:pt x="364744" y="1009650"/>
                </a:lnTo>
                <a:lnTo>
                  <a:pt x="350012" y="1009650"/>
                </a:lnTo>
                <a:lnTo>
                  <a:pt x="318516" y="1009650"/>
                </a:lnTo>
                <a:lnTo>
                  <a:pt x="303656" y="1009650"/>
                </a:lnTo>
                <a:lnTo>
                  <a:pt x="272160" y="1009650"/>
                </a:lnTo>
                <a:lnTo>
                  <a:pt x="257428" y="1009650"/>
                </a:lnTo>
                <a:lnTo>
                  <a:pt x="225932" y="1005331"/>
                </a:lnTo>
                <a:lnTo>
                  <a:pt x="212978" y="998854"/>
                </a:lnTo>
                <a:lnTo>
                  <a:pt x="179578" y="994663"/>
                </a:lnTo>
                <a:lnTo>
                  <a:pt x="166624" y="988187"/>
                </a:lnTo>
                <a:lnTo>
                  <a:pt x="138810" y="983869"/>
                </a:lnTo>
                <a:lnTo>
                  <a:pt x="124078" y="977519"/>
                </a:lnTo>
                <a:lnTo>
                  <a:pt x="96266" y="966850"/>
                </a:lnTo>
                <a:lnTo>
                  <a:pt x="83312" y="962532"/>
                </a:lnTo>
                <a:lnTo>
                  <a:pt x="61087" y="945388"/>
                </a:lnTo>
                <a:lnTo>
                  <a:pt x="46228" y="941197"/>
                </a:lnTo>
                <a:lnTo>
                  <a:pt x="24003" y="924051"/>
                </a:lnTo>
                <a:lnTo>
                  <a:pt x="14731" y="913384"/>
                </a:lnTo>
                <a:lnTo>
                  <a:pt x="0" y="904747"/>
                </a:lnTo>
                <a:lnTo>
                  <a:pt x="0" y="0"/>
                </a:lnTo>
                <a:close/>
                <a:moveTo>
                  <a:pt x="1282572" y="3979798"/>
                </a:moveTo>
              </a:path>
            </a:pathLst>
          </a:custGeom>
          <a:noFill/>
          <a:ln w="27051" cap="flat" cmpd="sng">
            <a:solidFill>
              <a:srgbClr val="FFCC99">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12" name="Freeform 412"/>
          <p:cNvSpPr/>
          <p:nvPr/>
        </p:nvSpPr>
        <p:spPr>
          <a:xfrm>
            <a:off x="7786150" y="2769832"/>
            <a:ext cx="1943100" cy="1069181"/>
          </a:xfrm>
          <a:custGeom>
            <a:avLst/>
            <a:gdLst/>
            <a:ahLst/>
            <a:cxnLst/>
            <a:rect l="0" t="0" r="0" b="0"/>
            <a:pathLst>
              <a:path w="1295400" h="712787">
                <a:moveTo>
                  <a:pt x="0" y="712787"/>
                </a:moveTo>
                <a:lnTo>
                  <a:pt x="1295400" y="712787"/>
                </a:lnTo>
                <a:lnTo>
                  <a:pt x="1295400" y="0"/>
                </a:lnTo>
                <a:lnTo>
                  <a:pt x="0" y="0"/>
                </a:lnTo>
                <a:lnTo>
                  <a:pt x="0" y="712787"/>
                </a:lnTo>
                <a:close/>
              </a:path>
            </a:pathLst>
          </a:custGeom>
          <a:solidFill>
            <a:srgbClr val="90909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pic>
        <p:nvPicPr>
          <p:cNvPr id="413" name="Picture 4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7886163" y="2631719"/>
            <a:ext cx="1981200" cy="1112043"/>
          </a:xfrm>
          <a:prstGeom prst="rect">
            <a:avLst/>
          </a:prstGeom>
          <a:noFill/>
        </p:spPr>
      </p:pic>
      <p:sp>
        <p:nvSpPr>
          <p:cNvPr id="414" name="Freeform 414"/>
          <p:cNvSpPr/>
          <p:nvPr/>
        </p:nvSpPr>
        <p:spPr>
          <a:xfrm>
            <a:off x="7905213" y="2650769"/>
            <a:ext cx="1943100" cy="1073943"/>
          </a:xfrm>
          <a:custGeom>
            <a:avLst/>
            <a:gdLst/>
            <a:ahLst/>
            <a:cxnLst/>
            <a:rect l="0" t="0" r="0" b="0"/>
            <a:pathLst>
              <a:path w="1295400" h="715962">
                <a:moveTo>
                  <a:pt x="0" y="715962"/>
                </a:moveTo>
                <a:lnTo>
                  <a:pt x="1295400" y="715962"/>
                </a:lnTo>
                <a:lnTo>
                  <a:pt x="1295400" y="0"/>
                </a:lnTo>
                <a:lnTo>
                  <a:pt x="0" y="0"/>
                </a:lnTo>
                <a:lnTo>
                  <a:pt x="0" y="715962"/>
                </a:lnTo>
                <a:close/>
              </a:path>
            </a:pathLst>
          </a:custGeom>
          <a:noFill/>
          <a:ln w="27051" cap="flat" cmpd="sng">
            <a:solidFill>
              <a:srgbClr val="FFCC99">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15" name="Freeform 415"/>
          <p:cNvSpPr/>
          <p:nvPr/>
        </p:nvSpPr>
        <p:spPr>
          <a:xfrm>
            <a:off x="10648413" y="4827136"/>
            <a:ext cx="1862138" cy="1212152"/>
          </a:xfrm>
          <a:custGeom>
            <a:avLst/>
            <a:gdLst/>
            <a:ahLst/>
            <a:cxnLst/>
            <a:rect l="0" t="0" r="0" b="0"/>
            <a:pathLst>
              <a:path w="1241425" h="808101">
                <a:moveTo>
                  <a:pt x="0" y="0"/>
                </a:moveTo>
                <a:lnTo>
                  <a:pt x="1241425" y="0"/>
                </a:lnTo>
                <a:lnTo>
                  <a:pt x="1241425" y="726949"/>
                </a:lnTo>
                <a:lnTo>
                  <a:pt x="1232154" y="723519"/>
                </a:lnTo>
                <a:lnTo>
                  <a:pt x="1222882" y="718566"/>
                </a:lnTo>
                <a:lnTo>
                  <a:pt x="1204468" y="706628"/>
                </a:lnTo>
                <a:lnTo>
                  <a:pt x="1195196" y="701549"/>
                </a:lnTo>
                <a:lnTo>
                  <a:pt x="1172971" y="693166"/>
                </a:lnTo>
                <a:lnTo>
                  <a:pt x="1158113" y="689737"/>
                </a:lnTo>
                <a:lnTo>
                  <a:pt x="1130427" y="681356"/>
                </a:lnTo>
                <a:lnTo>
                  <a:pt x="1117472" y="676275"/>
                </a:lnTo>
                <a:lnTo>
                  <a:pt x="1095247" y="672847"/>
                </a:lnTo>
                <a:lnTo>
                  <a:pt x="1080516" y="667766"/>
                </a:lnTo>
                <a:lnTo>
                  <a:pt x="1052703" y="664465"/>
                </a:lnTo>
                <a:lnTo>
                  <a:pt x="1039748" y="664465"/>
                </a:lnTo>
                <a:lnTo>
                  <a:pt x="1012063" y="659384"/>
                </a:lnTo>
                <a:lnTo>
                  <a:pt x="997204" y="659384"/>
                </a:lnTo>
                <a:lnTo>
                  <a:pt x="969518" y="655956"/>
                </a:lnTo>
                <a:lnTo>
                  <a:pt x="956564" y="655956"/>
                </a:lnTo>
                <a:lnTo>
                  <a:pt x="923163" y="655956"/>
                </a:lnTo>
                <a:lnTo>
                  <a:pt x="910208" y="655956"/>
                </a:lnTo>
                <a:lnTo>
                  <a:pt x="882522" y="659384"/>
                </a:lnTo>
                <a:lnTo>
                  <a:pt x="869568" y="659384"/>
                </a:lnTo>
                <a:lnTo>
                  <a:pt x="841756" y="664465"/>
                </a:lnTo>
                <a:lnTo>
                  <a:pt x="823341" y="664465"/>
                </a:lnTo>
                <a:lnTo>
                  <a:pt x="795528" y="667766"/>
                </a:lnTo>
                <a:lnTo>
                  <a:pt x="780795" y="672847"/>
                </a:lnTo>
                <a:lnTo>
                  <a:pt x="752982" y="676275"/>
                </a:lnTo>
                <a:lnTo>
                  <a:pt x="740029" y="681356"/>
                </a:lnTo>
                <a:lnTo>
                  <a:pt x="712343" y="689737"/>
                </a:lnTo>
                <a:lnTo>
                  <a:pt x="703071" y="693166"/>
                </a:lnTo>
                <a:lnTo>
                  <a:pt x="680846" y="701549"/>
                </a:lnTo>
                <a:lnTo>
                  <a:pt x="665988" y="706628"/>
                </a:lnTo>
                <a:lnTo>
                  <a:pt x="643890" y="718566"/>
                </a:lnTo>
                <a:lnTo>
                  <a:pt x="634618" y="723519"/>
                </a:lnTo>
                <a:lnTo>
                  <a:pt x="619759" y="726949"/>
                </a:lnTo>
                <a:lnTo>
                  <a:pt x="610489" y="735457"/>
                </a:lnTo>
                <a:lnTo>
                  <a:pt x="601344" y="743840"/>
                </a:lnTo>
                <a:lnTo>
                  <a:pt x="579119" y="752349"/>
                </a:lnTo>
                <a:lnTo>
                  <a:pt x="564260" y="760731"/>
                </a:lnTo>
                <a:lnTo>
                  <a:pt x="542035" y="769240"/>
                </a:lnTo>
                <a:lnTo>
                  <a:pt x="529081" y="774319"/>
                </a:lnTo>
                <a:lnTo>
                  <a:pt x="505079" y="782701"/>
                </a:lnTo>
                <a:lnTo>
                  <a:pt x="492125" y="786131"/>
                </a:lnTo>
                <a:lnTo>
                  <a:pt x="464439" y="791210"/>
                </a:lnTo>
                <a:lnTo>
                  <a:pt x="449580" y="794640"/>
                </a:lnTo>
                <a:lnTo>
                  <a:pt x="421767" y="799593"/>
                </a:lnTo>
                <a:lnTo>
                  <a:pt x="408813" y="803022"/>
                </a:lnTo>
                <a:lnTo>
                  <a:pt x="377443" y="808101"/>
                </a:lnTo>
                <a:lnTo>
                  <a:pt x="362584" y="808101"/>
                </a:lnTo>
                <a:lnTo>
                  <a:pt x="334898" y="808101"/>
                </a:lnTo>
                <a:lnTo>
                  <a:pt x="321944" y="808101"/>
                </a:lnTo>
                <a:lnTo>
                  <a:pt x="288670" y="808101"/>
                </a:lnTo>
                <a:lnTo>
                  <a:pt x="275717" y="808101"/>
                </a:lnTo>
                <a:lnTo>
                  <a:pt x="247904" y="808101"/>
                </a:lnTo>
                <a:lnTo>
                  <a:pt x="233171" y="808101"/>
                </a:lnTo>
                <a:lnTo>
                  <a:pt x="205358" y="803022"/>
                </a:lnTo>
                <a:lnTo>
                  <a:pt x="192405" y="799593"/>
                </a:lnTo>
                <a:lnTo>
                  <a:pt x="164718" y="794640"/>
                </a:lnTo>
                <a:lnTo>
                  <a:pt x="151765" y="791210"/>
                </a:lnTo>
                <a:lnTo>
                  <a:pt x="127634" y="786131"/>
                </a:lnTo>
                <a:lnTo>
                  <a:pt x="114681" y="782701"/>
                </a:lnTo>
                <a:lnTo>
                  <a:pt x="86994" y="774319"/>
                </a:lnTo>
                <a:lnTo>
                  <a:pt x="77723" y="769240"/>
                </a:lnTo>
                <a:lnTo>
                  <a:pt x="53593" y="760731"/>
                </a:lnTo>
                <a:lnTo>
                  <a:pt x="40640" y="752349"/>
                </a:lnTo>
                <a:lnTo>
                  <a:pt x="22225" y="743840"/>
                </a:lnTo>
                <a:lnTo>
                  <a:pt x="12954" y="735457"/>
                </a:lnTo>
                <a:lnTo>
                  <a:pt x="0" y="726949"/>
                </a:lnTo>
                <a:lnTo>
                  <a:pt x="0" y="0"/>
                </a:lnTo>
                <a:close/>
                <a:moveTo>
                  <a:pt x="-3487674" y="3633851"/>
                </a:moveTo>
              </a:path>
            </a:pathLst>
          </a:custGeom>
          <a:solidFill>
            <a:srgbClr val="90909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pic>
        <p:nvPicPr>
          <p:cNvPr id="416" name="Picture 41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0731852" y="4715312"/>
            <a:ext cx="1902522" cy="1247775"/>
          </a:xfrm>
          <a:prstGeom prst="rect">
            <a:avLst/>
          </a:prstGeom>
          <a:noFill/>
        </p:spPr>
      </p:pic>
      <p:sp>
        <p:nvSpPr>
          <p:cNvPr id="417" name="Freeform 417"/>
          <p:cNvSpPr/>
          <p:nvPr/>
        </p:nvSpPr>
        <p:spPr>
          <a:xfrm>
            <a:off x="10750902" y="4734362"/>
            <a:ext cx="1864424" cy="1209675"/>
          </a:xfrm>
          <a:custGeom>
            <a:avLst/>
            <a:gdLst/>
            <a:ahLst/>
            <a:cxnLst/>
            <a:rect l="0" t="0" r="0" b="0"/>
            <a:pathLst>
              <a:path w="1242949" h="806450">
                <a:moveTo>
                  <a:pt x="0" y="0"/>
                </a:moveTo>
                <a:lnTo>
                  <a:pt x="1242949" y="0"/>
                </a:lnTo>
                <a:lnTo>
                  <a:pt x="1242949" y="726949"/>
                </a:lnTo>
                <a:lnTo>
                  <a:pt x="1233678" y="721868"/>
                </a:lnTo>
                <a:lnTo>
                  <a:pt x="1224406" y="718567"/>
                </a:lnTo>
                <a:lnTo>
                  <a:pt x="1207769" y="706755"/>
                </a:lnTo>
                <a:lnTo>
                  <a:pt x="1198499" y="701675"/>
                </a:lnTo>
                <a:lnTo>
                  <a:pt x="1174368" y="693167"/>
                </a:lnTo>
                <a:lnTo>
                  <a:pt x="1161415" y="689737"/>
                </a:lnTo>
                <a:lnTo>
                  <a:pt x="1133602" y="681355"/>
                </a:lnTo>
                <a:lnTo>
                  <a:pt x="1118869" y="676275"/>
                </a:lnTo>
                <a:lnTo>
                  <a:pt x="1096644" y="672846"/>
                </a:lnTo>
                <a:lnTo>
                  <a:pt x="1081785" y="667767"/>
                </a:lnTo>
                <a:lnTo>
                  <a:pt x="1053972" y="664465"/>
                </a:lnTo>
                <a:lnTo>
                  <a:pt x="1041018" y="664465"/>
                </a:lnTo>
                <a:lnTo>
                  <a:pt x="1013205" y="659384"/>
                </a:lnTo>
                <a:lnTo>
                  <a:pt x="1000252" y="659384"/>
                </a:lnTo>
                <a:lnTo>
                  <a:pt x="972439" y="655955"/>
                </a:lnTo>
                <a:lnTo>
                  <a:pt x="957706" y="655955"/>
                </a:lnTo>
                <a:lnTo>
                  <a:pt x="926210" y="655955"/>
                </a:lnTo>
                <a:lnTo>
                  <a:pt x="911352" y="655955"/>
                </a:lnTo>
                <a:lnTo>
                  <a:pt x="883539" y="659384"/>
                </a:lnTo>
                <a:lnTo>
                  <a:pt x="870584" y="659384"/>
                </a:lnTo>
                <a:lnTo>
                  <a:pt x="842771" y="664465"/>
                </a:lnTo>
                <a:lnTo>
                  <a:pt x="824230" y="664465"/>
                </a:lnTo>
                <a:lnTo>
                  <a:pt x="796543" y="667767"/>
                </a:lnTo>
                <a:lnTo>
                  <a:pt x="783590" y="672846"/>
                </a:lnTo>
                <a:lnTo>
                  <a:pt x="755777" y="676275"/>
                </a:lnTo>
                <a:lnTo>
                  <a:pt x="740917" y="681355"/>
                </a:lnTo>
                <a:lnTo>
                  <a:pt x="713105" y="689737"/>
                </a:lnTo>
                <a:lnTo>
                  <a:pt x="703833" y="693167"/>
                </a:lnTo>
                <a:lnTo>
                  <a:pt x="681608" y="701675"/>
                </a:lnTo>
                <a:lnTo>
                  <a:pt x="668655" y="706755"/>
                </a:lnTo>
                <a:lnTo>
                  <a:pt x="644652" y="718567"/>
                </a:lnTo>
                <a:lnTo>
                  <a:pt x="635380" y="721868"/>
                </a:lnTo>
                <a:lnTo>
                  <a:pt x="622427" y="726949"/>
                </a:lnTo>
                <a:lnTo>
                  <a:pt x="613155" y="735458"/>
                </a:lnTo>
                <a:lnTo>
                  <a:pt x="603884" y="743840"/>
                </a:lnTo>
                <a:lnTo>
                  <a:pt x="579755" y="752349"/>
                </a:lnTo>
                <a:lnTo>
                  <a:pt x="566801" y="760858"/>
                </a:lnTo>
                <a:lnTo>
                  <a:pt x="542670" y="769240"/>
                </a:lnTo>
                <a:lnTo>
                  <a:pt x="529717" y="772668"/>
                </a:lnTo>
                <a:lnTo>
                  <a:pt x="505714" y="781050"/>
                </a:lnTo>
                <a:lnTo>
                  <a:pt x="492632" y="786130"/>
                </a:lnTo>
                <a:lnTo>
                  <a:pt x="464946" y="789559"/>
                </a:lnTo>
                <a:lnTo>
                  <a:pt x="451992" y="794640"/>
                </a:lnTo>
                <a:lnTo>
                  <a:pt x="424180" y="797942"/>
                </a:lnTo>
                <a:lnTo>
                  <a:pt x="409320" y="803021"/>
                </a:lnTo>
                <a:lnTo>
                  <a:pt x="377825" y="806450"/>
                </a:lnTo>
                <a:lnTo>
                  <a:pt x="362966" y="806450"/>
                </a:lnTo>
                <a:lnTo>
                  <a:pt x="335280" y="806450"/>
                </a:lnTo>
                <a:lnTo>
                  <a:pt x="322326" y="806450"/>
                </a:lnTo>
                <a:lnTo>
                  <a:pt x="290830" y="806450"/>
                </a:lnTo>
                <a:lnTo>
                  <a:pt x="275970" y="806450"/>
                </a:lnTo>
                <a:lnTo>
                  <a:pt x="248157" y="806450"/>
                </a:lnTo>
                <a:lnTo>
                  <a:pt x="235204" y="806450"/>
                </a:lnTo>
                <a:lnTo>
                  <a:pt x="207391" y="803021"/>
                </a:lnTo>
                <a:lnTo>
                  <a:pt x="192531" y="797942"/>
                </a:lnTo>
                <a:lnTo>
                  <a:pt x="164845" y="794640"/>
                </a:lnTo>
                <a:lnTo>
                  <a:pt x="151892" y="789559"/>
                </a:lnTo>
                <a:lnTo>
                  <a:pt x="129667" y="786130"/>
                </a:lnTo>
                <a:lnTo>
                  <a:pt x="114807" y="781050"/>
                </a:lnTo>
                <a:lnTo>
                  <a:pt x="86994" y="772668"/>
                </a:lnTo>
                <a:lnTo>
                  <a:pt x="77724" y="769240"/>
                </a:lnTo>
                <a:lnTo>
                  <a:pt x="55499" y="760858"/>
                </a:lnTo>
                <a:lnTo>
                  <a:pt x="40640" y="752349"/>
                </a:lnTo>
                <a:lnTo>
                  <a:pt x="22225" y="743840"/>
                </a:lnTo>
                <a:lnTo>
                  <a:pt x="12954" y="735458"/>
                </a:lnTo>
                <a:lnTo>
                  <a:pt x="0" y="726949"/>
                </a:lnTo>
                <a:lnTo>
                  <a:pt x="0" y="0"/>
                </a:lnTo>
                <a:close/>
                <a:moveTo>
                  <a:pt x="-3494151" y="3695700"/>
                </a:moveTo>
              </a:path>
            </a:pathLst>
          </a:custGeom>
          <a:noFill/>
          <a:ln w="27051" cap="flat" cmpd="sng">
            <a:solidFill>
              <a:srgbClr val="FFCC99">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18" name="Freeform 418"/>
          <p:cNvSpPr/>
          <p:nvPr/>
        </p:nvSpPr>
        <p:spPr>
          <a:xfrm>
            <a:off x="1201993" y="7913332"/>
            <a:ext cx="5114925" cy="1002506"/>
          </a:xfrm>
          <a:custGeom>
            <a:avLst/>
            <a:gdLst/>
            <a:ahLst/>
            <a:cxnLst/>
            <a:rect l="0" t="0" r="0" b="0"/>
            <a:pathLst>
              <a:path w="3409950" h="668337">
                <a:moveTo>
                  <a:pt x="0" y="668337"/>
                </a:moveTo>
                <a:lnTo>
                  <a:pt x="3409950" y="668337"/>
                </a:lnTo>
                <a:lnTo>
                  <a:pt x="3409950" y="0"/>
                </a:lnTo>
                <a:lnTo>
                  <a:pt x="0" y="0"/>
                </a:lnTo>
                <a:lnTo>
                  <a:pt x="0" y="668337"/>
                </a:lnTo>
                <a:close/>
              </a:path>
            </a:pathLst>
          </a:custGeom>
          <a:solidFill>
            <a:srgbClr val="90909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pic>
        <p:nvPicPr>
          <p:cNvPr id="419" name="Picture 41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285338" y="7808557"/>
            <a:ext cx="5245989" cy="1040606"/>
          </a:xfrm>
          <a:prstGeom prst="rect">
            <a:avLst/>
          </a:prstGeom>
          <a:noFill/>
        </p:spPr>
      </p:pic>
      <p:sp>
        <p:nvSpPr>
          <p:cNvPr id="420" name="Freeform 420"/>
          <p:cNvSpPr/>
          <p:nvPr/>
        </p:nvSpPr>
        <p:spPr>
          <a:xfrm>
            <a:off x="1304388" y="7827607"/>
            <a:ext cx="5207889" cy="1002506"/>
          </a:xfrm>
          <a:custGeom>
            <a:avLst/>
            <a:gdLst/>
            <a:ahLst/>
            <a:cxnLst/>
            <a:rect l="0" t="0" r="0" b="0"/>
            <a:pathLst>
              <a:path w="3471926" h="668337">
                <a:moveTo>
                  <a:pt x="0" y="668337"/>
                </a:moveTo>
                <a:lnTo>
                  <a:pt x="3471926" y="668337"/>
                </a:lnTo>
                <a:lnTo>
                  <a:pt x="3471926" y="0"/>
                </a:lnTo>
                <a:lnTo>
                  <a:pt x="0" y="0"/>
                </a:lnTo>
                <a:lnTo>
                  <a:pt x="0" y="668337"/>
                </a:lnTo>
                <a:close/>
              </a:path>
            </a:pathLst>
          </a:custGeom>
          <a:noFill/>
          <a:ln w="27051" cap="flat" cmpd="sng">
            <a:solidFill>
              <a:srgbClr val="CCFFC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21" name="Freeform 421"/>
          <p:cNvSpPr/>
          <p:nvPr/>
        </p:nvSpPr>
        <p:spPr>
          <a:xfrm>
            <a:off x="9831739" y="5032115"/>
            <a:ext cx="821436" cy="368997"/>
          </a:xfrm>
          <a:custGeom>
            <a:avLst/>
            <a:gdLst/>
            <a:ahLst/>
            <a:cxnLst/>
            <a:rect l="0" t="0" r="0" b="0"/>
            <a:pathLst>
              <a:path w="547624" h="245998">
                <a:moveTo>
                  <a:pt x="0" y="57277"/>
                </a:moveTo>
                <a:lnTo>
                  <a:pt x="414401" y="57277"/>
                </a:lnTo>
                <a:lnTo>
                  <a:pt x="414401" y="0"/>
                </a:lnTo>
                <a:lnTo>
                  <a:pt x="547624" y="121284"/>
                </a:lnTo>
                <a:lnTo>
                  <a:pt x="414401" y="245998"/>
                </a:lnTo>
                <a:lnTo>
                  <a:pt x="414401" y="188721"/>
                </a:lnTo>
                <a:lnTo>
                  <a:pt x="0" y="188721"/>
                </a:lnTo>
                <a:lnTo>
                  <a:pt x="0" y="57277"/>
                </a:lnTo>
                <a:close/>
                <a:moveTo>
                  <a:pt x="-3137155" y="3497198"/>
                </a:moveTo>
              </a:path>
            </a:pathLst>
          </a:custGeom>
          <a:solidFill>
            <a:srgbClr val="99330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22" name="Freeform 422"/>
          <p:cNvSpPr/>
          <p:nvPr/>
        </p:nvSpPr>
        <p:spPr>
          <a:xfrm>
            <a:off x="9831739" y="5032115"/>
            <a:ext cx="821436" cy="368997"/>
          </a:xfrm>
          <a:custGeom>
            <a:avLst/>
            <a:gdLst/>
            <a:ahLst/>
            <a:cxnLst/>
            <a:rect l="0" t="0" r="0" b="0"/>
            <a:pathLst>
              <a:path w="547624" h="245998">
                <a:moveTo>
                  <a:pt x="0" y="57277"/>
                </a:moveTo>
                <a:lnTo>
                  <a:pt x="414401" y="57277"/>
                </a:lnTo>
                <a:lnTo>
                  <a:pt x="414401" y="0"/>
                </a:lnTo>
                <a:lnTo>
                  <a:pt x="547624" y="121284"/>
                </a:lnTo>
                <a:lnTo>
                  <a:pt x="414401" y="245998"/>
                </a:lnTo>
                <a:lnTo>
                  <a:pt x="414401" y="188721"/>
                </a:lnTo>
                <a:lnTo>
                  <a:pt x="0" y="188721"/>
                </a:lnTo>
                <a:lnTo>
                  <a:pt x="0" y="57277"/>
                </a:lnTo>
                <a:close/>
                <a:moveTo>
                  <a:pt x="-3137155" y="3497198"/>
                </a:moveTo>
              </a:path>
            </a:pathLst>
          </a:custGeom>
          <a:noFill/>
          <a:ln w="27051" cap="flat" cmpd="sng">
            <a:solidFill>
              <a:srgbClr val="9933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23" name="Freeform 423"/>
          <p:cNvSpPr/>
          <p:nvPr/>
        </p:nvSpPr>
        <p:spPr>
          <a:xfrm>
            <a:off x="6824126" y="2038787"/>
            <a:ext cx="2477" cy="6858000"/>
          </a:xfrm>
          <a:custGeom>
            <a:avLst/>
            <a:gdLst/>
            <a:ahLst/>
            <a:cxnLst/>
            <a:rect l="0" t="0" r="0" b="0"/>
            <a:pathLst>
              <a:path w="1651" h="4572000">
                <a:moveTo>
                  <a:pt x="0" y="0"/>
                </a:moveTo>
                <a:lnTo>
                  <a:pt x="1651" y="4572000"/>
                </a:lnTo>
              </a:path>
            </a:pathLst>
          </a:custGeom>
          <a:noFill/>
          <a:ln w="25400" cap="flat" cmpd="sng">
            <a:solidFill>
              <a:srgbClr val="000000">
                <a:alpha val="100000"/>
              </a:srgbClr>
            </a:solidFill>
            <a:custDash>
              <a:ds d="100000" sp="100000"/>
            </a:custDash>
            <a:round/>
          </a:ln>
        </p:spPr>
        <p:style>
          <a:lnRef idx="2">
            <a:schemeClr val="accent1">
              <a:shade val="50000"/>
            </a:schemeClr>
          </a:lnRef>
          <a:fillRef idx="1">
            <a:schemeClr val="accent1"/>
          </a:fillRef>
          <a:effectRef idx="0">
            <a:schemeClr val="accent1"/>
          </a:effectRef>
          <a:fontRef idx="minor">
            <a:schemeClr val="lt1"/>
          </a:fontRef>
        </p:style>
      </p:sp>
      <p:sp>
        <p:nvSpPr>
          <p:cNvPr id="424" name="Freeform 424"/>
          <p:cNvSpPr/>
          <p:nvPr/>
        </p:nvSpPr>
        <p:spPr>
          <a:xfrm>
            <a:off x="1113888" y="7468037"/>
            <a:ext cx="985838" cy="247650"/>
          </a:xfrm>
          <a:custGeom>
            <a:avLst/>
            <a:gdLst/>
            <a:ahLst/>
            <a:cxnLst/>
            <a:rect l="0" t="0" r="0" b="0"/>
            <a:pathLst>
              <a:path w="657225" h="165100">
                <a:moveTo>
                  <a:pt x="657225" y="37465"/>
                </a:moveTo>
                <a:lnTo>
                  <a:pt x="88620" y="37465"/>
                </a:lnTo>
                <a:lnTo>
                  <a:pt x="88620" y="0"/>
                </a:lnTo>
                <a:lnTo>
                  <a:pt x="0" y="80011"/>
                </a:lnTo>
                <a:lnTo>
                  <a:pt x="88620" y="165100"/>
                </a:lnTo>
                <a:lnTo>
                  <a:pt x="88620" y="127636"/>
                </a:lnTo>
                <a:lnTo>
                  <a:pt x="657225" y="127636"/>
                </a:lnTo>
                <a:lnTo>
                  <a:pt x="657225" y="37465"/>
                </a:lnTo>
                <a:close/>
                <a:moveTo>
                  <a:pt x="1070610" y="1873250"/>
                </a:moveTo>
              </a:path>
            </a:pathLst>
          </a:custGeom>
          <a:solidFill>
            <a:srgbClr val="00330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25" name="Freeform 425"/>
          <p:cNvSpPr/>
          <p:nvPr/>
        </p:nvSpPr>
        <p:spPr>
          <a:xfrm>
            <a:off x="1113888" y="7468037"/>
            <a:ext cx="985838" cy="247650"/>
          </a:xfrm>
          <a:custGeom>
            <a:avLst/>
            <a:gdLst/>
            <a:ahLst/>
            <a:cxnLst/>
            <a:rect l="0" t="0" r="0" b="0"/>
            <a:pathLst>
              <a:path w="657225" h="165100">
                <a:moveTo>
                  <a:pt x="657225" y="37465"/>
                </a:moveTo>
                <a:lnTo>
                  <a:pt x="88620" y="37465"/>
                </a:lnTo>
                <a:lnTo>
                  <a:pt x="88620" y="0"/>
                </a:lnTo>
                <a:lnTo>
                  <a:pt x="0" y="80011"/>
                </a:lnTo>
                <a:lnTo>
                  <a:pt x="88620" y="165100"/>
                </a:lnTo>
                <a:lnTo>
                  <a:pt x="88620" y="127636"/>
                </a:lnTo>
                <a:lnTo>
                  <a:pt x="657225" y="127636"/>
                </a:lnTo>
                <a:lnTo>
                  <a:pt x="657225" y="37465"/>
                </a:lnTo>
                <a:close/>
                <a:moveTo>
                  <a:pt x="1070610" y="1873250"/>
                </a:moveTo>
              </a:path>
            </a:pathLst>
          </a:custGeom>
          <a:noFill/>
          <a:ln w="27051" cap="flat" cmpd="sng">
            <a:solidFill>
              <a:srgbClr val="0033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26" name="Freeform 426"/>
          <p:cNvSpPr/>
          <p:nvPr/>
        </p:nvSpPr>
        <p:spPr>
          <a:xfrm>
            <a:off x="1721106" y="7468037"/>
            <a:ext cx="4886421" cy="247650"/>
          </a:xfrm>
          <a:custGeom>
            <a:avLst/>
            <a:gdLst/>
            <a:ahLst/>
            <a:cxnLst/>
            <a:rect l="0" t="0" r="0" b="0"/>
            <a:pathLst>
              <a:path w="3257614" h="165100">
                <a:moveTo>
                  <a:pt x="0" y="37465"/>
                </a:moveTo>
                <a:lnTo>
                  <a:pt x="3142933" y="37465"/>
                </a:lnTo>
                <a:lnTo>
                  <a:pt x="3142933" y="0"/>
                </a:lnTo>
                <a:lnTo>
                  <a:pt x="3257614" y="80011"/>
                </a:lnTo>
                <a:lnTo>
                  <a:pt x="3142933" y="165100"/>
                </a:lnTo>
                <a:lnTo>
                  <a:pt x="3142933" y="127636"/>
                </a:lnTo>
                <a:lnTo>
                  <a:pt x="0" y="127636"/>
                </a:lnTo>
                <a:lnTo>
                  <a:pt x="0" y="37465"/>
                </a:lnTo>
                <a:close/>
                <a:moveTo>
                  <a:pt x="665798" y="1873250"/>
                </a:moveTo>
              </a:path>
            </a:pathLst>
          </a:custGeom>
          <a:solidFill>
            <a:srgbClr val="003300">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27" name="Freeform 427"/>
          <p:cNvSpPr/>
          <p:nvPr/>
        </p:nvSpPr>
        <p:spPr>
          <a:xfrm>
            <a:off x="1721106" y="7468037"/>
            <a:ext cx="4886421" cy="247650"/>
          </a:xfrm>
          <a:custGeom>
            <a:avLst/>
            <a:gdLst/>
            <a:ahLst/>
            <a:cxnLst/>
            <a:rect l="0" t="0" r="0" b="0"/>
            <a:pathLst>
              <a:path w="3257614" h="165100">
                <a:moveTo>
                  <a:pt x="0" y="37465"/>
                </a:moveTo>
                <a:lnTo>
                  <a:pt x="3142933" y="37465"/>
                </a:lnTo>
                <a:lnTo>
                  <a:pt x="3142933" y="0"/>
                </a:lnTo>
                <a:lnTo>
                  <a:pt x="3257614" y="80011"/>
                </a:lnTo>
                <a:lnTo>
                  <a:pt x="3142933" y="165100"/>
                </a:lnTo>
                <a:lnTo>
                  <a:pt x="3142933" y="127636"/>
                </a:lnTo>
                <a:lnTo>
                  <a:pt x="0" y="127636"/>
                </a:lnTo>
                <a:lnTo>
                  <a:pt x="0" y="37465"/>
                </a:lnTo>
                <a:close/>
                <a:moveTo>
                  <a:pt x="665798" y="1873250"/>
                </a:moveTo>
              </a:path>
            </a:pathLst>
          </a:custGeom>
          <a:noFill/>
          <a:ln w="27051" cap="flat" cmpd="sng">
            <a:solidFill>
              <a:srgbClr val="0033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28" name="Freeform 428"/>
          <p:cNvSpPr/>
          <p:nvPr/>
        </p:nvSpPr>
        <p:spPr>
          <a:xfrm>
            <a:off x="7471825" y="4651115"/>
            <a:ext cx="2359914" cy="1704975"/>
          </a:xfrm>
          <a:custGeom>
            <a:avLst/>
            <a:gdLst/>
            <a:ahLst/>
            <a:cxnLst/>
            <a:rect l="0" t="0" r="0" b="0"/>
            <a:pathLst>
              <a:path w="1573276" h="1136650">
                <a:moveTo>
                  <a:pt x="0" y="1003426"/>
                </a:moveTo>
                <a:cubicBezTo>
                  <a:pt x="677164" y="1136650"/>
                  <a:pt x="677164" y="870203"/>
                  <a:pt x="1354328" y="870203"/>
                </a:cubicBezTo>
                <a:lnTo>
                  <a:pt x="1354328" y="177419"/>
                </a:lnTo>
                <a:lnTo>
                  <a:pt x="0" y="177419"/>
                </a:lnTo>
                <a:close/>
                <a:moveTo>
                  <a:pt x="-2256028" y="3751198"/>
                </a:moveTo>
                <a:moveTo>
                  <a:pt x="111633" y="177419"/>
                </a:moveTo>
                <a:lnTo>
                  <a:pt x="111633" y="87629"/>
                </a:lnTo>
                <a:lnTo>
                  <a:pt x="1456690" y="87629"/>
                </a:lnTo>
                <a:lnTo>
                  <a:pt x="1456690" y="784732"/>
                </a:lnTo>
                <a:cubicBezTo>
                  <a:pt x="1405509" y="784732"/>
                  <a:pt x="1354328" y="789559"/>
                  <a:pt x="1354328" y="789559"/>
                </a:cubicBezTo>
                <a:lnTo>
                  <a:pt x="1354328" y="177419"/>
                </a:lnTo>
                <a:close/>
                <a:moveTo>
                  <a:pt x="-1430021" y="3751198"/>
                </a:moveTo>
                <a:moveTo>
                  <a:pt x="216408" y="87629"/>
                </a:moveTo>
                <a:lnTo>
                  <a:pt x="216408" y="0"/>
                </a:lnTo>
                <a:lnTo>
                  <a:pt x="1573276" y="0"/>
                </a:lnTo>
                <a:lnTo>
                  <a:pt x="1573276" y="694816"/>
                </a:lnTo>
                <a:cubicBezTo>
                  <a:pt x="1514982" y="694816"/>
                  <a:pt x="1456690" y="698500"/>
                  <a:pt x="1456690" y="698500"/>
                </a:cubicBezTo>
                <a:lnTo>
                  <a:pt x="1456690" y="87629"/>
                </a:lnTo>
                <a:close/>
                <a:moveTo>
                  <a:pt x="-1340231" y="3751198"/>
                </a:moveTo>
              </a:path>
            </a:pathLst>
          </a:custGeom>
          <a:solidFill>
            <a:srgbClr val="FFCC66">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29" name="Freeform 429"/>
          <p:cNvSpPr/>
          <p:nvPr/>
        </p:nvSpPr>
        <p:spPr>
          <a:xfrm>
            <a:off x="7471825" y="4651115"/>
            <a:ext cx="2359914" cy="1704975"/>
          </a:xfrm>
          <a:custGeom>
            <a:avLst/>
            <a:gdLst/>
            <a:ahLst/>
            <a:cxnLst/>
            <a:rect l="0" t="0" r="0" b="0"/>
            <a:pathLst>
              <a:path w="1573276" h="1136650">
                <a:moveTo>
                  <a:pt x="0" y="177419"/>
                </a:moveTo>
                <a:lnTo>
                  <a:pt x="1354328" y="177419"/>
                </a:lnTo>
                <a:lnTo>
                  <a:pt x="1354328" y="870203"/>
                </a:lnTo>
                <a:cubicBezTo>
                  <a:pt x="677164" y="870203"/>
                  <a:pt x="677164" y="1136650"/>
                  <a:pt x="0" y="1003426"/>
                </a:cubicBezTo>
                <a:close/>
                <a:moveTo>
                  <a:pt x="-1430021" y="3751198"/>
                </a:moveTo>
                <a:moveTo>
                  <a:pt x="111633" y="177419"/>
                </a:moveTo>
                <a:lnTo>
                  <a:pt x="111633" y="87629"/>
                </a:lnTo>
                <a:lnTo>
                  <a:pt x="1456690" y="87629"/>
                </a:lnTo>
                <a:lnTo>
                  <a:pt x="1456690" y="784732"/>
                </a:lnTo>
                <a:cubicBezTo>
                  <a:pt x="1405509" y="784732"/>
                  <a:pt x="1354328" y="789559"/>
                  <a:pt x="1354328" y="789559"/>
                </a:cubicBezTo>
                <a:moveTo>
                  <a:pt x="216408" y="87629"/>
                </a:moveTo>
                <a:lnTo>
                  <a:pt x="216408" y="0"/>
                </a:lnTo>
                <a:lnTo>
                  <a:pt x="1573276" y="0"/>
                </a:lnTo>
                <a:lnTo>
                  <a:pt x="1573276" y="694816"/>
                </a:lnTo>
                <a:cubicBezTo>
                  <a:pt x="1514982" y="694816"/>
                  <a:pt x="1456690" y="698500"/>
                  <a:pt x="1456690" y="698500"/>
                </a:cubicBezTo>
              </a:path>
            </a:pathLst>
          </a:custGeom>
          <a:noFill/>
          <a:ln w="952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30" name="Freeform 430"/>
          <p:cNvSpPr/>
          <p:nvPr/>
        </p:nvSpPr>
        <p:spPr>
          <a:xfrm>
            <a:off x="8414800" y="3948550"/>
            <a:ext cx="569214" cy="554736"/>
          </a:xfrm>
          <a:custGeom>
            <a:avLst/>
            <a:gdLst/>
            <a:ahLst/>
            <a:cxnLst/>
            <a:rect l="0" t="0" r="0" b="0"/>
            <a:pathLst>
              <a:path w="379476" h="369824">
                <a:moveTo>
                  <a:pt x="0" y="272670"/>
                </a:moveTo>
                <a:lnTo>
                  <a:pt x="94869" y="272670"/>
                </a:lnTo>
                <a:lnTo>
                  <a:pt x="94869" y="0"/>
                </a:lnTo>
                <a:lnTo>
                  <a:pt x="284607" y="0"/>
                </a:lnTo>
                <a:lnTo>
                  <a:pt x="284607" y="272670"/>
                </a:lnTo>
                <a:lnTo>
                  <a:pt x="379476" y="272670"/>
                </a:lnTo>
                <a:lnTo>
                  <a:pt x="189738" y="369824"/>
                </a:lnTo>
                <a:close/>
                <a:moveTo>
                  <a:pt x="-1685545" y="4219575"/>
                </a:moveTo>
              </a:path>
            </a:pathLst>
          </a:custGeom>
          <a:solidFill>
            <a:srgbClr val="C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431" name="Freeform 431"/>
          <p:cNvSpPr/>
          <p:nvPr/>
        </p:nvSpPr>
        <p:spPr>
          <a:xfrm>
            <a:off x="5743038" y="2757925"/>
            <a:ext cx="1647825" cy="1928813"/>
          </a:xfrm>
          <a:custGeom>
            <a:avLst/>
            <a:gdLst/>
            <a:ahLst/>
            <a:cxnLst/>
            <a:rect l="0" t="0" r="0" b="0"/>
            <a:pathLst>
              <a:path w="1098550" h="1285875">
                <a:moveTo>
                  <a:pt x="0" y="642874"/>
                </a:moveTo>
                <a:cubicBezTo>
                  <a:pt x="0" y="287910"/>
                  <a:pt x="245871" y="0"/>
                  <a:pt x="549275" y="0"/>
                </a:cubicBezTo>
                <a:cubicBezTo>
                  <a:pt x="852678" y="0"/>
                  <a:pt x="1098550" y="287910"/>
                  <a:pt x="1098550" y="642874"/>
                </a:cubicBezTo>
                <a:cubicBezTo>
                  <a:pt x="1098550" y="997966"/>
                  <a:pt x="852678" y="1285875"/>
                  <a:pt x="549275" y="1285875"/>
                </a:cubicBezTo>
                <a:cubicBezTo>
                  <a:pt x="245871" y="1285875"/>
                  <a:pt x="0" y="997966"/>
                  <a:pt x="0" y="642874"/>
                </a:cubicBezTo>
                <a:close/>
                <a:moveTo>
                  <a:pt x="519176" y="5013325"/>
                </a:moveTo>
              </a:path>
            </a:pathLst>
          </a:custGeom>
          <a:noFill/>
          <a:ln w="25400" cap="flat" cmpd="sng">
            <a:solidFill>
              <a:srgbClr val="FF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32" name="Freeform 432"/>
          <p:cNvSpPr/>
          <p:nvPr/>
        </p:nvSpPr>
        <p:spPr>
          <a:xfrm>
            <a:off x="9524463" y="4712836"/>
            <a:ext cx="1393127" cy="1071755"/>
          </a:xfrm>
          <a:custGeom>
            <a:avLst/>
            <a:gdLst/>
            <a:ahLst/>
            <a:cxnLst/>
            <a:rect l="0" t="0" r="0" b="0"/>
            <a:pathLst>
              <a:path w="928751" h="714503">
                <a:moveTo>
                  <a:pt x="0" y="357251"/>
                </a:moveTo>
                <a:cubicBezTo>
                  <a:pt x="0" y="160021"/>
                  <a:pt x="207898" y="0"/>
                  <a:pt x="464311" y="0"/>
                </a:cubicBezTo>
                <a:cubicBezTo>
                  <a:pt x="720852" y="0"/>
                  <a:pt x="928751" y="160021"/>
                  <a:pt x="928751" y="357251"/>
                </a:cubicBezTo>
                <a:cubicBezTo>
                  <a:pt x="928751" y="554482"/>
                  <a:pt x="720852" y="714503"/>
                  <a:pt x="464311" y="714503"/>
                </a:cubicBezTo>
                <a:cubicBezTo>
                  <a:pt x="207898" y="714503"/>
                  <a:pt x="0" y="554482"/>
                  <a:pt x="0" y="357251"/>
                </a:cubicBezTo>
                <a:close/>
                <a:moveTo>
                  <a:pt x="-3019425" y="3710051"/>
                </a:moveTo>
              </a:path>
            </a:pathLst>
          </a:custGeom>
          <a:noFill/>
          <a:ln w="25400" cap="flat" cmpd="sng">
            <a:solidFill>
              <a:srgbClr val="FF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33" name="Freeform 433"/>
          <p:cNvSpPr/>
          <p:nvPr/>
        </p:nvSpPr>
        <p:spPr>
          <a:xfrm>
            <a:off x="6931377" y="3846061"/>
            <a:ext cx="964311" cy="857250"/>
          </a:xfrm>
          <a:custGeom>
            <a:avLst/>
            <a:gdLst/>
            <a:ahLst/>
            <a:cxnLst/>
            <a:rect l="0" t="0" r="0" b="0"/>
            <a:pathLst>
              <a:path w="642874" h="571500">
                <a:moveTo>
                  <a:pt x="0" y="0"/>
                </a:moveTo>
                <a:lnTo>
                  <a:pt x="642874" y="0"/>
                </a:lnTo>
                <a:lnTo>
                  <a:pt x="642874" y="476250"/>
                </a:lnTo>
                <a:lnTo>
                  <a:pt x="547624" y="571500"/>
                </a:lnTo>
                <a:lnTo>
                  <a:pt x="0" y="571500"/>
                </a:lnTo>
                <a:close/>
                <a:moveTo>
                  <a:pt x="-355600" y="4287901"/>
                </a:moveTo>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434" name="Freeform 434"/>
          <p:cNvSpPr/>
          <p:nvPr/>
        </p:nvSpPr>
        <p:spPr>
          <a:xfrm>
            <a:off x="7752813" y="4560436"/>
            <a:ext cx="142875" cy="142875"/>
          </a:xfrm>
          <a:custGeom>
            <a:avLst/>
            <a:gdLst/>
            <a:ahLst/>
            <a:cxnLst/>
            <a:rect l="0" t="0" r="0" b="0"/>
            <a:pathLst>
              <a:path w="95250" h="95250">
                <a:moveTo>
                  <a:pt x="0" y="95250"/>
                </a:moveTo>
                <a:lnTo>
                  <a:pt x="19050" y="19050"/>
                </a:lnTo>
                <a:lnTo>
                  <a:pt x="95250" y="0"/>
                </a:lnTo>
                <a:close/>
                <a:moveTo>
                  <a:pt x="-1474724" y="3811651"/>
                </a:moveTo>
              </a:path>
            </a:pathLst>
          </a:custGeom>
          <a:solidFill>
            <a:srgbClr val="CECECE">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435" name="Freeform 435"/>
          <p:cNvSpPr/>
          <p:nvPr/>
        </p:nvSpPr>
        <p:spPr>
          <a:xfrm>
            <a:off x="6931377" y="3846061"/>
            <a:ext cx="964311" cy="857250"/>
          </a:xfrm>
          <a:custGeom>
            <a:avLst/>
            <a:gdLst/>
            <a:ahLst/>
            <a:cxnLst/>
            <a:rect l="0" t="0" r="0" b="0"/>
            <a:pathLst>
              <a:path w="642874" h="571500">
                <a:moveTo>
                  <a:pt x="547624" y="571500"/>
                </a:moveTo>
                <a:lnTo>
                  <a:pt x="566674" y="495300"/>
                </a:lnTo>
                <a:lnTo>
                  <a:pt x="642874" y="476250"/>
                </a:lnTo>
                <a:lnTo>
                  <a:pt x="547624" y="571500"/>
                </a:lnTo>
                <a:lnTo>
                  <a:pt x="0" y="571500"/>
                </a:lnTo>
                <a:lnTo>
                  <a:pt x="0" y="0"/>
                </a:lnTo>
                <a:lnTo>
                  <a:pt x="642874" y="0"/>
                </a:lnTo>
                <a:lnTo>
                  <a:pt x="642874" y="476250"/>
                </a:lnTo>
              </a:path>
            </a:pathLst>
          </a:custGeom>
          <a:noFill/>
          <a:ln w="25400" cap="flat" cmpd="sng">
            <a:solidFill>
              <a:srgbClr val="C0504D">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36" name="Freeform 436"/>
          <p:cNvSpPr/>
          <p:nvPr/>
        </p:nvSpPr>
        <p:spPr>
          <a:xfrm>
            <a:off x="9955565" y="5565516"/>
            <a:ext cx="747713" cy="535685"/>
          </a:xfrm>
          <a:custGeom>
            <a:avLst/>
            <a:gdLst/>
            <a:ahLst/>
            <a:cxnLst/>
            <a:rect l="0" t="0" r="0" b="0"/>
            <a:pathLst>
              <a:path w="498475" h="357123">
                <a:moveTo>
                  <a:pt x="0" y="0"/>
                </a:moveTo>
                <a:lnTo>
                  <a:pt x="498475" y="0"/>
                </a:lnTo>
                <a:lnTo>
                  <a:pt x="498475" y="297560"/>
                </a:lnTo>
                <a:lnTo>
                  <a:pt x="438912" y="357123"/>
                </a:lnTo>
                <a:lnTo>
                  <a:pt x="0" y="357123"/>
                </a:lnTo>
                <a:close/>
                <a:moveTo>
                  <a:pt x="-3518028" y="3141598"/>
                </a:moveTo>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437" name="Freeform 437"/>
          <p:cNvSpPr/>
          <p:nvPr/>
        </p:nvSpPr>
        <p:spPr>
          <a:xfrm>
            <a:off x="10613933" y="6011856"/>
            <a:ext cx="89345" cy="89345"/>
          </a:xfrm>
          <a:custGeom>
            <a:avLst/>
            <a:gdLst/>
            <a:ahLst/>
            <a:cxnLst/>
            <a:rect l="0" t="0" r="0" b="0"/>
            <a:pathLst>
              <a:path w="59563" h="59563">
                <a:moveTo>
                  <a:pt x="0" y="59563"/>
                </a:moveTo>
                <a:lnTo>
                  <a:pt x="11810" y="11938"/>
                </a:lnTo>
                <a:lnTo>
                  <a:pt x="59563" y="0"/>
                </a:lnTo>
                <a:close/>
                <a:moveTo>
                  <a:pt x="-4314063" y="2844038"/>
                </a:moveTo>
              </a:path>
            </a:pathLst>
          </a:custGeom>
          <a:solidFill>
            <a:srgbClr val="CECECE">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438" name="Freeform 438"/>
          <p:cNvSpPr/>
          <p:nvPr/>
        </p:nvSpPr>
        <p:spPr>
          <a:xfrm>
            <a:off x="9955565" y="5565516"/>
            <a:ext cx="747713" cy="535685"/>
          </a:xfrm>
          <a:custGeom>
            <a:avLst/>
            <a:gdLst/>
            <a:ahLst/>
            <a:cxnLst/>
            <a:rect l="0" t="0" r="0" b="0"/>
            <a:pathLst>
              <a:path w="498475" h="357123">
                <a:moveTo>
                  <a:pt x="438912" y="357123"/>
                </a:moveTo>
                <a:lnTo>
                  <a:pt x="450722" y="309498"/>
                </a:lnTo>
                <a:lnTo>
                  <a:pt x="498475" y="297560"/>
                </a:lnTo>
                <a:lnTo>
                  <a:pt x="438912" y="357123"/>
                </a:lnTo>
                <a:lnTo>
                  <a:pt x="0" y="357123"/>
                </a:lnTo>
                <a:lnTo>
                  <a:pt x="0" y="0"/>
                </a:lnTo>
                <a:lnTo>
                  <a:pt x="498475" y="0"/>
                </a:lnTo>
                <a:lnTo>
                  <a:pt x="498475" y="297560"/>
                </a:lnTo>
              </a:path>
            </a:pathLst>
          </a:custGeom>
          <a:noFill/>
          <a:ln w="25400" cap="flat" cmpd="sng">
            <a:solidFill>
              <a:srgbClr val="C0504D">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439" name="Picture 43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556926" y="3000812"/>
            <a:ext cx="1983677" cy="1066800"/>
          </a:xfrm>
          <a:prstGeom prst="rect">
            <a:avLst/>
          </a:prstGeom>
          <a:noFill/>
        </p:spPr>
      </p:pic>
      <p:sp>
        <p:nvSpPr>
          <p:cNvPr id="440" name="Freeform 440"/>
          <p:cNvSpPr/>
          <p:nvPr/>
        </p:nvSpPr>
        <p:spPr>
          <a:xfrm>
            <a:off x="2575975" y="3019862"/>
            <a:ext cx="1945575" cy="1028700"/>
          </a:xfrm>
          <a:custGeom>
            <a:avLst/>
            <a:gdLst/>
            <a:ahLst/>
            <a:cxnLst/>
            <a:rect l="0" t="0" r="0" b="0"/>
            <a:pathLst>
              <a:path w="1297050" h="685800">
                <a:moveTo>
                  <a:pt x="0" y="685800"/>
                </a:moveTo>
                <a:lnTo>
                  <a:pt x="1297050" y="685800"/>
                </a:lnTo>
                <a:lnTo>
                  <a:pt x="1297050" y="0"/>
                </a:lnTo>
                <a:lnTo>
                  <a:pt x="0" y="0"/>
                </a:lnTo>
                <a:lnTo>
                  <a:pt x="0" y="685800"/>
                </a:lnTo>
                <a:close/>
              </a:path>
            </a:pathLst>
          </a:custGeom>
          <a:noFill/>
          <a:ln w="27051" cap="flat" cmpd="sng">
            <a:solidFill>
              <a:srgbClr val="FFCC99">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41" name="Freeform 441"/>
          <p:cNvSpPr/>
          <p:nvPr/>
        </p:nvSpPr>
        <p:spPr>
          <a:xfrm>
            <a:off x="6374355" y="2110225"/>
            <a:ext cx="2628327" cy="538163"/>
          </a:xfrm>
          <a:custGeom>
            <a:avLst/>
            <a:gdLst/>
            <a:ahLst/>
            <a:cxnLst/>
            <a:rect l="0" t="0" r="0" b="0"/>
            <a:pathLst>
              <a:path w="1752218" h="358775">
                <a:moveTo>
                  <a:pt x="1238376" y="358775"/>
                </a:moveTo>
                <a:lnTo>
                  <a:pt x="603504" y="239141"/>
                </a:lnTo>
                <a:lnTo>
                  <a:pt x="998474" y="239141"/>
                </a:lnTo>
                <a:cubicBezTo>
                  <a:pt x="848868" y="95885"/>
                  <a:pt x="448818" y="0"/>
                  <a:pt x="0" y="0"/>
                </a:cubicBezTo>
                <a:lnTo>
                  <a:pt x="358775" y="0"/>
                </a:lnTo>
                <a:cubicBezTo>
                  <a:pt x="807593" y="0"/>
                  <a:pt x="1207643" y="95885"/>
                  <a:pt x="1357249" y="239141"/>
                </a:cubicBezTo>
                <a:lnTo>
                  <a:pt x="1752218" y="239141"/>
                </a:lnTo>
                <a:close/>
                <a:moveTo>
                  <a:pt x="814197" y="5445125"/>
                </a:moveTo>
              </a:path>
            </a:pathLst>
          </a:custGeom>
          <a:solidFill>
            <a:srgbClr val="FFFFFF">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42" name="Freeform 442"/>
          <p:cNvSpPr/>
          <p:nvPr/>
        </p:nvSpPr>
        <p:spPr>
          <a:xfrm>
            <a:off x="4785776" y="2110225"/>
            <a:ext cx="1857566" cy="538163"/>
          </a:xfrm>
          <a:custGeom>
            <a:avLst/>
            <a:gdLst/>
            <a:ahLst/>
            <a:cxnLst/>
            <a:rect l="0" t="0" r="0" b="0"/>
            <a:pathLst>
              <a:path w="1238377" h="358775">
                <a:moveTo>
                  <a:pt x="1238377" y="5208"/>
                </a:moveTo>
                <a:cubicBezTo>
                  <a:pt x="730250" y="34798"/>
                  <a:pt x="358775" y="184023"/>
                  <a:pt x="358775" y="358775"/>
                </a:cubicBezTo>
                <a:lnTo>
                  <a:pt x="0" y="358775"/>
                </a:lnTo>
                <a:cubicBezTo>
                  <a:pt x="0" y="160655"/>
                  <a:pt x="474090" y="0"/>
                  <a:pt x="1059053" y="0"/>
                </a:cubicBezTo>
                <a:cubicBezTo>
                  <a:pt x="1119123" y="0"/>
                  <a:pt x="1179195" y="1779"/>
                  <a:pt x="1238377" y="5208"/>
                </a:cubicBezTo>
                <a:close/>
                <a:moveTo>
                  <a:pt x="2226817" y="5445125"/>
                </a:moveTo>
              </a:path>
            </a:pathLst>
          </a:custGeom>
          <a:solidFill>
            <a:srgbClr val="CECECE">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43" name="Freeform 443"/>
          <p:cNvSpPr/>
          <p:nvPr/>
        </p:nvSpPr>
        <p:spPr>
          <a:xfrm>
            <a:off x="4785776" y="2110225"/>
            <a:ext cx="4216907" cy="538163"/>
          </a:xfrm>
          <a:custGeom>
            <a:avLst/>
            <a:gdLst/>
            <a:ahLst/>
            <a:cxnLst/>
            <a:rect l="0" t="0" r="0" b="0"/>
            <a:pathLst>
              <a:path w="2811271" h="358775">
                <a:moveTo>
                  <a:pt x="1238377" y="5208"/>
                </a:moveTo>
                <a:cubicBezTo>
                  <a:pt x="730250" y="34798"/>
                  <a:pt x="358775" y="184023"/>
                  <a:pt x="358775" y="358775"/>
                </a:cubicBezTo>
                <a:lnTo>
                  <a:pt x="0" y="358775"/>
                </a:lnTo>
                <a:cubicBezTo>
                  <a:pt x="0" y="160655"/>
                  <a:pt x="474090" y="0"/>
                  <a:pt x="1059053" y="0"/>
                </a:cubicBezTo>
                <a:lnTo>
                  <a:pt x="1417828" y="0"/>
                </a:lnTo>
                <a:cubicBezTo>
                  <a:pt x="1866646" y="0"/>
                  <a:pt x="2266696" y="95885"/>
                  <a:pt x="2416302" y="239141"/>
                </a:cubicBezTo>
                <a:lnTo>
                  <a:pt x="2811271" y="239141"/>
                </a:lnTo>
                <a:lnTo>
                  <a:pt x="2297429" y="358775"/>
                </a:lnTo>
                <a:lnTo>
                  <a:pt x="1662557" y="239141"/>
                </a:lnTo>
                <a:lnTo>
                  <a:pt x="2057527" y="239141"/>
                </a:lnTo>
                <a:cubicBezTo>
                  <a:pt x="1907921" y="95885"/>
                  <a:pt x="1507871" y="0"/>
                  <a:pt x="1059053" y="0"/>
                </a:cubicBezTo>
              </a:path>
            </a:pathLst>
          </a:custGeom>
          <a:noFill/>
          <a:ln w="952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444" name="Picture 44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80425" y="1352893"/>
            <a:ext cx="1990725" cy="1578768"/>
          </a:xfrm>
          <a:prstGeom prst="rect">
            <a:avLst/>
          </a:prstGeom>
          <a:noFill/>
        </p:spPr>
      </p:pic>
      <p:sp>
        <p:nvSpPr>
          <p:cNvPr id="445" name="Freeform 445"/>
          <p:cNvSpPr/>
          <p:nvPr/>
        </p:nvSpPr>
        <p:spPr>
          <a:xfrm>
            <a:off x="1271051" y="2610288"/>
            <a:ext cx="1221677" cy="1300163"/>
          </a:xfrm>
          <a:custGeom>
            <a:avLst/>
            <a:gdLst/>
            <a:ahLst/>
            <a:cxnLst/>
            <a:rect l="0" t="0" r="0" b="0"/>
            <a:pathLst>
              <a:path w="814451" h="866775">
                <a:moveTo>
                  <a:pt x="814451" y="622809"/>
                </a:moveTo>
                <a:lnTo>
                  <a:pt x="570357" y="866775"/>
                </a:lnTo>
                <a:lnTo>
                  <a:pt x="570357" y="749935"/>
                </a:lnTo>
                <a:lnTo>
                  <a:pt x="468502" y="749935"/>
                </a:lnTo>
                <a:cubicBezTo>
                  <a:pt x="209778" y="749935"/>
                  <a:pt x="0" y="583820"/>
                  <a:pt x="0" y="378841"/>
                </a:cubicBezTo>
                <a:lnTo>
                  <a:pt x="0" y="0"/>
                </a:lnTo>
                <a:lnTo>
                  <a:pt x="244094" y="0"/>
                </a:lnTo>
                <a:lnTo>
                  <a:pt x="244094" y="378841"/>
                </a:lnTo>
                <a:cubicBezTo>
                  <a:pt x="244094" y="443358"/>
                  <a:pt x="344563" y="495809"/>
                  <a:pt x="468502" y="495809"/>
                </a:cubicBezTo>
                <a:lnTo>
                  <a:pt x="570357" y="495809"/>
                </a:lnTo>
                <a:lnTo>
                  <a:pt x="570357" y="378841"/>
                </a:lnTo>
                <a:lnTo>
                  <a:pt x="814451" y="622809"/>
                </a:lnTo>
                <a:close/>
                <a:moveTo>
                  <a:pt x="3618991" y="5111750"/>
                </a:moveTo>
              </a:path>
            </a:pathLst>
          </a:custGeom>
          <a:solidFill>
            <a:srgbClr val="C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446" name="Freeform 446"/>
          <p:cNvSpPr/>
          <p:nvPr/>
        </p:nvSpPr>
        <p:spPr>
          <a:xfrm>
            <a:off x="1271051" y="2610288"/>
            <a:ext cx="1221677" cy="1300163"/>
          </a:xfrm>
          <a:custGeom>
            <a:avLst/>
            <a:gdLst/>
            <a:ahLst/>
            <a:cxnLst/>
            <a:rect l="0" t="0" r="0" b="0"/>
            <a:pathLst>
              <a:path w="814451" h="866775">
                <a:moveTo>
                  <a:pt x="814451" y="622809"/>
                </a:moveTo>
                <a:lnTo>
                  <a:pt x="570357" y="866775"/>
                </a:lnTo>
                <a:lnTo>
                  <a:pt x="570357" y="749935"/>
                </a:lnTo>
                <a:lnTo>
                  <a:pt x="468502" y="749935"/>
                </a:lnTo>
                <a:cubicBezTo>
                  <a:pt x="209778" y="749935"/>
                  <a:pt x="0" y="583820"/>
                  <a:pt x="0" y="378841"/>
                </a:cubicBezTo>
                <a:lnTo>
                  <a:pt x="0" y="0"/>
                </a:lnTo>
                <a:lnTo>
                  <a:pt x="244094" y="0"/>
                </a:lnTo>
                <a:lnTo>
                  <a:pt x="244094" y="378841"/>
                </a:lnTo>
                <a:cubicBezTo>
                  <a:pt x="244094" y="443358"/>
                  <a:pt x="344563" y="495809"/>
                  <a:pt x="468502" y="495809"/>
                </a:cubicBezTo>
                <a:lnTo>
                  <a:pt x="570357" y="495809"/>
                </a:lnTo>
                <a:lnTo>
                  <a:pt x="570357" y="378841"/>
                </a:lnTo>
                <a:lnTo>
                  <a:pt x="814451" y="622809"/>
                </a:lnTo>
                <a:close/>
                <a:moveTo>
                  <a:pt x="3618991" y="5111750"/>
                </a:moveTo>
              </a:path>
            </a:pathLst>
          </a:custGeom>
          <a:noFill/>
          <a:ln w="952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47" name="Freeform 447"/>
          <p:cNvSpPr/>
          <p:nvPr/>
        </p:nvSpPr>
        <p:spPr>
          <a:xfrm>
            <a:off x="2935640" y="4377175"/>
            <a:ext cx="862013" cy="866775"/>
          </a:xfrm>
          <a:custGeom>
            <a:avLst/>
            <a:gdLst/>
            <a:ahLst/>
            <a:cxnLst/>
            <a:rect l="0" t="0" r="0" b="0"/>
            <a:pathLst>
              <a:path w="574675" h="577850">
                <a:moveTo>
                  <a:pt x="574675" y="415164"/>
                </a:moveTo>
                <a:lnTo>
                  <a:pt x="402335" y="577850"/>
                </a:lnTo>
                <a:lnTo>
                  <a:pt x="402335" y="499999"/>
                </a:lnTo>
                <a:lnTo>
                  <a:pt x="330581" y="499999"/>
                </a:lnTo>
                <a:cubicBezTo>
                  <a:pt x="147954" y="499999"/>
                  <a:pt x="0" y="389255"/>
                  <a:pt x="0" y="252604"/>
                </a:cubicBezTo>
                <a:lnTo>
                  <a:pt x="0" y="0"/>
                </a:lnTo>
                <a:lnTo>
                  <a:pt x="172212" y="0"/>
                </a:lnTo>
                <a:lnTo>
                  <a:pt x="172212" y="252604"/>
                </a:lnTo>
                <a:cubicBezTo>
                  <a:pt x="172212" y="295656"/>
                  <a:pt x="243078" y="330454"/>
                  <a:pt x="330581" y="330454"/>
                </a:cubicBezTo>
                <a:lnTo>
                  <a:pt x="402335" y="330454"/>
                </a:lnTo>
                <a:lnTo>
                  <a:pt x="402335" y="252604"/>
                </a:lnTo>
                <a:lnTo>
                  <a:pt x="574675" y="415164"/>
                </a:lnTo>
                <a:close/>
                <a:moveTo>
                  <a:pt x="1538985" y="3933825"/>
                </a:moveTo>
              </a:path>
            </a:pathLst>
          </a:custGeom>
          <a:solidFill>
            <a:srgbClr val="C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448" name="Freeform 448"/>
          <p:cNvSpPr/>
          <p:nvPr/>
        </p:nvSpPr>
        <p:spPr>
          <a:xfrm>
            <a:off x="2935640" y="4377175"/>
            <a:ext cx="862013" cy="866775"/>
          </a:xfrm>
          <a:custGeom>
            <a:avLst/>
            <a:gdLst/>
            <a:ahLst/>
            <a:cxnLst/>
            <a:rect l="0" t="0" r="0" b="0"/>
            <a:pathLst>
              <a:path w="574675" h="577850">
                <a:moveTo>
                  <a:pt x="574675" y="415164"/>
                </a:moveTo>
                <a:lnTo>
                  <a:pt x="402335" y="577850"/>
                </a:lnTo>
                <a:lnTo>
                  <a:pt x="402335" y="499999"/>
                </a:lnTo>
                <a:lnTo>
                  <a:pt x="330581" y="499999"/>
                </a:lnTo>
                <a:cubicBezTo>
                  <a:pt x="147954" y="499999"/>
                  <a:pt x="0" y="389255"/>
                  <a:pt x="0" y="252604"/>
                </a:cubicBezTo>
                <a:lnTo>
                  <a:pt x="0" y="0"/>
                </a:lnTo>
                <a:lnTo>
                  <a:pt x="172212" y="0"/>
                </a:lnTo>
                <a:lnTo>
                  <a:pt x="172212" y="252604"/>
                </a:lnTo>
                <a:cubicBezTo>
                  <a:pt x="172212" y="295656"/>
                  <a:pt x="243078" y="330454"/>
                  <a:pt x="330581" y="330454"/>
                </a:cubicBezTo>
                <a:lnTo>
                  <a:pt x="402335" y="330454"/>
                </a:lnTo>
                <a:lnTo>
                  <a:pt x="402335" y="252604"/>
                </a:lnTo>
                <a:lnTo>
                  <a:pt x="574675" y="415164"/>
                </a:lnTo>
                <a:close/>
                <a:moveTo>
                  <a:pt x="1538985" y="3933825"/>
                </a:moveTo>
              </a:path>
            </a:pathLst>
          </a:custGeom>
          <a:noFill/>
          <a:ln w="952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49" name="Freeform 449"/>
          <p:cNvSpPr/>
          <p:nvPr/>
        </p:nvSpPr>
        <p:spPr>
          <a:xfrm>
            <a:off x="5271550" y="3450965"/>
            <a:ext cx="2417064" cy="857250"/>
          </a:xfrm>
          <a:custGeom>
            <a:avLst/>
            <a:gdLst/>
            <a:ahLst/>
            <a:cxnLst/>
            <a:rect l="0" t="0" r="0" b="0"/>
            <a:pathLst>
              <a:path w="1611376" h="571500">
                <a:moveTo>
                  <a:pt x="0" y="571500"/>
                </a:moveTo>
                <a:lnTo>
                  <a:pt x="0" y="332613"/>
                </a:lnTo>
                <a:cubicBezTo>
                  <a:pt x="0" y="194437"/>
                  <a:pt x="111886" y="82550"/>
                  <a:pt x="250063" y="82550"/>
                </a:cubicBezTo>
                <a:lnTo>
                  <a:pt x="1468501" y="82550"/>
                </a:lnTo>
                <a:lnTo>
                  <a:pt x="1468501" y="0"/>
                </a:lnTo>
                <a:lnTo>
                  <a:pt x="1611376" y="154051"/>
                </a:lnTo>
                <a:lnTo>
                  <a:pt x="1468501" y="308102"/>
                </a:lnTo>
                <a:lnTo>
                  <a:pt x="1468501" y="225425"/>
                </a:lnTo>
                <a:lnTo>
                  <a:pt x="250063" y="225425"/>
                </a:lnTo>
                <a:cubicBezTo>
                  <a:pt x="190880" y="225425"/>
                  <a:pt x="142875" y="273431"/>
                  <a:pt x="142875" y="332613"/>
                </a:cubicBezTo>
                <a:lnTo>
                  <a:pt x="142875" y="571500"/>
                </a:lnTo>
                <a:close/>
                <a:moveTo>
                  <a:pt x="442848" y="4551298"/>
                </a:moveTo>
              </a:path>
            </a:pathLst>
          </a:custGeom>
          <a:solidFill>
            <a:srgbClr val="C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450" name="Freeform 450"/>
          <p:cNvSpPr/>
          <p:nvPr/>
        </p:nvSpPr>
        <p:spPr>
          <a:xfrm>
            <a:off x="5271550" y="3450965"/>
            <a:ext cx="2417064" cy="857250"/>
          </a:xfrm>
          <a:custGeom>
            <a:avLst/>
            <a:gdLst/>
            <a:ahLst/>
            <a:cxnLst/>
            <a:rect l="0" t="0" r="0" b="0"/>
            <a:pathLst>
              <a:path w="1611376" h="571500">
                <a:moveTo>
                  <a:pt x="0" y="571500"/>
                </a:moveTo>
                <a:lnTo>
                  <a:pt x="0" y="332613"/>
                </a:lnTo>
                <a:cubicBezTo>
                  <a:pt x="0" y="194437"/>
                  <a:pt x="111886" y="82550"/>
                  <a:pt x="250063" y="82550"/>
                </a:cubicBezTo>
                <a:lnTo>
                  <a:pt x="1468501" y="82550"/>
                </a:lnTo>
                <a:lnTo>
                  <a:pt x="1468501" y="0"/>
                </a:lnTo>
                <a:lnTo>
                  <a:pt x="1611376" y="154051"/>
                </a:lnTo>
                <a:lnTo>
                  <a:pt x="1468501" y="308102"/>
                </a:lnTo>
                <a:lnTo>
                  <a:pt x="1468501" y="225425"/>
                </a:lnTo>
                <a:lnTo>
                  <a:pt x="250063" y="225425"/>
                </a:lnTo>
                <a:cubicBezTo>
                  <a:pt x="190880" y="225425"/>
                  <a:pt x="142875" y="273431"/>
                  <a:pt x="142875" y="332613"/>
                </a:cubicBezTo>
                <a:lnTo>
                  <a:pt x="142875" y="571500"/>
                </a:lnTo>
                <a:close/>
                <a:moveTo>
                  <a:pt x="442848" y="4551298"/>
                </a:moveTo>
              </a:path>
            </a:pathLst>
          </a:custGeom>
          <a:noFill/>
          <a:ln w="25400" cap="flat" cmpd="sng">
            <a:solidFill>
              <a:srgbClr val="385D8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451" name="Picture 45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267413" y="6410916"/>
            <a:ext cx="2881313" cy="578739"/>
          </a:xfrm>
          <a:prstGeom prst="rect">
            <a:avLst/>
          </a:prstGeom>
          <a:noFill/>
        </p:spPr>
      </p:pic>
      <p:sp>
        <p:nvSpPr>
          <p:cNvPr id="452" name="Freeform 452"/>
          <p:cNvSpPr/>
          <p:nvPr/>
        </p:nvSpPr>
        <p:spPr>
          <a:xfrm>
            <a:off x="10496013" y="6415525"/>
            <a:ext cx="2652713" cy="540641"/>
          </a:xfrm>
          <a:custGeom>
            <a:avLst/>
            <a:gdLst/>
            <a:ahLst/>
            <a:cxnLst/>
            <a:rect l="0" t="0" r="0" b="0"/>
            <a:pathLst>
              <a:path w="1895475" h="360427">
                <a:moveTo>
                  <a:pt x="0" y="180214"/>
                </a:moveTo>
                <a:lnTo>
                  <a:pt x="118364" y="0"/>
                </a:lnTo>
                <a:lnTo>
                  <a:pt x="118364" y="103252"/>
                </a:lnTo>
                <a:lnTo>
                  <a:pt x="1777110" y="103252"/>
                </a:lnTo>
                <a:lnTo>
                  <a:pt x="1777110" y="0"/>
                </a:lnTo>
                <a:lnTo>
                  <a:pt x="1895475" y="180214"/>
                </a:lnTo>
                <a:lnTo>
                  <a:pt x="1777110" y="360427"/>
                </a:lnTo>
                <a:lnTo>
                  <a:pt x="1777110" y="257175"/>
                </a:lnTo>
                <a:lnTo>
                  <a:pt x="118364" y="257175"/>
                </a:lnTo>
                <a:lnTo>
                  <a:pt x="118364" y="360427"/>
                </a:lnTo>
                <a:close/>
                <a:moveTo>
                  <a:pt x="-4625214" y="2574925"/>
                </a:moveTo>
              </a:path>
            </a:pathLst>
          </a:custGeom>
          <a:noFill/>
          <a:ln w="9525" cap="flat" cmpd="sng">
            <a:solidFill>
              <a:srgbClr val="003399">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454" name="Picture 45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10248363" y="8449113"/>
            <a:ext cx="3183827" cy="421481"/>
          </a:xfrm>
          <a:prstGeom prst="rect">
            <a:avLst/>
          </a:prstGeom>
          <a:noFill/>
        </p:spPr>
      </p:pic>
      <p:sp>
        <p:nvSpPr>
          <p:cNvPr id="455" name="Freeform 455"/>
          <p:cNvSpPr/>
          <p:nvPr/>
        </p:nvSpPr>
        <p:spPr>
          <a:xfrm>
            <a:off x="10176713" y="8467857"/>
            <a:ext cx="3145727" cy="383382"/>
          </a:xfrm>
          <a:custGeom>
            <a:avLst/>
            <a:gdLst/>
            <a:ahLst/>
            <a:cxnLst/>
            <a:rect l="0" t="0" r="0" b="0"/>
            <a:pathLst>
              <a:path w="2097151" h="255588">
                <a:moveTo>
                  <a:pt x="0" y="255588"/>
                </a:moveTo>
                <a:lnTo>
                  <a:pt x="2097151" y="255588"/>
                </a:lnTo>
                <a:lnTo>
                  <a:pt x="2097151" y="0"/>
                </a:lnTo>
                <a:lnTo>
                  <a:pt x="0" y="0"/>
                </a:lnTo>
                <a:lnTo>
                  <a:pt x="0" y="255588"/>
                </a:lnTo>
                <a:close/>
              </a:path>
            </a:pathLst>
          </a:custGeom>
          <a:noFill/>
          <a:ln w="27051" cap="flat" cmpd="sng">
            <a:solidFill>
              <a:srgbClr val="CCFFC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456" name="Freeform 456"/>
          <p:cNvSpPr/>
          <p:nvPr/>
        </p:nvSpPr>
        <p:spPr>
          <a:xfrm>
            <a:off x="859093" y="8915838"/>
            <a:ext cx="12554046" cy="216695"/>
          </a:xfrm>
          <a:custGeom>
            <a:avLst/>
            <a:gdLst/>
            <a:ahLst/>
            <a:cxnLst/>
            <a:rect l="0" t="0" r="0" b="0"/>
            <a:pathLst>
              <a:path w="8369364" h="144463">
                <a:moveTo>
                  <a:pt x="0" y="72238"/>
                </a:moveTo>
                <a:lnTo>
                  <a:pt x="72238" y="0"/>
                </a:lnTo>
                <a:lnTo>
                  <a:pt x="72238" y="36119"/>
                </a:lnTo>
                <a:lnTo>
                  <a:pt x="8297101" y="36119"/>
                </a:lnTo>
                <a:lnTo>
                  <a:pt x="8297101" y="0"/>
                </a:lnTo>
                <a:lnTo>
                  <a:pt x="8369364" y="72238"/>
                </a:lnTo>
                <a:lnTo>
                  <a:pt x="8297101" y="144463"/>
                </a:lnTo>
                <a:lnTo>
                  <a:pt x="8297101" y="108344"/>
                </a:lnTo>
                <a:lnTo>
                  <a:pt x="72238" y="108344"/>
                </a:lnTo>
                <a:lnTo>
                  <a:pt x="72238" y="144463"/>
                </a:lnTo>
                <a:close/>
                <a:moveTo>
                  <a:pt x="240500" y="908050"/>
                </a:moveTo>
              </a:path>
            </a:pathLst>
          </a:custGeom>
          <a:solidFill>
            <a:srgbClr val="4F81BD">
              <a:alpha val="100000"/>
            </a:srgbClr>
          </a:solidFill>
          <a:ln w="27051">
            <a:noFill/>
          </a:ln>
        </p:spPr>
        <p:style>
          <a:lnRef idx="2">
            <a:schemeClr val="accent1">
              <a:shade val="50000"/>
            </a:schemeClr>
          </a:lnRef>
          <a:fillRef idx="1">
            <a:schemeClr val="accent1"/>
          </a:fillRef>
          <a:effectRef idx="0">
            <a:schemeClr val="accent1"/>
          </a:effectRef>
          <a:fontRef idx="minor">
            <a:schemeClr val="lt1"/>
          </a:fontRef>
        </p:style>
      </p:sp>
      <p:sp>
        <p:nvSpPr>
          <p:cNvPr id="457" name="Freeform 457"/>
          <p:cNvSpPr/>
          <p:nvPr/>
        </p:nvSpPr>
        <p:spPr>
          <a:xfrm>
            <a:off x="859093" y="8915838"/>
            <a:ext cx="12554046" cy="216695"/>
          </a:xfrm>
          <a:custGeom>
            <a:avLst/>
            <a:gdLst/>
            <a:ahLst/>
            <a:cxnLst/>
            <a:rect l="0" t="0" r="0" b="0"/>
            <a:pathLst>
              <a:path w="8369364" h="144463">
                <a:moveTo>
                  <a:pt x="0" y="72238"/>
                </a:moveTo>
                <a:lnTo>
                  <a:pt x="72238" y="0"/>
                </a:lnTo>
                <a:lnTo>
                  <a:pt x="72238" y="36119"/>
                </a:lnTo>
                <a:lnTo>
                  <a:pt x="8297101" y="36119"/>
                </a:lnTo>
                <a:lnTo>
                  <a:pt x="8297101" y="0"/>
                </a:lnTo>
                <a:lnTo>
                  <a:pt x="8369364" y="72238"/>
                </a:lnTo>
                <a:lnTo>
                  <a:pt x="8297101" y="144463"/>
                </a:lnTo>
                <a:lnTo>
                  <a:pt x="8297101" y="108344"/>
                </a:lnTo>
                <a:lnTo>
                  <a:pt x="72238" y="108344"/>
                </a:lnTo>
                <a:lnTo>
                  <a:pt x="72238" y="144463"/>
                </a:lnTo>
                <a:close/>
                <a:moveTo>
                  <a:pt x="240500" y="908050"/>
                </a:moveTo>
              </a:path>
            </a:pathLst>
          </a:custGeom>
          <a:noFill/>
          <a:ln w="25400" cap="flat" cmpd="sng">
            <a:solidFill>
              <a:srgbClr val="385D8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58" name="Freeform 458"/>
          <p:cNvSpPr/>
          <p:nvPr/>
        </p:nvSpPr>
        <p:spPr>
          <a:xfrm>
            <a:off x="6931377" y="7389553"/>
            <a:ext cx="6481763" cy="361950"/>
          </a:xfrm>
          <a:custGeom>
            <a:avLst/>
            <a:gdLst/>
            <a:ahLst/>
            <a:cxnLst/>
            <a:rect l="0" t="0" r="0" b="0"/>
            <a:pathLst>
              <a:path w="4321175" h="241300">
                <a:moveTo>
                  <a:pt x="0" y="120650"/>
                </a:moveTo>
                <a:lnTo>
                  <a:pt x="120650" y="0"/>
                </a:lnTo>
                <a:lnTo>
                  <a:pt x="120650" y="60325"/>
                </a:lnTo>
                <a:lnTo>
                  <a:pt x="4200525" y="60325"/>
                </a:lnTo>
                <a:lnTo>
                  <a:pt x="4200525" y="0"/>
                </a:lnTo>
                <a:lnTo>
                  <a:pt x="4321175" y="120650"/>
                </a:lnTo>
                <a:lnTo>
                  <a:pt x="4200525" y="241300"/>
                </a:lnTo>
                <a:lnTo>
                  <a:pt x="4200525" y="180975"/>
                </a:lnTo>
                <a:lnTo>
                  <a:pt x="120650" y="180975"/>
                </a:lnTo>
                <a:lnTo>
                  <a:pt x="120650" y="241300"/>
                </a:lnTo>
                <a:close/>
                <a:moveTo>
                  <a:pt x="-2838578" y="1925573"/>
                </a:moveTo>
              </a:path>
            </a:pathLst>
          </a:custGeom>
          <a:solidFill>
            <a:srgbClr val="00B050">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459" name="Freeform 459"/>
          <p:cNvSpPr/>
          <p:nvPr/>
        </p:nvSpPr>
        <p:spPr>
          <a:xfrm>
            <a:off x="6931377" y="7389553"/>
            <a:ext cx="6481763" cy="361950"/>
          </a:xfrm>
          <a:custGeom>
            <a:avLst/>
            <a:gdLst/>
            <a:ahLst/>
            <a:cxnLst/>
            <a:rect l="0" t="0" r="0" b="0"/>
            <a:pathLst>
              <a:path w="4321175" h="241300">
                <a:moveTo>
                  <a:pt x="0" y="120650"/>
                </a:moveTo>
                <a:lnTo>
                  <a:pt x="120650" y="0"/>
                </a:lnTo>
                <a:lnTo>
                  <a:pt x="120650" y="60325"/>
                </a:lnTo>
                <a:lnTo>
                  <a:pt x="4200525" y="60325"/>
                </a:lnTo>
                <a:lnTo>
                  <a:pt x="4200525" y="0"/>
                </a:lnTo>
                <a:lnTo>
                  <a:pt x="4321175" y="120650"/>
                </a:lnTo>
                <a:lnTo>
                  <a:pt x="4200525" y="241300"/>
                </a:lnTo>
                <a:lnTo>
                  <a:pt x="4200525" y="180975"/>
                </a:lnTo>
                <a:lnTo>
                  <a:pt x="120650" y="180975"/>
                </a:lnTo>
                <a:lnTo>
                  <a:pt x="120650" y="241300"/>
                </a:lnTo>
                <a:close/>
                <a:moveTo>
                  <a:pt x="-2838578" y="1925573"/>
                </a:moveTo>
              </a:path>
            </a:pathLst>
          </a:custGeom>
          <a:noFill/>
          <a:ln w="25400" cap="flat" cmpd="sng">
            <a:solidFill>
              <a:srgbClr val="385D8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60" name="Freeform 460"/>
          <p:cNvSpPr/>
          <p:nvPr/>
        </p:nvSpPr>
        <p:spPr>
          <a:xfrm>
            <a:off x="10172163" y="2217478"/>
            <a:ext cx="2477" cy="6857904"/>
          </a:xfrm>
          <a:custGeom>
            <a:avLst/>
            <a:gdLst/>
            <a:ahLst/>
            <a:cxnLst/>
            <a:rect l="0" t="0" r="0" b="0"/>
            <a:pathLst>
              <a:path w="1651" h="4571936">
                <a:moveTo>
                  <a:pt x="0" y="0"/>
                </a:moveTo>
                <a:lnTo>
                  <a:pt x="1651" y="4571936"/>
                </a:lnTo>
              </a:path>
            </a:pathLst>
          </a:custGeom>
          <a:noFill/>
          <a:ln w="25400" cap="flat" cmpd="sng">
            <a:solidFill>
              <a:srgbClr val="000000">
                <a:alpha val="100000"/>
              </a:srgbClr>
            </a:solidFill>
            <a:custDash>
              <a:ds d="100000" sp="100000"/>
            </a:custDash>
            <a:round/>
          </a:ln>
        </p:spPr>
        <p:style>
          <a:lnRef idx="2">
            <a:schemeClr val="accent1">
              <a:shade val="50000"/>
            </a:schemeClr>
          </a:lnRef>
          <a:fillRef idx="1">
            <a:schemeClr val="accent1"/>
          </a:fillRef>
          <a:effectRef idx="0">
            <a:schemeClr val="accent1"/>
          </a:effectRef>
          <a:fontRef idx="minor">
            <a:schemeClr val="lt1"/>
          </a:fontRef>
        </p:style>
      </p:sp>
      <p:sp>
        <p:nvSpPr>
          <p:cNvPr id="462" name="Rectangle 462"/>
          <p:cNvSpPr/>
          <p:nvPr/>
        </p:nvSpPr>
        <p:spPr>
          <a:xfrm>
            <a:off x="8909337" y="7867518"/>
            <a:ext cx="1591590" cy="276999"/>
          </a:xfrm>
          <a:prstGeom prst="rect">
            <a:avLst/>
          </a:prstGeom>
        </p:spPr>
        <p:txBody>
          <a:bodyPr wrap="none" lIns="0" tIns="0" rIns="0" bIns="0">
            <a:spAutoFit/>
          </a:bodyPr>
          <a:lstStyle/>
          <a:p>
            <a:r>
              <a:rPr lang="en-US" b="1" dirty="0">
                <a:solidFill>
                  <a:srgbClr val="003300"/>
                </a:solidFill>
                <a:latin typeface="Calibri,Bold"/>
              </a:rPr>
              <a:t>GE</a:t>
            </a:r>
            <a:r>
              <a:rPr lang="en-US" b="1" spc="-24" dirty="0">
                <a:solidFill>
                  <a:srgbClr val="003300"/>
                </a:solidFill>
                <a:latin typeface="Calibri,Bold"/>
              </a:rPr>
              <a:t>S</a:t>
            </a:r>
            <a:r>
              <a:rPr lang="en-US" b="1" spc="-135" dirty="0">
                <a:solidFill>
                  <a:srgbClr val="003300"/>
                </a:solidFill>
                <a:latin typeface="Calibri,Bold"/>
              </a:rPr>
              <a:t>T</a:t>
            </a:r>
            <a:r>
              <a:rPr lang="en-US" b="1" dirty="0">
                <a:solidFill>
                  <a:srgbClr val="003300"/>
                </a:solidFill>
                <a:latin typeface="Calibri,Bold"/>
              </a:rPr>
              <a:t>ÃO</a:t>
            </a:r>
            <a:r>
              <a:rPr lang="en-US" b="1" spc="-30" dirty="0">
                <a:solidFill>
                  <a:srgbClr val="003300"/>
                </a:solidFill>
                <a:latin typeface="Calibri,Bold"/>
              </a:rPr>
              <a:t> </a:t>
            </a:r>
            <a:r>
              <a:rPr lang="en-US" b="1" dirty="0">
                <a:solidFill>
                  <a:srgbClr val="003300"/>
                </a:solidFill>
                <a:latin typeface="Calibri,Bold"/>
              </a:rPr>
              <a:t>   DE </a:t>
            </a:r>
          </a:p>
        </p:txBody>
      </p:sp>
      <p:sp>
        <p:nvSpPr>
          <p:cNvPr id="463" name="Rectangle 463"/>
          <p:cNvSpPr/>
          <p:nvPr/>
        </p:nvSpPr>
        <p:spPr>
          <a:xfrm>
            <a:off x="10172352" y="7867518"/>
            <a:ext cx="64120" cy="276999"/>
          </a:xfrm>
          <a:prstGeom prst="rect">
            <a:avLst/>
          </a:prstGeom>
        </p:spPr>
        <p:txBody>
          <a:bodyPr wrap="none" lIns="0" tIns="0" rIns="0" bIns="0">
            <a:spAutoFit/>
          </a:bodyPr>
          <a:lstStyle/>
          <a:p>
            <a:r>
              <a:rPr lang="en-US" b="1" dirty="0">
                <a:solidFill>
                  <a:srgbClr val="003300"/>
                </a:solidFill>
                <a:latin typeface="Calibri,Bold"/>
              </a:rPr>
              <a:t> </a:t>
            </a:r>
          </a:p>
        </p:txBody>
      </p:sp>
      <p:sp>
        <p:nvSpPr>
          <p:cNvPr id="464" name="Rectangle 464"/>
          <p:cNvSpPr/>
          <p:nvPr/>
        </p:nvSpPr>
        <p:spPr>
          <a:xfrm>
            <a:off x="10330734" y="7867518"/>
            <a:ext cx="1869038" cy="276999"/>
          </a:xfrm>
          <a:prstGeom prst="rect">
            <a:avLst/>
          </a:prstGeom>
        </p:spPr>
        <p:txBody>
          <a:bodyPr wrap="none" lIns="0" tIns="0" rIns="0" bIns="0">
            <a:spAutoFit/>
          </a:bodyPr>
          <a:lstStyle/>
          <a:p>
            <a:r>
              <a:rPr lang="en-US" b="1" dirty="0">
                <a:solidFill>
                  <a:srgbClr val="003300"/>
                </a:solidFill>
                <a:latin typeface="Calibri,Bold"/>
              </a:rPr>
              <a:t>   PO</a:t>
            </a:r>
            <a:r>
              <a:rPr lang="en-US" b="1" spc="-21" dirty="0">
                <a:solidFill>
                  <a:srgbClr val="003300"/>
                </a:solidFill>
                <a:latin typeface="Calibri,Bold"/>
              </a:rPr>
              <a:t>R</a:t>
            </a:r>
            <a:r>
              <a:rPr lang="en-US" b="1" dirty="0">
                <a:solidFill>
                  <a:srgbClr val="003300"/>
                </a:solidFill>
                <a:latin typeface="Calibri,Bold"/>
              </a:rPr>
              <a:t>T</a:t>
            </a:r>
            <a:r>
              <a:rPr lang="en-US" b="1" spc="-17" dirty="0">
                <a:solidFill>
                  <a:srgbClr val="003300"/>
                </a:solidFill>
                <a:latin typeface="Calibri,Bold"/>
              </a:rPr>
              <a:t>F</a:t>
            </a:r>
            <a:r>
              <a:rPr lang="en-US" b="1" dirty="0">
                <a:solidFill>
                  <a:srgbClr val="003300"/>
                </a:solidFill>
                <a:latin typeface="Calibri,Bold"/>
              </a:rPr>
              <a:t>OLIOS  </a:t>
            </a:r>
            <a:r>
              <a:rPr lang="en-US" dirty="0">
                <a:solidFill>
                  <a:srgbClr val="003300"/>
                </a:solidFill>
                <a:latin typeface="Calibri"/>
              </a:rPr>
              <a:t> </a:t>
            </a:r>
          </a:p>
        </p:txBody>
      </p:sp>
      <p:sp>
        <p:nvSpPr>
          <p:cNvPr id="465" name="Rectangle 465"/>
          <p:cNvSpPr/>
          <p:nvPr/>
        </p:nvSpPr>
        <p:spPr>
          <a:xfrm>
            <a:off x="1212909" y="4037515"/>
            <a:ext cx="1892506" cy="541174"/>
          </a:xfrm>
          <a:prstGeom prst="rect">
            <a:avLst/>
          </a:prstGeom>
        </p:spPr>
        <p:txBody>
          <a:bodyPr wrap="none" lIns="0" tIns="0" rIns="0" bIns="0">
            <a:spAutoFit/>
          </a:bodyPr>
          <a:lstStyle/>
          <a:p>
            <a:r>
              <a:rPr lang="en-US" b="1" dirty="0">
                <a:solidFill>
                  <a:srgbClr val="663300"/>
                </a:solidFill>
                <a:latin typeface="Calibri,Bold"/>
              </a:rPr>
              <a:t>PEN</a:t>
            </a:r>
            <a:r>
              <a:rPr lang="en-US" b="1" spc="-23" dirty="0">
                <a:solidFill>
                  <a:srgbClr val="663300"/>
                </a:solidFill>
                <a:latin typeface="Calibri,Bold"/>
              </a:rPr>
              <a:t>S</a:t>
            </a:r>
            <a:r>
              <a:rPr lang="en-US" b="1" dirty="0">
                <a:solidFill>
                  <a:srgbClr val="663300"/>
                </a:solidFill>
                <a:latin typeface="Calibri,Bold"/>
              </a:rPr>
              <a:t>AMEN</a:t>
            </a:r>
            <a:r>
              <a:rPr lang="en-US" b="1" spc="-47" dirty="0">
                <a:solidFill>
                  <a:srgbClr val="663300"/>
                </a:solidFill>
                <a:latin typeface="Calibri,Bold"/>
              </a:rPr>
              <a:t>T</a:t>
            </a:r>
            <a:r>
              <a:rPr lang="en-US" b="1" dirty="0">
                <a:solidFill>
                  <a:srgbClr val="663300"/>
                </a:solidFill>
                <a:latin typeface="Calibri,Bold"/>
              </a:rPr>
              <a:t>O   </a:t>
            </a:r>
          </a:p>
          <a:p>
            <a:pPr marL="9144">
              <a:lnSpc>
                <a:spcPts val="2159"/>
              </a:lnSpc>
            </a:pPr>
            <a:r>
              <a:rPr lang="en-US" b="1" dirty="0">
                <a:solidFill>
                  <a:srgbClr val="663300"/>
                </a:solidFill>
                <a:latin typeface="Calibri,Bold"/>
              </a:rPr>
              <a:t>E</a:t>
            </a:r>
            <a:r>
              <a:rPr lang="en-US" b="1" spc="-24" dirty="0">
                <a:solidFill>
                  <a:srgbClr val="663300"/>
                </a:solidFill>
                <a:latin typeface="Calibri,Bold"/>
              </a:rPr>
              <a:t>S</a:t>
            </a:r>
            <a:r>
              <a:rPr lang="en-US" b="1" dirty="0">
                <a:solidFill>
                  <a:srgbClr val="663300"/>
                </a:solidFill>
                <a:latin typeface="Calibri,Bold"/>
              </a:rPr>
              <a:t>TR</a:t>
            </a:r>
            <a:r>
              <a:rPr lang="en-US" b="1" spc="-138" dirty="0">
                <a:solidFill>
                  <a:srgbClr val="663300"/>
                </a:solidFill>
                <a:latin typeface="Calibri,Bold"/>
              </a:rPr>
              <a:t>A</a:t>
            </a:r>
            <a:r>
              <a:rPr lang="en-US" b="1" dirty="0">
                <a:solidFill>
                  <a:srgbClr val="663300"/>
                </a:solidFill>
                <a:latin typeface="Calibri,Bold"/>
              </a:rPr>
              <a:t>TÉGI</a:t>
            </a:r>
            <a:r>
              <a:rPr lang="en-US" b="1" spc="-17" dirty="0">
                <a:solidFill>
                  <a:srgbClr val="663300"/>
                </a:solidFill>
                <a:latin typeface="Calibri,Bold"/>
              </a:rPr>
              <a:t>C</a:t>
            </a:r>
            <a:r>
              <a:rPr lang="en-US" b="1" dirty="0">
                <a:solidFill>
                  <a:srgbClr val="663300"/>
                </a:solidFill>
                <a:latin typeface="Calibri,Bold"/>
              </a:rPr>
              <a:t>O    </a:t>
            </a:r>
          </a:p>
        </p:txBody>
      </p:sp>
      <p:sp>
        <p:nvSpPr>
          <p:cNvPr id="466" name="Rectangle 466"/>
          <p:cNvSpPr/>
          <p:nvPr/>
        </p:nvSpPr>
        <p:spPr>
          <a:xfrm>
            <a:off x="4919887" y="6021762"/>
            <a:ext cx="64120" cy="276999"/>
          </a:xfrm>
          <a:prstGeom prst="rect">
            <a:avLst/>
          </a:prstGeom>
        </p:spPr>
        <p:txBody>
          <a:bodyPr wrap="none" lIns="0" tIns="0" rIns="0" bIns="0">
            <a:spAutoFit/>
          </a:bodyPr>
          <a:lstStyle/>
          <a:p>
            <a:r>
              <a:rPr lang="en-US" b="1" dirty="0">
                <a:solidFill>
                  <a:srgbClr val="663300"/>
                </a:solidFill>
                <a:latin typeface="Calibri,Bold"/>
              </a:rPr>
              <a:t> </a:t>
            </a:r>
          </a:p>
        </p:txBody>
      </p:sp>
      <p:sp>
        <p:nvSpPr>
          <p:cNvPr id="467" name="Rectangle 467"/>
          <p:cNvSpPr/>
          <p:nvPr/>
        </p:nvSpPr>
        <p:spPr>
          <a:xfrm>
            <a:off x="4291236" y="6296083"/>
            <a:ext cx="1667701" cy="276999"/>
          </a:xfrm>
          <a:prstGeom prst="rect">
            <a:avLst/>
          </a:prstGeom>
        </p:spPr>
        <p:txBody>
          <a:bodyPr wrap="none" lIns="0" tIns="0" rIns="0" bIns="0">
            <a:spAutoFit/>
          </a:bodyPr>
          <a:lstStyle/>
          <a:p>
            <a:r>
              <a:rPr lang="en-US" b="1" dirty="0">
                <a:solidFill>
                  <a:srgbClr val="663300"/>
                </a:solidFill>
                <a:latin typeface="Calibri,Bold"/>
              </a:rPr>
              <a:t>E</a:t>
            </a:r>
            <a:r>
              <a:rPr lang="en-US" b="1" spc="-24" dirty="0">
                <a:solidFill>
                  <a:srgbClr val="663300"/>
                </a:solidFill>
                <a:latin typeface="Calibri,Bold"/>
              </a:rPr>
              <a:t>S</a:t>
            </a:r>
            <a:r>
              <a:rPr lang="en-US" b="1" dirty="0">
                <a:solidFill>
                  <a:srgbClr val="663300"/>
                </a:solidFill>
                <a:latin typeface="Calibri,Bold"/>
              </a:rPr>
              <a:t>TR</a:t>
            </a:r>
            <a:r>
              <a:rPr lang="en-US" b="1" spc="-138" dirty="0">
                <a:solidFill>
                  <a:srgbClr val="663300"/>
                </a:solidFill>
                <a:latin typeface="Calibri,Bold"/>
              </a:rPr>
              <a:t>A</a:t>
            </a:r>
            <a:r>
              <a:rPr lang="en-US" b="1" dirty="0">
                <a:solidFill>
                  <a:srgbClr val="663300"/>
                </a:solidFill>
                <a:latin typeface="Calibri,Bold"/>
              </a:rPr>
              <a:t>TÉGIAS </a:t>
            </a:r>
          </a:p>
        </p:txBody>
      </p:sp>
      <p:sp>
        <p:nvSpPr>
          <p:cNvPr id="468" name="Rectangle 468"/>
          <p:cNvSpPr/>
          <p:nvPr/>
        </p:nvSpPr>
        <p:spPr>
          <a:xfrm>
            <a:off x="8205689" y="2789079"/>
            <a:ext cx="1243930" cy="276999"/>
          </a:xfrm>
          <a:prstGeom prst="rect">
            <a:avLst/>
          </a:prstGeom>
        </p:spPr>
        <p:txBody>
          <a:bodyPr wrap="none" lIns="0" tIns="0" rIns="0" bIns="0">
            <a:spAutoFit/>
          </a:bodyPr>
          <a:lstStyle/>
          <a:p>
            <a:r>
              <a:rPr lang="en-US" b="1" dirty="0">
                <a:solidFill>
                  <a:srgbClr val="663300"/>
                </a:solidFill>
                <a:latin typeface="Calibri,Bold"/>
              </a:rPr>
              <a:t>SELEÇÃO  </a:t>
            </a:r>
          </a:p>
        </p:txBody>
      </p:sp>
      <p:sp>
        <p:nvSpPr>
          <p:cNvPr id="469" name="Rectangle 469"/>
          <p:cNvSpPr/>
          <p:nvPr/>
        </p:nvSpPr>
        <p:spPr>
          <a:xfrm>
            <a:off x="8056966" y="3130269"/>
            <a:ext cx="1819922" cy="277448"/>
          </a:xfrm>
          <a:prstGeom prst="rect">
            <a:avLst/>
          </a:prstGeom>
        </p:spPr>
        <p:txBody>
          <a:bodyPr wrap="none" lIns="0" tIns="0" rIns="0" bIns="0">
            <a:spAutoFit/>
          </a:bodyPr>
          <a:lstStyle/>
          <a:p>
            <a:r>
              <a:rPr lang="en-US" sz="1803" b="1" dirty="0">
                <a:solidFill>
                  <a:srgbClr val="663300"/>
                </a:solidFill>
                <a:latin typeface="Calibri,Bold"/>
              </a:rPr>
              <a:t>DE  P</a:t>
            </a:r>
            <a:r>
              <a:rPr lang="en-US" sz="1803" b="1" spc="-26" dirty="0">
                <a:solidFill>
                  <a:srgbClr val="663300"/>
                </a:solidFill>
                <a:latin typeface="Calibri,Bold"/>
              </a:rPr>
              <a:t>R</a:t>
            </a:r>
            <a:r>
              <a:rPr lang="en-US" sz="1803" b="1" dirty="0">
                <a:solidFill>
                  <a:srgbClr val="663300"/>
                </a:solidFill>
                <a:latin typeface="Calibri,Bold"/>
              </a:rPr>
              <a:t>OJE</a:t>
            </a:r>
            <a:r>
              <a:rPr lang="en-US" sz="1803" b="1" spc="-50" dirty="0">
                <a:solidFill>
                  <a:srgbClr val="663300"/>
                </a:solidFill>
                <a:latin typeface="Calibri,Bold"/>
              </a:rPr>
              <a:t>T</a:t>
            </a:r>
            <a:r>
              <a:rPr lang="en-US" sz="1803" b="1" dirty="0">
                <a:solidFill>
                  <a:srgbClr val="663300"/>
                </a:solidFill>
                <a:latin typeface="Calibri,Bold"/>
              </a:rPr>
              <a:t>OS  </a:t>
            </a:r>
          </a:p>
        </p:txBody>
      </p:sp>
      <p:sp>
        <p:nvSpPr>
          <p:cNvPr id="470" name="Rectangle 470"/>
          <p:cNvSpPr/>
          <p:nvPr/>
        </p:nvSpPr>
        <p:spPr>
          <a:xfrm>
            <a:off x="10952409" y="4933222"/>
            <a:ext cx="1586716" cy="541174"/>
          </a:xfrm>
          <a:prstGeom prst="rect">
            <a:avLst/>
          </a:prstGeom>
        </p:spPr>
        <p:txBody>
          <a:bodyPr wrap="none" lIns="0" tIns="0" rIns="0" bIns="0">
            <a:spAutoFit/>
          </a:bodyPr>
          <a:lstStyle/>
          <a:p>
            <a:pPr marL="68580"/>
            <a:r>
              <a:rPr lang="en-US" b="1" dirty="0">
                <a:solidFill>
                  <a:srgbClr val="663300"/>
                </a:solidFill>
                <a:latin typeface="Calibri,Bold"/>
              </a:rPr>
              <a:t>P</a:t>
            </a:r>
            <a:r>
              <a:rPr lang="en-US" b="1" spc="-27" dirty="0">
                <a:solidFill>
                  <a:srgbClr val="663300"/>
                </a:solidFill>
                <a:latin typeface="Calibri,Bold"/>
              </a:rPr>
              <a:t>R</a:t>
            </a:r>
            <a:r>
              <a:rPr lang="en-US" b="1" dirty="0">
                <a:solidFill>
                  <a:srgbClr val="663300"/>
                </a:solidFill>
                <a:latin typeface="Calibri,Bold"/>
              </a:rPr>
              <a:t>OJE</a:t>
            </a:r>
            <a:r>
              <a:rPr lang="en-US" b="1" spc="-44" dirty="0">
                <a:solidFill>
                  <a:srgbClr val="663300"/>
                </a:solidFill>
                <a:latin typeface="Calibri,Bold"/>
              </a:rPr>
              <a:t>T</a:t>
            </a:r>
            <a:r>
              <a:rPr lang="en-US" b="1" dirty="0">
                <a:solidFill>
                  <a:srgbClr val="663300"/>
                </a:solidFill>
                <a:latin typeface="Calibri,Bold"/>
              </a:rPr>
              <a:t>OS e </a:t>
            </a:r>
          </a:p>
          <a:p>
            <a:pPr>
              <a:lnSpc>
                <a:spcPts val="2159"/>
              </a:lnSpc>
            </a:pPr>
            <a:r>
              <a:rPr lang="en-US" b="1" dirty="0">
                <a:solidFill>
                  <a:srgbClr val="663300"/>
                </a:solidFill>
                <a:latin typeface="Calibri,Bold"/>
              </a:rPr>
              <a:t>P</a:t>
            </a:r>
            <a:r>
              <a:rPr lang="en-US" b="1" spc="-27" dirty="0">
                <a:solidFill>
                  <a:srgbClr val="663300"/>
                </a:solidFill>
                <a:latin typeface="Calibri,Bold"/>
              </a:rPr>
              <a:t>R</a:t>
            </a:r>
            <a:r>
              <a:rPr lang="en-US" b="1" dirty="0">
                <a:solidFill>
                  <a:srgbClr val="663300"/>
                </a:solidFill>
                <a:latin typeface="Calibri,Bold"/>
              </a:rPr>
              <a:t>OGRAMAS </a:t>
            </a:r>
          </a:p>
        </p:txBody>
      </p:sp>
      <p:sp>
        <p:nvSpPr>
          <p:cNvPr id="471" name="Rectangle 471"/>
          <p:cNvSpPr/>
          <p:nvPr/>
        </p:nvSpPr>
        <p:spPr>
          <a:xfrm>
            <a:off x="1921608" y="8191710"/>
            <a:ext cx="3478260" cy="276999"/>
          </a:xfrm>
          <a:prstGeom prst="rect">
            <a:avLst/>
          </a:prstGeom>
        </p:spPr>
        <p:txBody>
          <a:bodyPr wrap="none" lIns="0" tIns="0" rIns="0" bIns="0">
            <a:spAutoFit/>
          </a:bodyPr>
          <a:lstStyle/>
          <a:p>
            <a:r>
              <a:rPr lang="en-US" b="1" dirty="0">
                <a:solidFill>
                  <a:srgbClr val="003300"/>
                </a:solidFill>
                <a:latin typeface="Calibri,Bold"/>
              </a:rPr>
              <a:t>GE</a:t>
            </a:r>
            <a:r>
              <a:rPr lang="en-US" b="1" spc="-24" dirty="0">
                <a:solidFill>
                  <a:srgbClr val="003300"/>
                </a:solidFill>
                <a:latin typeface="Calibri,Bold"/>
              </a:rPr>
              <a:t>S</a:t>
            </a:r>
            <a:r>
              <a:rPr lang="en-US" b="1" spc="-135" dirty="0">
                <a:solidFill>
                  <a:srgbClr val="003300"/>
                </a:solidFill>
                <a:latin typeface="Calibri,Bold"/>
              </a:rPr>
              <a:t>T</a:t>
            </a:r>
            <a:r>
              <a:rPr lang="en-US" b="1" dirty="0">
                <a:solidFill>
                  <a:srgbClr val="003300"/>
                </a:solidFill>
                <a:latin typeface="Calibri,Bold"/>
              </a:rPr>
              <a:t>ÃO</a:t>
            </a:r>
            <a:r>
              <a:rPr lang="en-US" b="1" spc="-30" dirty="0">
                <a:solidFill>
                  <a:srgbClr val="003300"/>
                </a:solidFill>
                <a:latin typeface="Calibri,Bold"/>
              </a:rPr>
              <a:t> </a:t>
            </a:r>
            <a:r>
              <a:rPr lang="en-US" b="1" dirty="0">
                <a:solidFill>
                  <a:srgbClr val="003300"/>
                </a:solidFill>
                <a:latin typeface="Calibri,Bold"/>
              </a:rPr>
              <a:t>     </a:t>
            </a:r>
            <a:r>
              <a:rPr lang="en-US" b="1" spc="-38" dirty="0">
                <a:solidFill>
                  <a:srgbClr val="003300"/>
                </a:solidFill>
                <a:latin typeface="Calibri,Bold"/>
              </a:rPr>
              <a:t>D</a:t>
            </a:r>
            <a:r>
              <a:rPr lang="en-US" b="1" dirty="0">
                <a:solidFill>
                  <a:srgbClr val="003300"/>
                </a:solidFill>
                <a:latin typeface="Calibri,Bold"/>
              </a:rPr>
              <a:t>A     E</a:t>
            </a:r>
            <a:r>
              <a:rPr lang="en-US" b="1" spc="-24" dirty="0">
                <a:solidFill>
                  <a:srgbClr val="003300"/>
                </a:solidFill>
                <a:latin typeface="Calibri,Bold"/>
              </a:rPr>
              <a:t>S</a:t>
            </a:r>
            <a:r>
              <a:rPr lang="en-US" b="1" dirty="0">
                <a:solidFill>
                  <a:srgbClr val="003300"/>
                </a:solidFill>
                <a:latin typeface="Calibri,Bold"/>
              </a:rPr>
              <a:t>TR</a:t>
            </a:r>
            <a:r>
              <a:rPr lang="en-US" b="1" spc="-138" dirty="0">
                <a:solidFill>
                  <a:srgbClr val="003300"/>
                </a:solidFill>
                <a:latin typeface="Calibri,Bold"/>
              </a:rPr>
              <a:t>A</a:t>
            </a:r>
            <a:r>
              <a:rPr lang="en-US" b="1" dirty="0">
                <a:solidFill>
                  <a:srgbClr val="003300"/>
                </a:solidFill>
                <a:latin typeface="Calibri,Bold"/>
              </a:rPr>
              <a:t>TÉGIA</a:t>
            </a:r>
            <a:r>
              <a:rPr lang="en-US" dirty="0">
                <a:solidFill>
                  <a:srgbClr val="003300"/>
                </a:solidFill>
                <a:latin typeface="Calibri"/>
              </a:rPr>
              <a:t> </a:t>
            </a:r>
          </a:p>
        </p:txBody>
      </p:sp>
      <p:sp>
        <p:nvSpPr>
          <p:cNvPr id="472" name="Rectangle 472"/>
          <p:cNvSpPr/>
          <p:nvPr/>
        </p:nvSpPr>
        <p:spPr>
          <a:xfrm>
            <a:off x="1335960" y="7114738"/>
            <a:ext cx="6971780" cy="279757"/>
          </a:xfrm>
          <a:prstGeom prst="rect">
            <a:avLst/>
          </a:prstGeom>
        </p:spPr>
        <p:txBody>
          <a:bodyPr wrap="none" lIns="0" tIns="0" rIns="0" bIns="0">
            <a:spAutoFit/>
          </a:bodyPr>
          <a:lstStyle/>
          <a:p>
            <a:pPr>
              <a:tabLst>
                <a:tab pos="6904634" algn="l"/>
                <a:tab pos="6904634" algn="l"/>
              </a:tabLst>
            </a:pPr>
            <a:r>
              <a:rPr lang="en-US" b="1" dirty="0">
                <a:latin typeface="Calibri,Bold"/>
              </a:rPr>
              <a:t>DEFININDO OS</a:t>
            </a:r>
            <a:r>
              <a:rPr lang="en-US" b="1" spc="-17" dirty="0">
                <a:latin typeface="Calibri,Bold"/>
              </a:rPr>
              <a:t> </a:t>
            </a:r>
            <a:r>
              <a:rPr lang="en-US" b="1" dirty="0">
                <a:latin typeface="Calibri,Bold"/>
              </a:rPr>
              <a:t>RUMOS </a:t>
            </a:r>
            <a:r>
              <a:rPr lang="en-US" b="1" spc="-38" dirty="0">
                <a:latin typeface="Calibri,Bold"/>
              </a:rPr>
              <a:t>D</a:t>
            </a:r>
            <a:r>
              <a:rPr lang="en-US" b="1" dirty="0">
                <a:latin typeface="Calibri,Bold"/>
              </a:rPr>
              <a:t>A O</a:t>
            </a:r>
            <a:r>
              <a:rPr lang="en-US" b="1" spc="-24" dirty="0">
                <a:latin typeface="Calibri,Bold"/>
              </a:rPr>
              <a:t>R</a:t>
            </a:r>
            <a:r>
              <a:rPr lang="en-US" b="1" dirty="0">
                <a:latin typeface="Calibri,Bold"/>
              </a:rPr>
              <a:t>GANIZAÇÃO</a:t>
            </a:r>
            <a:r>
              <a:rPr lang="en-US" dirty="0">
                <a:latin typeface="Calibri"/>
              </a:rPr>
              <a:t>                  </a:t>
            </a:r>
            <a:r>
              <a:rPr lang="en-US" sz="2727" b="1" baseline="30166" dirty="0">
                <a:latin typeface="Calibri,Bold"/>
              </a:rPr>
              <a:t>O	</a:t>
            </a:r>
          </a:p>
        </p:txBody>
      </p:sp>
      <p:sp>
        <p:nvSpPr>
          <p:cNvPr id="473" name="Rectangle 473"/>
          <p:cNvSpPr/>
          <p:nvPr/>
        </p:nvSpPr>
        <p:spPr>
          <a:xfrm>
            <a:off x="7179237" y="7003469"/>
            <a:ext cx="1282402" cy="276999"/>
          </a:xfrm>
          <a:prstGeom prst="rect">
            <a:avLst/>
          </a:prstGeom>
        </p:spPr>
        <p:txBody>
          <a:bodyPr wrap="none" lIns="0" tIns="0" rIns="0" bIns="0">
            <a:spAutoFit/>
          </a:bodyPr>
          <a:lstStyle/>
          <a:p>
            <a:r>
              <a:rPr lang="en-US" b="1" dirty="0">
                <a:latin typeface="Calibri,Bold"/>
              </a:rPr>
              <a:t>TIMIZANDO</a:t>
            </a:r>
          </a:p>
        </p:txBody>
      </p:sp>
      <p:sp>
        <p:nvSpPr>
          <p:cNvPr id="474" name="Rectangle 474"/>
          <p:cNvSpPr/>
          <p:nvPr/>
        </p:nvSpPr>
        <p:spPr>
          <a:xfrm>
            <a:off x="9839449" y="7113866"/>
            <a:ext cx="64120" cy="276999"/>
          </a:xfrm>
          <a:prstGeom prst="rect">
            <a:avLst/>
          </a:prstGeom>
        </p:spPr>
        <p:txBody>
          <a:bodyPr wrap="none" lIns="0" tIns="0" rIns="0" bIns="0">
            <a:spAutoFit/>
          </a:bodyPr>
          <a:lstStyle/>
          <a:p>
            <a:r>
              <a:rPr lang="en-US" b="1" dirty="0">
                <a:latin typeface="Calibri,Bold"/>
              </a:rPr>
              <a:t> </a:t>
            </a:r>
          </a:p>
        </p:txBody>
      </p:sp>
      <p:sp>
        <p:nvSpPr>
          <p:cNvPr id="475" name="Rectangle 475"/>
          <p:cNvSpPr/>
          <p:nvPr/>
        </p:nvSpPr>
        <p:spPr>
          <a:xfrm>
            <a:off x="8605871" y="7008351"/>
            <a:ext cx="818557" cy="276999"/>
          </a:xfrm>
          <a:prstGeom prst="rect">
            <a:avLst/>
          </a:prstGeom>
        </p:spPr>
        <p:txBody>
          <a:bodyPr wrap="none" lIns="0" tIns="0" rIns="0" bIns="0">
            <a:spAutoFit/>
          </a:bodyPr>
          <a:lstStyle/>
          <a:p>
            <a:r>
              <a:rPr lang="en-US" b="1" dirty="0">
                <a:latin typeface="Calibri,Bold"/>
              </a:rPr>
              <a:t>A</a:t>
            </a:r>
            <a:r>
              <a:rPr lang="en-US" b="1" spc="-17" dirty="0">
                <a:latin typeface="Calibri,Bold"/>
              </a:rPr>
              <a:t>Ç</a:t>
            </a:r>
            <a:r>
              <a:rPr lang="en-US" b="1" dirty="0">
                <a:latin typeface="Calibri,Bold"/>
              </a:rPr>
              <a:t>ÕES</a:t>
            </a:r>
          </a:p>
        </p:txBody>
      </p:sp>
      <p:sp>
        <p:nvSpPr>
          <p:cNvPr id="476" name="Rectangle 476"/>
          <p:cNvSpPr/>
          <p:nvPr/>
        </p:nvSpPr>
        <p:spPr>
          <a:xfrm>
            <a:off x="9496531" y="7010904"/>
            <a:ext cx="3196068" cy="276999"/>
          </a:xfrm>
          <a:prstGeom prst="rect">
            <a:avLst/>
          </a:prstGeom>
        </p:spPr>
        <p:txBody>
          <a:bodyPr wrap="none" lIns="0" tIns="0" rIns="0" bIns="0">
            <a:spAutoFit/>
          </a:bodyPr>
          <a:lstStyle/>
          <a:p>
            <a:r>
              <a:rPr lang="en-US" b="1" spc="-17" dirty="0">
                <a:latin typeface="Calibri,Bold"/>
              </a:rPr>
              <a:t> </a:t>
            </a:r>
            <a:r>
              <a:rPr lang="en-US" b="1" dirty="0">
                <a:latin typeface="Calibri,Bold"/>
              </a:rPr>
              <a:t>E O</a:t>
            </a:r>
            <a:r>
              <a:rPr lang="en-US" b="1" spc="-39" dirty="0">
                <a:latin typeface="Calibri,Bold"/>
              </a:rPr>
              <a:t>B</a:t>
            </a:r>
            <a:r>
              <a:rPr lang="en-US" b="1" dirty="0">
                <a:latin typeface="Calibri,Bold"/>
              </a:rPr>
              <a:t>TENDO RESU</a:t>
            </a:r>
            <a:r>
              <a:rPr lang="en-US" b="1" spc="-132" dirty="0">
                <a:latin typeface="Calibri,Bold"/>
              </a:rPr>
              <a:t>L</a:t>
            </a:r>
            <a:r>
              <a:rPr lang="en-US" b="1" spc="-135" dirty="0">
                <a:latin typeface="Calibri,Bold"/>
              </a:rPr>
              <a:t>T</a:t>
            </a:r>
            <a:r>
              <a:rPr lang="en-US" b="1" dirty="0">
                <a:latin typeface="Calibri,Bold"/>
              </a:rPr>
              <a:t>ADOS  </a:t>
            </a:r>
            <a:r>
              <a:rPr lang="en-US" dirty="0">
                <a:latin typeface="Calibri"/>
              </a:rPr>
              <a:t> </a:t>
            </a:r>
          </a:p>
        </p:txBody>
      </p:sp>
      <p:sp>
        <p:nvSpPr>
          <p:cNvPr id="477" name="Rectangle 477"/>
          <p:cNvSpPr/>
          <p:nvPr/>
        </p:nvSpPr>
        <p:spPr>
          <a:xfrm>
            <a:off x="7855493" y="5261477"/>
            <a:ext cx="1692323" cy="541174"/>
          </a:xfrm>
          <a:prstGeom prst="rect">
            <a:avLst/>
          </a:prstGeom>
        </p:spPr>
        <p:txBody>
          <a:bodyPr wrap="none" lIns="0" tIns="0" rIns="0" bIns="0">
            <a:spAutoFit/>
          </a:bodyPr>
          <a:lstStyle/>
          <a:p>
            <a:pPr marL="89153"/>
            <a:r>
              <a:rPr lang="en-US" b="1" dirty="0">
                <a:latin typeface="Calibri,Bold"/>
              </a:rPr>
              <a:t>PO</a:t>
            </a:r>
            <a:r>
              <a:rPr lang="en-US" b="1" spc="-21" dirty="0">
                <a:latin typeface="Calibri,Bold"/>
              </a:rPr>
              <a:t>R</a:t>
            </a:r>
            <a:r>
              <a:rPr lang="en-US" b="1" dirty="0">
                <a:latin typeface="Calibri,Bold"/>
              </a:rPr>
              <a:t>T</a:t>
            </a:r>
            <a:r>
              <a:rPr lang="en-US" b="1" spc="-17" dirty="0">
                <a:latin typeface="Calibri,Bold"/>
              </a:rPr>
              <a:t>F</a:t>
            </a:r>
            <a:r>
              <a:rPr lang="en-US" b="1" dirty="0">
                <a:latin typeface="Calibri,Bold"/>
              </a:rPr>
              <a:t>OLIO </a:t>
            </a:r>
          </a:p>
          <a:p>
            <a:pPr>
              <a:lnSpc>
                <a:spcPts val="2159"/>
              </a:lnSpc>
            </a:pPr>
            <a:r>
              <a:rPr lang="en-US" b="1" dirty="0">
                <a:latin typeface="Calibri,Bold"/>
              </a:rPr>
              <a:t>DE P</a:t>
            </a:r>
            <a:r>
              <a:rPr lang="en-US" b="1" spc="-27" dirty="0">
                <a:latin typeface="Calibri,Bold"/>
              </a:rPr>
              <a:t>R</a:t>
            </a:r>
            <a:r>
              <a:rPr lang="en-US" b="1" dirty="0">
                <a:latin typeface="Calibri,Bold"/>
              </a:rPr>
              <a:t>OJE</a:t>
            </a:r>
            <a:r>
              <a:rPr lang="en-US" b="1" spc="-44" dirty="0">
                <a:latin typeface="Calibri,Bold"/>
              </a:rPr>
              <a:t>T</a:t>
            </a:r>
            <a:r>
              <a:rPr lang="en-US" b="1" dirty="0">
                <a:latin typeface="Calibri,Bold"/>
              </a:rPr>
              <a:t>OS </a:t>
            </a:r>
          </a:p>
        </p:txBody>
      </p:sp>
      <p:sp>
        <p:nvSpPr>
          <p:cNvPr id="478" name="Rectangle 478"/>
          <p:cNvSpPr/>
          <p:nvPr/>
        </p:nvSpPr>
        <p:spPr>
          <a:xfrm>
            <a:off x="7148355" y="4017741"/>
            <a:ext cx="577081" cy="364843"/>
          </a:xfrm>
          <a:prstGeom prst="rect">
            <a:avLst/>
          </a:prstGeom>
        </p:spPr>
        <p:txBody>
          <a:bodyPr wrap="none" lIns="0" tIns="0" rIns="0" bIns="0">
            <a:spAutoFit/>
          </a:bodyPr>
          <a:lstStyle/>
          <a:p>
            <a:r>
              <a:rPr lang="en-US" sz="1204" dirty="0">
                <a:latin typeface="Calibri"/>
              </a:rPr>
              <a:t>Business </a:t>
            </a:r>
          </a:p>
          <a:p>
            <a:pPr marL="121158">
              <a:lnSpc>
                <a:spcPts val="1440"/>
              </a:lnSpc>
            </a:pPr>
            <a:r>
              <a:rPr lang="en-US" sz="1204" dirty="0">
                <a:latin typeface="Calibri"/>
              </a:rPr>
              <a:t>Case </a:t>
            </a:r>
          </a:p>
        </p:txBody>
      </p:sp>
      <p:sp>
        <p:nvSpPr>
          <p:cNvPr id="479" name="Rectangle 479"/>
          <p:cNvSpPr/>
          <p:nvPr/>
        </p:nvSpPr>
        <p:spPr>
          <a:xfrm>
            <a:off x="10207404" y="5694903"/>
            <a:ext cx="268471" cy="185307"/>
          </a:xfrm>
          <a:prstGeom prst="rect">
            <a:avLst/>
          </a:prstGeom>
        </p:spPr>
        <p:txBody>
          <a:bodyPr wrap="none" lIns="0" tIns="0" rIns="0" bIns="0">
            <a:spAutoFit/>
          </a:bodyPr>
          <a:lstStyle/>
          <a:p>
            <a:r>
              <a:rPr lang="en-US" sz="1204" dirty="0">
                <a:latin typeface="Calibri"/>
              </a:rPr>
              <a:t>TAP </a:t>
            </a:r>
          </a:p>
        </p:txBody>
      </p:sp>
      <p:sp>
        <p:nvSpPr>
          <p:cNvPr id="480" name="Rectangle 480"/>
          <p:cNvSpPr/>
          <p:nvPr/>
        </p:nvSpPr>
        <p:spPr>
          <a:xfrm>
            <a:off x="2908589" y="3086310"/>
            <a:ext cx="1359475" cy="728405"/>
          </a:xfrm>
          <a:prstGeom prst="rect">
            <a:avLst/>
          </a:prstGeom>
        </p:spPr>
        <p:txBody>
          <a:bodyPr wrap="none" lIns="0" tIns="0" rIns="0" bIns="0">
            <a:spAutoFit/>
          </a:bodyPr>
          <a:lstStyle/>
          <a:p>
            <a:r>
              <a:rPr lang="en-US" sz="2394" dirty="0">
                <a:latin typeface="Calibri"/>
              </a:rPr>
              <a:t>Análise</a:t>
            </a:r>
            <a:r>
              <a:rPr lang="en-US" sz="2394" spc="-24" dirty="0">
                <a:latin typeface="Calibri"/>
              </a:rPr>
              <a:t> </a:t>
            </a:r>
            <a:r>
              <a:rPr lang="en-US" sz="2394" dirty="0">
                <a:latin typeface="Calibri"/>
              </a:rPr>
              <a:t>do </a:t>
            </a:r>
          </a:p>
          <a:p>
            <a:pPr marL="34289">
              <a:lnSpc>
                <a:spcPts val="2880"/>
              </a:lnSpc>
            </a:pPr>
            <a:r>
              <a:rPr lang="en-US" sz="2394" dirty="0">
                <a:latin typeface="Calibri"/>
              </a:rPr>
              <a:t>Ambiente </a:t>
            </a:r>
          </a:p>
        </p:txBody>
      </p:sp>
      <p:sp>
        <p:nvSpPr>
          <p:cNvPr id="481" name="Rectangle 481"/>
          <p:cNvSpPr/>
          <p:nvPr/>
        </p:nvSpPr>
        <p:spPr>
          <a:xfrm>
            <a:off x="4482309" y="1516573"/>
            <a:ext cx="4789773" cy="368434"/>
          </a:xfrm>
          <a:prstGeom prst="rect">
            <a:avLst/>
          </a:prstGeom>
        </p:spPr>
        <p:txBody>
          <a:bodyPr wrap="none" lIns="0" tIns="0" rIns="0" bIns="0">
            <a:spAutoFit/>
          </a:bodyPr>
          <a:lstStyle/>
          <a:p>
            <a:r>
              <a:rPr lang="en-US" sz="2394" b="1" spc="-132" dirty="0">
                <a:solidFill>
                  <a:srgbClr val="000066"/>
                </a:solidFill>
                <a:latin typeface="Arial"/>
              </a:rPr>
              <a:t>T</a:t>
            </a:r>
            <a:r>
              <a:rPr lang="en-US" sz="2394" b="1" dirty="0">
                <a:solidFill>
                  <a:srgbClr val="000066"/>
                </a:solidFill>
                <a:latin typeface="Arial"/>
              </a:rPr>
              <a:t>radução da Estratégia em</a:t>
            </a:r>
            <a:r>
              <a:rPr lang="en-US" sz="2394" b="1" spc="-75" dirty="0">
                <a:solidFill>
                  <a:srgbClr val="000066"/>
                </a:solidFill>
                <a:latin typeface="Arial"/>
              </a:rPr>
              <a:t> </a:t>
            </a:r>
            <a:r>
              <a:rPr lang="en-US" sz="2394" b="1" spc="-72" dirty="0">
                <a:solidFill>
                  <a:srgbClr val="000066"/>
                </a:solidFill>
                <a:latin typeface="Arial"/>
              </a:rPr>
              <a:t>A</a:t>
            </a:r>
            <a:r>
              <a:rPr lang="en-US" sz="2394" b="1" dirty="0">
                <a:solidFill>
                  <a:srgbClr val="000066"/>
                </a:solidFill>
                <a:latin typeface="Arial"/>
              </a:rPr>
              <a:t>ção </a:t>
            </a:r>
          </a:p>
        </p:txBody>
      </p:sp>
      <p:sp>
        <p:nvSpPr>
          <p:cNvPr id="482" name="Rectangle 482"/>
          <p:cNvSpPr/>
          <p:nvPr/>
        </p:nvSpPr>
        <p:spPr>
          <a:xfrm>
            <a:off x="4348720" y="4526745"/>
            <a:ext cx="1238224" cy="243785"/>
          </a:xfrm>
          <a:prstGeom prst="rect">
            <a:avLst/>
          </a:prstGeom>
        </p:spPr>
        <p:txBody>
          <a:bodyPr wrap="none" lIns="0" tIns="0" rIns="0" bIns="0">
            <a:spAutoFit/>
          </a:bodyPr>
          <a:lstStyle/>
          <a:p>
            <a:r>
              <a:rPr lang="en-US" sz="1584" dirty="0">
                <a:latin typeface="Arial"/>
              </a:rPr>
              <a:t>OBJETIV</a:t>
            </a:r>
            <a:r>
              <a:rPr lang="en-US" sz="1584" spc="-26" dirty="0">
                <a:latin typeface="Arial"/>
              </a:rPr>
              <a:t>O</a:t>
            </a:r>
            <a:r>
              <a:rPr lang="en-US" sz="1584" dirty="0">
                <a:latin typeface="Arial"/>
              </a:rPr>
              <a:t>S</a:t>
            </a:r>
            <a:r>
              <a:rPr lang="en-US" sz="1584" spc="-53" dirty="0">
                <a:latin typeface="Arial"/>
              </a:rPr>
              <a:t>  </a:t>
            </a:r>
          </a:p>
        </p:txBody>
      </p:sp>
      <p:sp>
        <p:nvSpPr>
          <p:cNvPr id="483" name="Rectangle 483"/>
          <p:cNvSpPr/>
          <p:nvPr/>
        </p:nvSpPr>
        <p:spPr>
          <a:xfrm>
            <a:off x="4308028" y="4789580"/>
            <a:ext cx="1265411" cy="731354"/>
          </a:xfrm>
          <a:prstGeom prst="rect">
            <a:avLst/>
          </a:prstGeom>
        </p:spPr>
        <p:txBody>
          <a:bodyPr wrap="none" lIns="0" tIns="0" rIns="0" bIns="0">
            <a:spAutoFit/>
          </a:bodyPr>
          <a:lstStyle/>
          <a:p>
            <a:pPr marL="96011"/>
            <a:r>
              <a:rPr lang="en-US" sz="1584" dirty="0">
                <a:latin typeface="Arial"/>
              </a:rPr>
              <a:t>E</a:t>
            </a:r>
            <a:r>
              <a:rPr lang="en-US" sz="1584" spc="-27" dirty="0">
                <a:latin typeface="Arial"/>
              </a:rPr>
              <a:t> </a:t>
            </a:r>
            <a:r>
              <a:rPr lang="en-US" sz="1584" dirty="0">
                <a:latin typeface="Arial"/>
              </a:rPr>
              <a:t>METAS:</a:t>
            </a:r>
          </a:p>
          <a:p>
            <a:pPr marL="96011"/>
            <a:r>
              <a:rPr lang="en-US" sz="1584" dirty="0" err="1">
                <a:latin typeface="Arial"/>
              </a:rPr>
              <a:t>Diretrizes</a:t>
            </a:r>
            <a:endParaRPr lang="en-US" sz="1584" dirty="0">
              <a:latin typeface="Arial"/>
            </a:endParaRPr>
          </a:p>
          <a:p>
            <a:pPr marL="96011"/>
            <a:r>
              <a:rPr lang="en-US" sz="1584" dirty="0" err="1">
                <a:latin typeface="Arial"/>
              </a:rPr>
              <a:t>Estratégicas</a:t>
            </a:r>
            <a:r>
              <a:rPr lang="en-US" sz="1584" dirty="0">
                <a:latin typeface="Arial"/>
              </a:rPr>
              <a:t> </a:t>
            </a:r>
          </a:p>
        </p:txBody>
      </p:sp>
      <p:sp>
        <p:nvSpPr>
          <p:cNvPr id="484" name="Rectangle 484"/>
          <p:cNvSpPr/>
          <p:nvPr/>
        </p:nvSpPr>
        <p:spPr>
          <a:xfrm>
            <a:off x="2147412" y="2250551"/>
            <a:ext cx="2876428" cy="276999"/>
          </a:xfrm>
          <a:prstGeom prst="rect">
            <a:avLst/>
          </a:prstGeom>
        </p:spPr>
        <p:txBody>
          <a:bodyPr wrap="none" lIns="0" tIns="0" rIns="0" bIns="0">
            <a:spAutoFit/>
          </a:bodyPr>
          <a:lstStyle/>
          <a:p>
            <a:r>
              <a:rPr lang="en-US" b="1" dirty="0">
                <a:solidFill>
                  <a:srgbClr val="663300"/>
                </a:solidFill>
                <a:latin typeface="Calibri,Bold"/>
              </a:rPr>
              <a:t>Missã</a:t>
            </a:r>
            <a:r>
              <a:rPr lang="en-US" b="1" spc="-18" dirty="0">
                <a:solidFill>
                  <a:srgbClr val="663300"/>
                </a:solidFill>
                <a:latin typeface="Calibri,Bold"/>
              </a:rPr>
              <a:t>o</a:t>
            </a:r>
            <a:r>
              <a:rPr lang="en-US" b="1" dirty="0">
                <a:solidFill>
                  <a:srgbClr val="663300"/>
                </a:solidFill>
                <a:latin typeface="Calibri,Bold"/>
              </a:rPr>
              <a:t>,  visão e </a:t>
            </a:r>
            <a:r>
              <a:rPr lang="en-US" b="1" spc="-24" dirty="0">
                <a:solidFill>
                  <a:srgbClr val="663300"/>
                </a:solidFill>
                <a:latin typeface="Calibri,Bold"/>
              </a:rPr>
              <a:t>v</a:t>
            </a:r>
            <a:r>
              <a:rPr lang="en-US" b="1" dirty="0">
                <a:solidFill>
                  <a:srgbClr val="663300"/>
                </a:solidFill>
                <a:latin typeface="Calibri,Bold"/>
              </a:rPr>
              <a:t>alores</a:t>
            </a:r>
            <a:r>
              <a:rPr lang="en-US" b="1" spc="-28" dirty="0">
                <a:solidFill>
                  <a:srgbClr val="663300"/>
                </a:solidFill>
                <a:latin typeface="Calibri,Bold"/>
              </a:rPr>
              <a:t> </a:t>
            </a:r>
            <a:r>
              <a:rPr lang="en-US" b="1" dirty="0">
                <a:solidFill>
                  <a:srgbClr val="663300"/>
                </a:solidFill>
                <a:latin typeface="Calibri,Bold"/>
              </a:rPr>
              <a:t>   </a:t>
            </a:r>
          </a:p>
        </p:txBody>
      </p:sp>
      <p:sp>
        <p:nvSpPr>
          <p:cNvPr id="485" name="Rectangle 485"/>
          <p:cNvSpPr/>
          <p:nvPr/>
        </p:nvSpPr>
        <p:spPr>
          <a:xfrm>
            <a:off x="10329120" y="6064396"/>
            <a:ext cx="2706382" cy="246221"/>
          </a:xfrm>
          <a:prstGeom prst="rect">
            <a:avLst/>
          </a:prstGeom>
        </p:spPr>
        <p:txBody>
          <a:bodyPr wrap="none" lIns="0" tIns="0" rIns="0" bIns="0">
            <a:spAutoFit/>
          </a:bodyPr>
          <a:lstStyle/>
          <a:p>
            <a:r>
              <a:rPr lang="en-US" sz="1600" b="1" dirty="0">
                <a:latin typeface="Calibri,Bold"/>
              </a:rPr>
              <a:t>TRANS</a:t>
            </a:r>
            <a:r>
              <a:rPr lang="en-US" sz="1600" b="1" spc="-21" dirty="0">
                <a:latin typeface="Calibri,Bold"/>
              </a:rPr>
              <a:t>F</a:t>
            </a:r>
            <a:r>
              <a:rPr lang="en-US" sz="1600" b="1" dirty="0">
                <a:latin typeface="Calibri,Bold"/>
              </a:rPr>
              <a:t>ORMANDO IDÉIAS </a:t>
            </a:r>
          </a:p>
        </p:txBody>
      </p:sp>
      <p:sp>
        <p:nvSpPr>
          <p:cNvPr id="486" name="Rectangle 486"/>
          <p:cNvSpPr/>
          <p:nvPr/>
        </p:nvSpPr>
        <p:spPr>
          <a:xfrm>
            <a:off x="13255024" y="5998141"/>
            <a:ext cx="64120" cy="276999"/>
          </a:xfrm>
          <a:prstGeom prst="rect">
            <a:avLst/>
          </a:prstGeom>
        </p:spPr>
        <p:txBody>
          <a:bodyPr wrap="none" lIns="0" tIns="0" rIns="0" bIns="0">
            <a:spAutoFit/>
          </a:bodyPr>
          <a:lstStyle/>
          <a:p>
            <a:r>
              <a:rPr lang="en-US" b="1" dirty="0">
                <a:latin typeface="Calibri,Bold"/>
              </a:rPr>
              <a:t> </a:t>
            </a:r>
          </a:p>
        </p:txBody>
      </p:sp>
      <p:sp>
        <p:nvSpPr>
          <p:cNvPr id="487" name="Rectangle 487"/>
          <p:cNvSpPr/>
          <p:nvPr/>
        </p:nvSpPr>
        <p:spPr>
          <a:xfrm>
            <a:off x="11094565" y="6312495"/>
            <a:ext cx="1655261" cy="246221"/>
          </a:xfrm>
          <a:prstGeom prst="rect">
            <a:avLst/>
          </a:prstGeom>
        </p:spPr>
        <p:txBody>
          <a:bodyPr wrap="none" lIns="0" tIns="0" rIns="0" bIns="0">
            <a:spAutoFit/>
          </a:bodyPr>
          <a:lstStyle/>
          <a:p>
            <a:r>
              <a:rPr lang="en-US" sz="1600" b="1" dirty="0">
                <a:latin typeface="Calibri,Bold"/>
              </a:rPr>
              <a:t>EM R</a:t>
            </a:r>
            <a:r>
              <a:rPr lang="en-US" sz="1600" b="1" spc="-17" dirty="0">
                <a:latin typeface="Calibri,Bold"/>
              </a:rPr>
              <a:t>E</a:t>
            </a:r>
            <a:r>
              <a:rPr lang="en-US" sz="1600" b="1" dirty="0">
                <a:latin typeface="Calibri,Bold"/>
              </a:rPr>
              <a:t>ALI</a:t>
            </a:r>
            <a:r>
              <a:rPr lang="en-US" sz="1600" b="1" spc="-38" dirty="0">
                <a:latin typeface="Calibri,Bold"/>
              </a:rPr>
              <a:t>D</a:t>
            </a:r>
            <a:r>
              <a:rPr lang="en-US" sz="1600" b="1" dirty="0">
                <a:latin typeface="Calibri,Bold"/>
              </a:rPr>
              <a:t>ADE </a:t>
            </a:r>
            <a:r>
              <a:rPr lang="en-US" sz="1600" dirty="0">
                <a:latin typeface="Calibri"/>
              </a:rPr>
              <a:t> </a:t>
            </a:r>
          </a:p>
        </p:txBody>
      </p:sp>
      <p:sp>
        <p:nvSpPr>
          <p:cNvPr id="488" name="Rectangle 488"/>
          <p:cNvSpPr/>
          <p:nvPr/>
        </p:nvSpPr>
        <p:spPr>
          <a:xfrm>
            <a:off x="10267413" y="8502494"/>
            <a:ext cx="3227037" cy="276999"/>
          </a:xfrm>
          <a:prstGeom prst="rect">
            <a:avLst/>
          </a:prstGeom>
        </p:spPr>
        <p:txBody>
          <a:bodyPr wrap="none" lIns="0" tIns="0" rIns="0" bIns="0">
            <a:spAutoFit/>
          </a:bodyPr>
          <a:lstStyle/>
          <a:p>
            <a:r>
              <a:rPr lang="en-US" b="1" dirty="0">
                <a:solidFill>
                  <a:srgbClr val="003300"/>
                </a:solidFill>
                <a:latin typeface="Calibri,Bold"/>
              </a:rPr>
              <a:t>P</a:t>
            </a:r>
            <a:r>
              <a:rPr lang="en-US" b="1" spc="-27" dirty="0">
                <a:solidFill>
                  <a:srgbClr val="003300"/>
                </a:solidFill>
                <a:latin typeface="Calibri,Bold"/>
              </a:rPr>
              <a:t>R</a:t>
            </a:r>
            <a:r>
              <a:rPr lang="en-US" b="1" dirty="0">
                <a:solidFill>
                  <a:srgbClr val="003300"/>
                </a:solidFill>
                <a:latin typeface="Calibri,Bold"/>
              </a:rPr>
              <a:t>OGRAMAS</a:t>
            </a:r>
            <a:r>
              <a:rPr lang="en-US" b="1" spc="-17" dirty="0">
                <a:solidFill>
                  <a:srgbClr val="003300"/>
                </a:solidFill>
                <a:latin typeface="Calibri,Bold"/>
              </a:rPr>
              <a:t> </a:t>
            </a:r>
            <a:r>
              <a:rPr lang="en-US" b="1" dirty="0">
                <a:solidFill>
                  <a:srgbClr val="003300"/>
                </a:solidFill>
                <a:latin typeface="Calibri,Bold"/>
              </a:rPr>
              <a:t>E P</a:t>
            </a:r>
            <a:r>
              <a:rPr lang="en-US" b="1" spc="-28" dirty="0">
                <a:solidFill>
                  <a:srgbClr val="003300"/>
                </a:solidFill>
                <a:latin typeface="Calibri,Bold"/>
              </a:rPr>
              <a:t>R</a:t>
            </a:r>
            <a:r>
              <a:rPr lang="en-US" b="1" dirty="0">
                <a:solidFill>
                  <a:srgbClr val="003300"/>
                </a:solidFill>
                <a:latin typeface="Calibri,Bold"/>
              </a:rPr>
              <a:t>OJE</a:t>
            </a:r>
            <a:r>
              <a:rPr lang="en-US" b="1" spc="-44" dirty="0">
                <a:solidFill>
                  <a:srgbClr val="003300"/>
                </a:solidFill>
                <a:latin typeface="Calibri,Bold"/>
              </a:rPr>
              <a:t>T</a:t>
            </a:r>
            <a:r>
              <a:rPr lang="en-US" b="1" dirty="0">
                <a:solidFill>
                  <a:srgbClr val="003300"/>
                </a:solidFill>
                <a:latin typeface="Calibri,Bold"/>
              </a:rPr>
              <a:t>OS  </a:t>
            </a:r>
            <a:r>
              <a:rPr lang="en-US" dirty="0">
                <a:solidFill>
                  <a:srgbClr val="003300"/>
                </a:solidFill>
                <a:latin typeface="Calibri"/>
              </a:rPr>
              <a:t> </a:t>
            </a:r>
          </a:p>
        </p:txBody>
      </p:sp>
      <p:sp>
        <p:nvSpPr>
          <p:cNvPr id="489" name="Rectangle 489"/>
          <p:cNvSpPr/>
          <p:nvPr/>
        </p:nvSpPr>
        <p:spPr>
          <a:xfrm>
            <a:off x="5422298" y="9196083"/>
            <a:ext cx="3405356" cy="276999"/>
          </a:xfrm>
          <a:prstGeom prst="rect">
            <a:avLst/>
          </a:prstGeom>
        </p:spPr>
        <p:txBody>
          <a:bodyPr wrap="none" lIns="0" tIns="0" rIns="0" bIns="0">
            <a:spAutoFit/>
          </a:bodyPr>
          <a:lstStyle/>
          <a:p>
            <a:r>
              <a:rPr lang="en-US" b="1" dirty="0">
                <a:latin typeface="Calibri,Bold"/>
              </a:rPr>
              <a:t>OPERANDO A O</a:t>
            </a:r>
            <a:r>
              <a:rPr lang="en-US" b="1" spc="-24" dirty="0">
                <a:latin typeface="Calibri,Bold"/>
              </a:rPr>
              <a:t>R</a:t>
            </a:r>
            <a:r>
              <a:rPr lang="en-US" b="1" dirty="0">
                <a:latin typeface="Calibri,Bold"/>
              </a:rPr>
              <a:t>GANIZAÇÃO</a:t>
            </a:r>
            <a:r>
              <a:rPr lang="en-US" dirty="0">
                <a:latin typeface="Calibri"/>
              </a:rPr>
              <a:t> </a:t>
            </a:r>
          </a:p>
        </p:txBody>
      </p:sp>
      <p:sp>
        <p:nvSpPr>
          <p:cNvPr id="91" name="Rectangle 2">
            <a:extLst>
              <a:ext uri="{FF2B5EF4-FFF2-40B4-BE49-F238E27FC236}">
                <a16:creationId xmlns:a16="http://schemas.microsoft.com/office/drawing/2014/main" id="{FBEA754A-5AE5-4893-923E-B654DF52BD28}"/>
              </a:ext>
            </a:extLst>
          </p:cNvPr>
          <p:cNvSpPr>
            <a:spLocks noChangeArrowheads="1"/>
          </p:cNvSpPr>
          <p:nvPr/>
        </p:nvSpPr>
        <p:spPr bwMode="auto">
          <a:xfrm>
            <a:off x="657225" y="164307"/>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657225" y="164307"/>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
        <p:nvSpPr>
          <p:cNvPr id="7171" name="Text Box 2"/>
          <p:cNvSpPr txBox="1">
            <a:spLocks noChangeArrowheads="1"/>
          </p:cNvSpPr>
          <p:nvPr/>
        </p:nvSpPr>
        <p:spPr bwMode="auto">
          <a:xfrm>
            <a:off x="266701" y="1809751"/>
            <a:ext cx="12783988" cy="1882631"/>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just" eaLnBrk="1" hangingPunct="1">
              <a:defRPr/>
            </a:pPr>
            <a:r>
              <a:rPr lang="pt-BR" sz="3878" dirty="0">
                <a:latin typeface="Calibri" pitchFamily="34" charset="0"/>
                <a:cs typeface="Calibri" pitchFamily="34" charset="0"/>
              </a:rPr>
              <a:t>Agrupamento de projetos e programas visando tornar mais eficiente e eficaz o gerenciamento dos projetos a fim de atender aos objetivos estratégicos das organizações.</a:t>
            </a:r>
          </a:p>
        </p:txBody>
      </p:sp>
      <p:pic>
        <p:nvPicPr>
          <p:cNvPr id="77828" name="Picture 1" descr="Portfólio.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29445" y="4088822"/>
            <a:ext cx="10858500" cy="499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ixaDeTexto 5">
            <a:extLst>
              <a:ext uri="{FF2B5EF4-FFF2-40B4-BE49-F238E27FC236}">
                <a16:creationId xmlns:a16="http://schemas.microsoft.com/office/drawing/2014/main" id="{D05A0D51-FCF5-4F51-8103-F32A0B2D8323}"/>
              </a:ext>
            </a:extLst>
          </p:cNvPr>
          <p:cNvSpPr txBox="1"/>
          <p:nvPr/>
        </p:nvSpPr>
        <p:spPr>
          <a:xfrm>
            <a:off x="255657" y="9476362"/>
            <a:ext cx="12747948" cy="40011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pt-BR" sz="2000" b="1" dirty="0"/>
              <a:t>Programa se trata de um conjunto de projetos coordenados entre si de forma articulada, visando a objetivos comuns. </a:t>
            </a:r>
          </a:p>
        </p:txBody>
      </p:sp>
    </p:spTree>
    <p:custDataLst>
      <p:tags r:id="rId1"/>
    </p:custDataLst>
    <p:extLst>
      <p:ext uri="{BB962C8B-B14F-4D97-AF65-F5344CB8AC3E}">
        <p14:creationId xmlns:p14="http://schemas.microsoft.com/office/powerpoint/2010/main" val="2922580134"/>
      </p:ext>
    </p:extLst>
  </p:cSld>
  <p:clrMapOvr>
    <a:masterClrMapping/>
  </p:clrMapOvr>
  <p:transition>
    <p:strips dir="rd"/>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F9E860-EE1D-8E42-9FF3-FCB99AAF8372}"/>
              </a:ext>
            </a:extLst>
          </p:cNvPr>
          <p:cNvSpPr>
            <a:spLocks noGrp="1"/>
          </p:cNvSpPr>
          <p:nvPr>
            <p:ph type="ctrTitle"/>
          </p:nvPr>
        </p:nvSpPr>
        <p:spPr>
          <a:xfrm>
            <a:off x="377280" y="823020"/>
            <a:ext cx="12601400" cy="2205038"/>
          </a:xfrm>
        </p:spPr>
        <p:txBody>
          <a:bodyPr/>
          <a:lstStyle/>
          <a:p>
            <a:pPr algn="l"/>
            <a:r>
              <a:rPr lang="pt-BR" sz="2400" b="1" dirty="0"/>
              <a:t>O gerenciamento de programa </a:t>
            </a:r>
            <a:r>
              <a:rPr lang="pt-BR" sz="2400" dirty="0"/>
              <a:t>é uma abordagem estratégica para coordenar um conjunto de projetos relacionados e atividades interdependentes com o objetivo de alcançar benefícios e objetivos comuns. Ele se concentra na coordenação, integração e governança de um conjunto de projetos para garantir que eles sejam entregues de forma eficiente e eficaz, alinhados com a estratégia organizacional.</a:t>
            </a:r>
          </a:p>
        </p:txBody>
      </p:sp>
      <p:sp>
        <p:nvSpPr>
          <p:cNvPr id="3" name="Subtítulo 2">
            <a:extLst>
              <a:ext uri="{FF2B5EF4-FFF2-40B4-BE49-F238E27FC236}">
                <a16:creationId xmlns:a16="http://schemas.microsoft.com/office/drawing/2014/main" id="{CDCB73FE-9BF9-9E07-93EC-045AE1206C03}"/>
              </a:ext>
            </a:extLst>
          </p:cNvPr>
          <p:cNvSpPr>
            <a:spLocks noGrp="1"/>
          </p:cNvSpPr>
          <p:nvPr>
            <p:ph type="subTitle" idx="1"/>
          </p:nvPr>
        </p:nvSpPr>
        <p:spPr>
          <a:xfrm>
            <a:off x="98630" y="2839244"/>
            <a:ext cx="13158700" cy="2628900"/>
          </a:xfrm>
        </p:spPr>
        <p:txBody>
          <a:bodyPr/>
          <a:lstStyle/>
          <a:p>
            <a:pPr marL="342900" indent="-342900" algn="l">
              <a:buFont typeface="Wingdings" panose="05000000000000000000" pitchFamily="2" charset="2"/>
              <a:buChar char="ü"/>
            </a:pPr>
            <a:r>
              <a:rPr lang="pt-BR" sz="2400" b="1" dirty="0">
                <a:solidFill>
                  <a:srgbClr val="FF0000"/>
                </a:solidFill>
                <a:latin typeface="+mj-lt"/>
                <a:ea typeface="+mj-ea"/>
                <a:cs typeface="+mj-cs"/>
              </a:rPr>
              <a:t>Planejamento e organização: </a:t>
            </a:r>
            <a:r>
              <a:rPr lang="pt-BR" sz="2400" dirty="0">
                <a:latin typeface="+mj-lt"/>
                <a:ea typeface="+mj-ea"/>
                <a:cs typeface="+mj-cs"/>
              </a:rPr>
              <a:t>O gerente de programa é responsável por desenvolver um plano abrangente que detalhe as metas, os prazos, os recursos necessários e as dependências entre os projetos. Isso inclui a alocação de recursos, a definição de papéis e responsabilidades, e a identificação de riscos e mitigação dos mesmos, nos diversos projetos integrados ao programa.</a:t>
            </a:r>
          </a:p>
          <a:p>
            <a:pPr marL="342900" indent="-342900" algn="l">
              <a:buFont typeface="Wingdings" panose="05000000000000000000" pitchFamily="2" charset="2"/>
              <a:buChar char="ü"/>
            </a:pPr>
            <a:r>
              <a:rPr lang="pt-BR" sz="2400" b="1" dirty="0">
                <a:solidFill>
                  <a:srgbClr val="FF0000"/>
                </a:solidFill>
                <a:latin typeface="+mj-lt"/>
                <a:ea typeface="+mj-ea"/>
                <a:cs typeface="+mj-cs"/>
              </a:rPr>
              <a:t>Coordenação e integração: </a:t>
            </a:r>
            <a:r>
              <a:rPr lang="pt-BR" sz="2400" dirty="0">
                <a:latin typeface="+mj-lt"/>
                <a:ea typeface="+mj-ea"/>
                <a:cs typeface="+mj-cs"/>
              </a:rPr>
              <a:t>O gerente de programa deve garantir a coordenação eficaz entre os diferentes projetos e partes interessadas envolvidas. Isso envolve a comunicação regular, o acompanhamento do progresso, a resolução de problemas e a garantia de que os resultados individuais dos projetos sejam integrados e contribuam para os objetivos do programa.</a:t>
            </a:r>
          </a:p>
          <a:p>
            <a:pPr marL="342900" indent="-342900" algn="l">
              <a:buFont typeface="Wingdings" panose="05000000000000000000" pitchFamily="2" charset="2"/>
              <a:buChar char="ü"/>
            </a:pPr>
            <a:r>
              <a:rPr lang="pt-BR" sz="2400" b="1" dirty="0">
                <a:solidFill>
                  <a:srgbClr val="FF0000"/>
                </a:solidFill>
                <a:latin typeface="+mj-lt"/>
                <a:ea typeface="+mj-ea"/>
                <a:cs typeface="+mj-cs"/>
              </a:rPr>
              <a:t>Gerenciamento de partes interessadas: </a:t>
            </a:r>
            <a:r>
              <a:rPr lang="pt-BR" sz="2400" dirty="0">
                <a:latin typeface="+mj-lt"/>
                <a:ea typeface="+mj-ea"/>
                <a:cs typeface="+mj-cs"/>
              </a:rPr>
              <a:t>O gerente de programa deve envolver e gerenciar as partes interessadas relevantes, como patrocinadores, clientes, equipes de projeto e outras partes interessadas impactadas pelo programa. Isso inclui a comunicação eficaz, o gerenciamento de expectativas e a resolução de conflitos.</a:t>
            </a:r>
          </a:p>
          <a:p>
            <a:pPr marL="342900" indent="-342900" algn="l">
              <a:buFont typeface="Wingdings" panose="05000000000000000000" pitchFamily="2" charset="2"/>
              <a:buChar char="ü"/>
            </a:pPr>
            <a:r>
              <a:rPr lang="pt-BR" sz="2400" b="1" dirty="0">
                <a:solidFill>
                  <a:srgbClr val="FF0000"/>
                </a:solidFill>
                <a:latin typeface="+mj-lt"/>
                <a:ea typeface="+mj-ea"/>
                <a:cs typeface="+mj-cs"/>
              </a:rPr>
              <a:t>Gestão de mudanças: </a:t>
            </a:r>
            <a:r>
              <a:rPr lang="pt-BR" sz="2400" dirty="0">
                <a:latin typeface="+mj-lt"/>
                <a:ea typeface="+mj-ea"/>
                <a:cs typeface="+mj-cs"/>
              </a:rPr>
              <a:t>O gerente de programa deve lidar com as mudanças e os desafios que surgem ao longo do programa. Isso inclui a identificação de mudanças necessárias, a avaliação de seu impacto nos projetos individuais, a definição de estratégias de gerenciamento de mudanças e a comunicação eficaz com as partes interessadas afetadas.</a:t>
            </a:r>
          </a:p>
          <a:p>
            <a:pPr marL="342900" indent="-342900" algn="l">
              <a:buFont typeface="Wingdings" panose="05000000000000000000" pitchFamily="2" charset="2"/>
              <a:buChar char="ü"/>
            </a:pPr>
            <a:r>
              <a:rPr lang="pt-BR" sz="2400" b="1" dirty="0">
                <a:solidFill>
                  <a:srgbClr val="FF0000"/>
                </a:solidFill>
                <a:latin typeface="+mj-lt"/>
                <a:ea typeface="+mj-ea"/>
                <a:cs typeface="+mj-cs"/>
              </a:rPr>
              <a:t>Avaliação e encerramento: </a:t>
            </a:r>
            <a:r>
              <a:rPr lang="pt-BR" sz="2400" dirty="0">
                <a:latin typeface="+mj-lt"/>
                <a:ea typeface="+mj-ea"/>
                <a:cs typeface="+mj-cs"/>
              </a:rPr>
              <a:t>Após a conclusão do programa, o gerente de programa deve realizar uma avaliação abrangente para revisar os resultados, identificar lições aprendidas e realizar um encerramento adequado do programa. Isso envolve a documentação dos resultados alcançados.</a:t>
            </a:r>
          </a:p>
        </p:txBody>
      </p:sp>
      <p:sp>
        <p:nvSpPr>
          <p:cNvPr id="4" name="Rectangle 2">
            <a:extLst>
              <a:ext uri="{FF2B5EF4-FFF2-40B4-BE49-F238E27FC236}">
                <a16:creationId xmlns:a16="http://schemas.microsoft.com/office/drawing/2014/main" id="{5BD270F6-502F-D215-5ADA-D51593B8006E}"/>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spTree>
    <p:extLst>
      <p:ext uri="{BB962C8B-B14F-4D97-AF65-F5344CB8AC3E}">
        <p14:creationId xmlns:p14="http://schemas.microsoft.com/office/powerpoint/2010/main" val="7950863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Conteúdo 2">
            <a:extLst>
              <a:ext uri="{FF2B5EF4-FFF2-40B4-BE49-F238E27FC236}">
                <a16:creationId xmlns:a16="http://schemas.microsoft.com/office/drawing/2014/main" id="{A3FEF0B6-9629-D175-F8DB-8F2A84A26B2F}"/>
              </a:ext>
            </a:extLst>
          </p:cNvPr>
          <p:cNvSpPr txBox="1">
            <a:spLocks/>
          </p:cNvSpPr>
          <p:nvPr/>
        </p:nvSpPr>
        <p:spPr>
          <a:xfrm>
            <a:off x="175333" y="679004"/>
            <a:ext cx="11933410" cy="4895850"/>
          </a:xfrm>
          <a:prstGeom prst="rect">
            <a:avLst/>
          </a:prstGeom>
        </p:spPr>
        <p:txBody>
          <a:bodyPr/>
          <a:lstStyle>
            <a:lvl1pPr marL="0" indent="0" algn="ctr" rtl="0" eaLnBrk="1" fontAlgn="base" hangingPunct="1">
              <a:spcBef>
                <a:spcPct val="20000"/>
              </a:spcBef>
              <a:spcAft>
                <a:spcPct val="0"/>
              </a:spcAft>
              <a:buFont typeface="Arial" panose="020B0604020202020204" pitchFamily="34" charset="0"/>
              <a:buNone/>
              <a:defRPr sz="3600" kern="1200">
                <a:solidFill>
                  <a:schemeClr val="tx1"/>
                </a:solidFill>
                <a:latin typeface="+mn-lt"/>
                <a:ea typeface="+mn-ea"/>
                <a:cs typeface="+mn-cs"/>
              </a:defRPr>
            </a:lvl1pPr>
            <a:lvl2pPr marL="685800" indent="0" algn="ctr" rtl="0" eaLnBrk="1" fontAlgn="base" hangingPunct="1">
              <a:spcBef>
                <a:spcPct val="20000"/>
              </a:spcBef>
              <a:spcAft>
                <a:spcPct val="0"/>
              </a:spcAft>
              <a:buFont typeface="Arial" panose="020B0604020202020204" pitchFamily="34" charset="0"/>
              <a:buNone/>
              <a:defRPr sz="3150" kern="1200">
                <a:solidFill>
                  <a:schemeClr val="tx1"/>
                </a:solidFill>
                <a:latin typeface="+mn-lt"/>
                <a:ea typeface="+mn-ea"/>
                <a:cs typeface="+mn-cs"/>
              </a:defRPr>
            </a:lvl2pPr>
            <a:lvl3pPr marL="1371600" indent="0" algn="ctr" rtl="0" eaLnBrk="1" fontAlgn="base" hangingPunct="1">
              <a:spcBef>
                <a:spcPct val="20000"/>
              </a:spcBef>
              <a:spcAft>
                <a:spcPct val="0"/>
              </a:spcAft>
              <a:buFont typeface="Arial" panose="020B0604020202020204" pitchFamily="34" charset="0"/>
              <a:buNone/>
              <a:defRPr sz="2700" kern="1200">
                <a:solidFill>
                  <a:schemeClr val="tx1"/>
                </a:solidFill>
                <a:latin typeface="+mn-lt"/>
                <a:ea typeface="+mn-ea"/>
                <a:cs typeface="+mn-cs"/>
              </a:defRPr>
            </a:lvl3pPr>
            <a:lvl4pPr marL="20574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4pPr>
            <a:lvl5pPr marL="27432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5pPr>
            <a:lvl6pPr marL="34290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6pPr>
            <a:lvl7pPr marL="41148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7pPr>
            <a:lvl8pPr marL="48006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8pPr>
            <a:lvl9pPr marL="54864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9pPr>
          </a:lstStyle>
          <a:p>
            <a:pPr>
              <a:defRPr/>
            </a:pPr>
            <a:r>
              <a:rPr lang="pt-BR" sz="4000" b="1" dirty="0">
                <a:solidFill>
                  <a:srgbClr val="FF0000"/>
                </a:solidFill>
              </a:rPr>
              <a:t>Gerenciamento de Stakeholders</a:t>
            </a:r>
          </a:p>
          <a:p>
            <a:pPr lvl="1">
              <a:buClr>
                <a:schemeClr val="bg1"/>
              </a:buClr>
              <a:buFont typeface="Wingdings" pitchFamily="2" charset="2"/>
              <a:buChar char="§"/>
              <a:defRPr/>
            </a:pPr>
            <a:r>
              <a:rPr lang="pt-BR" sz="3200" dirty="0"/>
              <a:t>Focado diretamente em organizações, empresas e indivíduos onde os resultados e interesses podem ser afetados pelos Programas.</a:t>
            </a:r>
          </a:p>
          <a:p>
            <a:pPr lvl="1">
              <a:buClr>
                <a:schemeClr val="bg1"/>
              </a:buClr>
              <a:buFont typeface="Wingdings" pitchFamily="2" charset="2"/>
              <a:buChar char="§"/>
              <a:defRPr/>
            </a:pPr>
            <a:endParaRPr lang="pt-BR" sz="3200" dirty="0"/>
          </a:p>
          <a:p>
            <a:pPr lvl="1">
              <a:buClr>
                <a:schemeClr val="bg1"/>
              </a:buClr>
              <a:buFont typeface="Wingdings" pitchFamily="2" charset="2"/>
              <a:buChar char="§"/>
              <a:defRPr/>
            </a:pPr>
            <a:r>
              <a:rPr lang="pt-BR" sz="3200" dirty="0"/>
              <a:t>Programas podem ser constituídos de múltiplos Projetos e até mesmo por operações, portanto, a quantidade de interessados e seus vários tipos e níveis de </a:t>
            </a:r>
            <a:r>
              <a:rPr lang="pt-BR" sz="3200" i="1" dirty="0"/>
              <a:t>stakeholders</a:t>
            </a:r>
            <a:r>
              <a:rPr lang="pt-BR" sz="3200" dirty="0"/>
              <a:t> podem ser muito diversificados.</a:t>
            </a:r>
          </a:p>
          <a:p>
            <a:pPr lvl="1">
              <a:buClr>
                <a:schemeClr val="bg1"/>
              </a:buClr>
              <a:buFont typeface="Wingdings" pitchFamily="2" charset="2"/>
              <a:buChar char="§"/>
              <a:defRPr/>
            </a:pPr>
            <a:endParaRPr lang="pt-BR" sz="3200" dirty="0"/>
          </a:p>
          <a:p>
            <a:pPr lvl="1">
              <a:buClr>
                <a:schemeClr val="bg1"/>
              </a:buClr>
              <a:buFont typeface="Wingdings" pitchFamily="2" charset="2"/>
              <a:buChar char="§"/>
              <a:defRPr/>
            </a:pPr>
            <a:r>
              <a:rPr lang="pt-BR" sz="3200" dirty="0"/>
              <a:t>Possuir um bom modelo de gestão capaz de envolver, comunicar e até mesmo influenciar os </a:t>
            </a:r>
            <a:r>
              <a:rPr lang="pt-BR" sz="3200" i="1" dirty="0"/>
              <a:t>stakeholders</a:t>
            </a:r>
            <a:r>
              <a:rPr lang="pt-BR" sz="3200" dirty="0"/>
              <a:t>, visando atingir as metas para o sucesso do Programa.</a:t>
            </a:r>
          </a:p>
        </p:txBody>
      </p:sp>
      <p:sp>
        <p:nvSpPr>
          <p:cNvPr id="5" name="Rectangle 2">
            <a:extLst>
              <a:ext uri="{FF2B5EF4-FFF2-40B4-BE49-F238E27FC236}">
                <a16:creationId xmlns:a16="http://schemas.microsoft.com/office/drawing/2014/main" id="{8742F870-2376-9924-B087-9FE328684AF1}"/>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pic>
        <p:nvPicPr>
          <p:cNvPr id="6" name="Imagem 5">
            <a:extLst>
              <a:ext uri="{FF2B5EF4-FFF2-40B4-BE49-F238E27FC236}">
                <a16:creationId xmlns:a16="http://schemas.microsoft.com/office/drawing/2014/main" id="{B862565E-FBFD-4026-E5EC-5F0B5E1D5BD0}"/>
              </a:ext>
            </a:extLst>
          </p:cNvPr>
          <p:cNvPicPr>
            <a:picLocks noChangeAspect="1"/>
          </p:cNvPicPr>
          <p:nvPr/>
        </p:nvPicPr>
        <p:blipFill>
          <a:blip r:embed="rId2"/>
          <a:stretch>
            <a:fillRect/>
          </a:stretch>
        </p:blipFill>
        <p:spPr>
          <a:xfrm>
            <a:off x="9594304" y="7807796"/>
            <a:ext cx="2017951" cy="2267909"/>
          </a:xfrm>
          <a:prstGeom prst="rect">
            <a:avLst/>
          </a:prstGeom>
        </p:spPr>
      </p:pic>
    </p:spTree>
    <p:extLst>
      <p:ext uri="{BB962C8B-B14F-4D97-AF65-F5344CB8AC3E}">
        <p14:creationId xmlns:p14="http://schemas.microsoft.com/office/powerpoint/2010/main" val="18323246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Conteúdo 2">
            <a:extLst>
              <a:ext uri="{FF2B5EF4-FFF2-40B4-BE49-F238E27FC236}">
                <a16:creationId xmlns:a16="http://schemas.microsoft.com/office/drawing/2014/main" id="{A3FEF0B6-9629-D175-F8DB-8F2A84A26B2F}"/>
              </a:ext>
            </a:extLst>
          </p:cNvPr>
          <p:cNvSpPr txBox="1">
            <a:spLocks/>
          </p:cNvSpPr>
          <p:nvPr/>
        </p:nvSpPr>
        <p:spPr>
          <a:xfrm>
            <a:off x="175333" y="679004"/>
            <a:ext cx="11933410" cy="4895850"/>
          </a:xfrm>
          <a:prstGeom prst="rect">
            <a:avLst/>
          </a:prstGeom>
        </p:spPr>
        <p:txBody>
          <a:bodyPr/>
          <a:lstStyle>
            <a:lvl1pPr marL="0" indent="0" algn="ctr" rtl="0" eaLnBrk="1" fontAlgn="base" hangingPunct="1">
              <a:spcBef>
                <a:spcPct val="20000"/>
              </a:spcBef>
              <a:spcAft>
                <a:spcPct val="0"/>
              </a:spcAft>
              <a:buFont typeface="Arial" panose="020B0604020202020204" pitchFamily="34" charset="0"/>
              <a:buNone/>
              <a:defRPr sz="3600" kern="1200">
                <a:solidFill>
                  <a:schemeClr val="tx1"/>
                </a:solidFill>
                <a:latin typeface="+mn-lt"/>
                <a:ea typeface="+mn-ea"/>
                <a:cs typeface="+mn-cs"/>
              </a:defRPr>
            </a:lvl1pPr>
            <a:lvl2pPr marL="685800" indent="0" algn="ctr" rtl="0" eaLnBrk="1" fontAlgn="base" hangingPunct="1">
              <a:spcBef>
                <a:spcPct val="20000"/>
              </a:spcBef>
              <a:spcAft>
                <a:spcPct val="0"/>
              </a:spcAft>
              <a:buFont typeface="Arial" panose="020B0604020202020204" pitchFamily="34" charset="0"/>
              <a:buNone/>
              <a:defRPr sz="3150" kern="1200">
                <a:solidFill>
                  <a:schemeClr val="tx1"/>
                </a:solidFill>
                <a:latin typeface="+mn-lt"/>
                <a:ea typeface="+mn-ea"/>
                <a:cs typeface="+mn-cs"/>
              </a:defRPr>
            </a:lvl2pPr>
            <a:lvl3pPr marL="1371600" indent="0" algn="ctr" rtl="0" eaLnBrk="1" fontAlgn="base" hangingPunct="1">
              <a:spcBef>
                <a:spcPct val="20000"/>
              </a:spcBef>
              <a:spcAft>
                <a:spcPct val="0"/>
              </a:spcAft>
              <a:buFont typeface="Arial" panose="020B0604020202020204" pitchFamily="34" charset="0"/>
              <a:buNone/>
              <a:defRPr sz="2700" kern="1200">
                <a:solidFill>
                  <a:schemeClr val="tx1"/>
                </a:solidFill>
                <a:latin typeface="+mn-lt"/>
                <a:ea typeface="+mn-ea"/>
                <a:cs typeface="+mn-cs"/>
              </a:defRPr>
            </a:lvl3pPr>
            <a:lvl4pPr marL="20574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4pPr>
            <a:lvl5pPr marL="27432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5pPr>
            <a:lvl6pPr marL="34290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6pPr>
            <a:lvl7pPr marL="41148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7pPr>
            <a:lvl8pPr marL="48006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8pPr>
            <a:lvl9pPr marL="54864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9pPr>
          </a:lstStyle>
          <a:p>
            <a:pPr>
              <a:defRPr/>
            </a:pPr>
            <a:r>
              <a:rPr lang="pt-BR" sz="4000" b="1" dirty="0">
                <a:solidFill>
                  <a:srgbClr val="FF0000"/>
                </a:solidFill>
              </a:rPr>
              <a:t>Governança</a:t>
            </a:r>
          </a:p>
          <a:p>
            <a:pPr>
              <a:defRPr/>
            </a:pPr>
            <a:r>
              <a:rPr lang="pt-BR" sz="4000" dirty="0"/>
              <a:t>Consiste em estabelecer </a:t>
            </a:r>
            <a:r>
              <a:rPr lang="pt-BR" sz="4000" b="1" dirty="0"/>
              <a:t>uma metodologia </a:t>
            </a:r>
            <a:r>
              <a:rPr lang="pt-BR" sz="4000" dirty="0"/>
              <a:t>de Gestão de Programas, que envolva políticas, processos, procedimentos, modelos, estrutura organizacional, gestão de riscos, custos e etc. </a:t>
            </a:r>
          </a:p>
          <a:p>
            <a:pPr>
              <a:defRPr/>
            </a:pPr>
            <a:r>
              <a:rPr lang="pt-BR" sz="4000" dirty="0"/>
              <a:t>Guia para a gestão, visando uma grande probabilidade de sucesso em busca dos objetivos traçados pela Organização.</a:t>
            </a:r>
          </a:p>
          <a:p>
            <a:pPr>
              <a:defRPr/>
            </a:pPr>
            <a:r>
              <a:rPr lang="pt-BR" sz="4000" dirty="0"/>
              <a:t>Permite executar, monitorar e controlar todas as fases de um Programa, acompanhando os investimentos, progressos, desvios, ações e principalmente os benefícios.</a:t>
            </a:r>
          </a:p>
        </p:txBody>
      </p:sp>
      <p:sp>
        <p:nvSpPr>
          <p:cNvPr id="5" name="Rectangle 2">
            <a:extLst>
              <a:ext uri="{FF2B5EF4-FFF2-40B4-BE49-F238E27FC236}">
                <a16:creationId xmlns:a16="http://schemas.microsoft.com/office/drawing/2014/main" id="{8742F870-2376-9924-B087-9FE328684AF1}"/>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pic>
        <p:nvPicPr>
          <p:cNvPr id="2" name="Imagem 1">
            <a:extLst>
              <a:ext uri="{FF2B5EF4-FFF2-40B4-BE49-F238E27FC236}">
                <a16:creationId xmlns:a16="http://schemas.microsoft.com/office/drawing/2014/main" id="{D56A7613-9B7D-A436-649C-EB0E72A081C9}"/>
              </a:ext>
            </a:extLst>
          </p:cNvPr>
          <p:cNvPicPr>
            <a:picLocks noChangeAspect="1"/>
          </p:cNvPicPr>
          <p:nvPr/>
        </p:nvPicPr>
        <p:blipFill>
          <a:blip r:embed="rId2"/>
          <a:stretch>
            <a:fillRect/>
          </a:stretch>
        </p:blipFill>
        <p:spPr>
          <a:xfrm>
            <a:off x="8226152" y="7807796"/>
            <a:ext cx="2017951" cy="2267909"/>
          </a:xfrm>
          <a:prstGeom prst="rect">
            <a:avLst/>
          </a:prstGeom>
        </p:spPr>
      </p:pic>
    </p:spTree>
    <p:extLst>
      <p:ext uri="{BB962C8B-B14F-4D97-AF65-F5344CB8AC3E}">
        <p14:creationId xmlns:p14="http://schemas.microsoft.com/office/powerpoint/2010/main" val="1725407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Conteúdo 2">
            <a:extLst>
              <a:ext uri="{FF2B5EF4-FFF2-40B4-BE49-F238E27FC236}">
                <a16:creationId xmlns:a16="http://schemas.microsoft.com/office/drawing/2014/main" id="{A3FEF0B6-9629-D175-F8DB-8F2A84A26B2F}"/>
              </a:ext>
            </a:extLst>
          </p:cNvPr>
          <p:cNvSpPr txBox="1">
            <a:spLocks/>
          </p:cNvSpPr>
          <p:nvPr/>
        </p:nvSpPr>
        <p:spPr>
          <a:xfrm>
            <a:off x="161256" y="751012"/>
            <a:ext cx="12457384" cy="4895850"/>
          </a:xfrm>
          <a:prstGeom prst="rect">
            <a:avLst/>
          </a:prstGeom>
        </p:spPr>
        <p:txBody>
          <a:bodyPr/>
          <a:lstStyle>
            <a:lvl1pPr marL="0" indent="0" algn="ctr" rtl="0" eaLnBrk="1" fontAlgn="base" hangingPunct="1">
              <a:spcBef>
                <a:spcPct val="20000"/>
              </a:spcBef>
              <a:spcAft>
                <a:spcPct val="0"/>
              </a:spcAft>
              <a:buFont typeface="Arial" panose="020B0604020202020204" pitchFamily="34" charset="0"/>
              <a:buNone/>
              <a:defRPr sz="3600" kern="1200">
                <a:solidFill>
                  <a:schemeClr val="tx1"/>
                </a:solidFill>
                <a:latin typeface="+mn-lt"/>
                <a:ea typeface="+mn-ea"/>
                <a:cs typeface="+mn-cs"/>
              </a:defRPr>
            </a:lvl1pPr>
            <a:lvl2pPr marL="685800" indent="0" algn="ctr" rtl="0" eaLnBrk="1" fontAlgn="base" hangingPunct="1">
              <a:spcBef>
                <a:spcPct val="20000"/>
              </a:spcBef>
              <a:spcAft>
                <a:spcPct val="0"/>
              </a:spcAft>
              <a:buFont typeface="Arial" panose="020B0604020202020204" pitchFamily="34" charset="0"/>
              <a:buNone/>
              <a:defRPr sz="3150" kern="1200">
                <a:solidFill>
                  <a:schemeClr val="tx1"/>
                </a:solidFill>
                <a:latin typeface="+mn-lt"/>
                <a:ea typeface="+mn-ea"/>
                <a:cs typeface="+mn-cs"/>
              </a:defRPr>
            </a:lvl2pPr>
            <a:lvl3pPr marL="1371600" indent="0" algn="ctr" rtl="0" eaLnBrk="1" fontAlgn="base" hangingPunct="1">
              <a:spcBef>
                <a:spcPct val="20000"/>
              </a:spcBef>
              <a:spcAft>
                <a:spcPct val="0"/>
              </a:spcAft>
              <a:buFont typeface="Arial" panose="020B0604020202020204" pitchFamily="34" charset="0"/>
              <a:buNone/>
              <a:defRPr sz="2700" kern="1200">
                <a:solidFill>
                  <a:schemeClr val="tx1"/>
                </a:solidFill>
                <a:latin typeface="+mn-lt"/>
                <a:ea typeface="+mn-ea"/>
                <a:cs typeface="+mn-cs"/>
              </a:defRPr>
            </a:lvl3pPr>
            <a:lvl4pPr marL="20574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4pPr>
            <a:lvl5pPr marL="2743200" indent="0" algn="ctr" rtl="0" eaLnBrk="1" fontAlgn="base" hangingPunct="1">
              <a:spcBef>
                <a:spcPct val="20000"/>
              </a:spcBef>
              <a:spcAft>
                <a:spcPct val="0"/>
              </a:spcAft>
              <a:buFont typeface="Arial" panose="020B0604020202020204" pitchFamily="34" charset="0"/>
              <a:buNone/>
              <a:defRPr sz="2249" kern="1200">
                <a:solidFill>
                  <a:schemeClr val="tx1"/>
                </a:solidFill>
                <a:latin typeface="+mn-lt"/>
                <a:ea typeface="+mn-ea"/>
                <a:cs typeface="+mn-cs"/>
              </a:defRPr>
            </a:lvl5pPr>
            <a:lvl6pPr marL="34290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6pPr>
            <a:lvl7pPr marL="41148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7pPr>
            <a:lvl8pPr marL="48006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8pPr>
            <a:lvl9pPr marL="5486400" indent="0" algn="ctr" defTabSz="1028573" rtl="0" eaLnBrk="1" latinLnBrk="0" hangingPunct="1">
              <a:spcBef>
                <a:spcPct val="20000"/>
              </a:spcBef>
              <a:buFont typeface="Arial" pitchFamily="34" charset="0"/>
              <a:buNone/>
              <a:defRPr sz="2249" kern="1200">
                <a:solidFill>
                  <a:schemeClr val="tx1"/>
                </a:solidFill>
                <a:latin typeface="+mn-lt"/>
                <a:ea typeface="+mn-ea"/>
                <a:cs typeface="+mn-cs"/>
              </a:defRPr>
            </a:lvl9pPr>
          </a:lstStyle>
          <a:p>
            <a:pPr>
              <a:defRPr/>
            </a:pPr>
            <a:r>
              <a:rPr lang="pt-BR" sz="4000" b="1" dirty="0">
                <a:solidFill>
                  <a:srgbClr val="FF0000"/>
                </a:solidFill>
              </a:rPr>
              <a:t>Gestão dos Benefícios</a:t>
            </a:r>
          </a:p>
          <a:p>
            <a:pPr>
              <a:defRPr/>
            </a:pPr>
            <a:r>
              <a:rPr lang="pt-BR" sz="4000" dirty="0"/>
              <a:t>Administrar os projetos do programa; </a:t>
            </a:r>
          </a:p>
          <a:p>
            <a:pPr>
              <a:defRPr/>
            </a:pPr>
            <a:r>
              <a:rPr lang="pt-BR" sz="4000" dirty="0"/>
              <a:t>Coordenar os produtos gerados no programa que criam benefícios incrementais; </a:t>
            </a:r>
          </a:p>
          <a:p>
            <a:pPr>
              <a:defRPr/>
            </a:pPr>
            <a:r>
              <a:rPr lang="pt-BR" sz="4000" dirty="0"/>
              <a:t>maior parte do trabalho do programa ocorre através dos projetos integrados, feita de forma iterativa (iteração refere-se à repetição de uma série de instruções ou ações para alcançar um objetivo específico);</a:t>
            </a:r>
          </a:p>
          <a:p>
            <a:pPr>
              <a:defRPr/>
            </a:pPr>
            <a:r>
              <a:rPr lang="pt-BR" sz="4000" dirty="0"/>
              <a:t>atividades são repetidas tantas vezes quantas necessárias para cumprimento das metas em cada projeto; </a:t>
            </a:r>
          </a:p>
          <a:p>
            <a:pPr>
              <a:defRPr/>
            </a:pPr>
            <a:r>
              <a:rPr lang="pt-BR" sz="4000" dirty="0"/>
              <a:t>benefícios são atingidos cumulativamente.</a:t>
            </a:r>
          </a:p>
        </p:txBody>
      </p:sp>
      <p:sp>
        <p:nvSpPr>
          <p:cNvPr id="5" name="Rectangle 2">
            <a:extLst>
              <a:ext uri="{FF2B5EF4-FFF2-40B4-BE49-F238E27FC236}">
                <a16:creationId xmlns:a16="http://schemas.microsoft.com/office/drawing/2014/main" id="{8742F870-2376-9924-B087-9FE328684AF1}"/>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pic>
        <p:nvPicPr>
          <p:cNvPr id="2" name="Imagem 1">
            <a:extLst>
              <a:ext uri="{FF2B5EF4-FFF2-40B4-BE49-F238E27FC236}">
                <a16:creationId xmlns:a16="http://schemas.microsoft.com/office/drawing/2014/main" id="{89B03EB0-58FD-99C6-BAE7-69B39211061F}"/>
              </a:ext>
            </a:extLst>
          </p:cNvPr>
          <p:cNvPicPr>
            <a:picLocks noChangeAspect="1"/>
          </p:cNvPicPr>
          <p:nvPr/>
        </p:nvPicPr>
        <p:blipFill>
          <a:blip r:embed="rId2"/>
          <a:stretch>
            <a:fillRect/>
          </a:stretch>
        </p:blipFill>
        <p:spPr>
          <a:xfrm>
            <a:off x="10962456" y="7807796"/>
            <a:ext cx="2019300" cy="2266950"/>
          </a:xfrm>
          <a:prstGeom prst="rect">
            <a:avLst/>
          </a:prstGeom>
        </p:spPr>
      </p:pic>
    </p:spTree>
    <p:extLst>
      <p:ext uri="{BB962C8B-B14F-4D97-AF65-F5344CB8AC3E}">
        <p14:creationId xmlns:p14="http://schemas.microsoft.com/office/powerpoint/2010/main" val="7724897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F9E860-EE1D-8E42-9FF3-FCB99AAF8372}"/>
              </a:ext>
            </a:extLst>
          </p:cNvPr>
          <p:cNvSpPr>
            <a:spLocks noGrp="1"/>
          </p:cNvSpPr>
          <p:nvPr>
            <p:ph type="ctrTitle"/>
          </p:nvPr>
        </p:nvSpPr>
        <p:spPr>
          <a:xfrm>
            <a:off x="377280" y="913579"/>
            <a:ext cx="12601400" cy="2205038"/>
          </a:xfrm>
        </p:spPr>
        <p:txBody>
          <a:bodyPr/>
          <a:lstStyle/>
          <a:p>
            <a:pPr marL="342900" indent="-342900" algn="l">
              <a:buFont typeface="Wingdings" panose="05000000000000000000" pitchFamily="2" charset="2"/>
              <a:buChar char="ü"/>
            </a:pPr>
            <a:r>
              <a:rPr lang="pt-BR" sz="2400" b="1" dirty="0">
                <a:solidFill>
                  <a:srgbClr val="FF0000"/>
                </a:solidFill>
              </a:rPr>
              <a:t>Exemplos: </a:t>
            </a:r>
            <a:br>
              <a:rPr lang="pt-BR" sz="2400" b="1" dirty="0"/>
            </a:br>
            <a:r>
              <a:rPr lang="pt-BR" sz="2400" b="1" dirty="0"/>
              <a:t>Programa de Construção de Hidrelétricas:</a:t>
            </a:r>
            <a:br>
              <a:rPr lang="pt-BR" sz="2400" b="1" dirty="0"/>
            </a:br>
            <a:r>
              <a:rPr lang="pt-BR" sz="2400" b="1" dirty="0"/>
              <a:t>Descrição: </a:t>
            </a:r>
            <a:r>
              <a:rPr lang="pt-BR" sz="2400" dirty="0"/>
              <a:t>Programa voltado para a construção de hidrelétricas visando a geração de energia elétrica.</a:t>
            </a:r>
            <a:br>
              <a:rPr lang="pt-BR" sz="2400" b="1" dirty="0"/>
            </a:br>
            <a:r>
              <a:rPr lang="pt-BR" sz="2400" b="1" dirty="0"/>
              <a:t>Desafios:</a:t>
            </a:r>
            <a:br>
              <a:rPr lang="pt-BR" sz="2400" b="1" dirty="0"/>
            </a:br>
            <a:br>
              <a:rPr lang="pt-BR" sz="2400" b="1" dirty="0"/>
            </a:br>
            <a:r>
              <a:rPr lang="pt-BR" sz="2400" b="1" dirty="0"/>
              <a:t>Complexidade ambiental: </a:t>
            </a:r>
            <a:r>
              <a:rPr lang="pt-BR" sz="2400" dirty="0"/>
              <a:t>A construção de hidrelétricas envolve impactos ambientais significativos, como o desmatamento, a inundação de áreas e o deslocamento de comunidades. É necessário lidar com questões ambientais sensíveis e implementar medidas de mitigação adequadas.</a:t>
            </a:r>
            <a:br>
              <a:rPr lang="pt-BR" sz="2400" dirty="0"/>
            </a:br>
            <a:r>
              <a:rPr lang="pt-BR" sz="2400" b="1" dirty="0"/>
              <a:t>Licenciamento e regulação: </a:t>
            </a:r>
            <a:r>
              <a:rPr lang="pt-BR" sz="2400" dirty="0"/>
              <a:t>É fundamental obter as licenças e autorizações necessárias para a construção e operação das hidrelétricas. Isso requer um processo complexo de avaliação de impacto ambiental e cumprimento de regulamentações governamentais, estruturação para diferentes frentes do programa, no local da obra, como vilas residenciais para o desenvolvimento do programa.</a:t>
            </a:r>
            <a:br>
              <a:rPr lang="pt-BR" sz="2400" dirty="0"/>
            </a:br>
            <a:r>
              <a:rPr lang="pt-BR" sz="2400" b="1" dirty="0"/>
              <a:t>Gestão de custos e cronogramas dos projetos integrados ao programa: </a:t>
            </a:r>
            <a:r>
              <a:rPr lang="pt-BR" sz="2400" dirty="0"/>
              <a:t>A construção de hidrelétricas envolve investimentos significativos e prazos longos. Gerenciar efetivamente os custos e o cronograma do programa é essencial para garantir sua viabilidade econômica e evitar atrasos. Para isto é importante garantir a melhor performance dos colaboradores, oferecendo as condições necessárias de trabalho.</a:t>
            </a:r>
          </a:p>
        </p:txBody>
      </p:sp>
      <p:sp>
        <p:nvSpPr>
          <p:cNvPr id="4" name="Rectangle 2">
            <a:extLst>
              <a:ext uri="{FF2B5EF4-FFF2-40B4-BE49-F238E27FC236}">
                <a16:creationId xmlns:a16="http://schemas.microsoft.com/office/drawing/2014/main" id="{5BD270F6-502F-D215-5ADA-D51593B8006E}"/>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pic>
        <p:nvPicPr>
          <p:cNvPr id="8" name="Imagem 7">
            <a:extLst>
              <a:ext uri="{FF2B5EF4-FFF2-40B4-BE49-F238E27FC236}">
                <a16:creationId xmlns:a16="http://schemas.microsoft.com/office/drawing/2014/main" id="{BA8FED5F-C57C-E9EA-DFF9-DC096AC6D0F6}"/>
              </a:ext>
            </a:extLst>
          </p:cNvPr>
          <p:cNvPicPr>
            <a:picLocks noChangeAspect="1"/>
          </p:cNvPicPr>
          <p:nvPr/>
        </p:nvPicPr>
        <p:blipFill>
          <a:blip r:embed="rId2"/>
          <a:stretch>
            <a:fillRect/>
          </a:stretch>
        </p:blipFill>
        <p:spPr>
          <a:xfrm>
            <a:off x="7146032" y="8103528"/>
            <a:ext cx="3452266" cy="2071360"/>
          </a:xfrm>
          <a:prstGeom prst="rect">
            <a:avLst/>
          </a:prstGeom>
        </p:spPr>
      </p:pic>
    </p:spTree>
    <p:extLst>
      <p:ext uri="{BB962C8B-B14F-4D97-AF65-F5344CB8AC3E}">
        <p14:creationId xmlns:p14="http://schemas.microsoft.com/office/powerpoint/2010/main" val="2961490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F9E860-EE1D-8E42-9FF3-FCB99AAF8372}"/>
              </a:ext>
            </a:extLst>
          </p:cNvPr>
          <p:cNvSpPr>
            <a:spLocks noGrp="1"/>
          </p:cNvSpPr>
          <p:nvPr>
            <p:ph type="ctrTitle"/>
          </p:nvPr>
        </p:nvSpPr>
        <p:spPr>
          <a:xfrm>
            <a:off x="377280" y="679004"/>
            <a:ext cx="12601400" cy="2205038"/>
          </a:xfrm>
        </p:spPr>
        <p:txBody>
          <a:bodyPr/>
          <a:lstStyle/>
          <a:p>
            <a:pPr marL="342900" indent="-342900" algn="l">
              <a:buFont typeface="Wingdings" panose="05000000000000000000" pitchFamily="2" charset="2"/>
              <a:buChar char="ü"/>
            </a:pPr>
            <a:r>
              <a:rPr lang="pt-BR" sz="2400" b="1" dirty="0">
                <a:solidFill>
                  <a:srgbClr val="FF0000"/>
                </a:solidFill>
              </a:rPr>
              <a:t>Exemplos:</a:t>
            </a:r>
            <a:br>
              <a:rPr lang="pt-BR" sz="2400" b="1" dirty="0"/>
            </a:br>
            <a:r>
              <a:rPr lang="pt-BR" sz="2400" b="1" dirty="0"/>
              <a:t>Programa de Expansão de Linhas de Metrô:</a:t>
            </a:r>
            <a:br>
              <a:rPr lang="pt-BR" sz="2400" dirty="0"/>
            </a:br>
            <a:r>
              <a:rPr lang="pt-BR" sz="2400" b="1" dirty="0"/>
              <a:t>Descrição: </a:t>
            </a:r>
            <a:r>
              <a:rPr lang="pt-BR" sz="2400" dirty="0"/>
              <a:t>Programa destinado a expandir a rede de transporte metropolitano através da construção de novas linhas de metrô.</a:t>
            </a:r>
            <a:br>
              <a:rPr lang="pt-BR" sz="2400" dirty="0"/>
            </a:br>
            <a:br>
              <a:rPr lang="pt-BR" sz="2400" dirty="0"/>
            </a:br>
            <a:r>
              <a:rPr lang="pt-BR" sz="2400" b="1" dirty="0"/>
              <a:t>Desafios:</a:t>
            </a:r>
            <a:br>
              <a:rPr lang="pt-BR" sz="2400" b="1" dirty="0"/>
            </a:br>
            <a:br>
              <a:rPr lang="pt-BR" sz="2400" dirty="0"/>
            </a:br>
            <a:r>
              <a:rPr lang="pt-BR" sz="2400" b="1" dirty="0"/>
              <a:t>Financiamento: </a:t>
            </a:r>
            <a:r>
              <a:rPr lang="pt-BR" sz="2400" dirty="0"/>
              <a:t>A expansão das linhas de metrô requer investimentos substanciais. Garantir o financiamento adequado do programa, seja por meio de recursos públicos ou parcerias público-privadas, é um desafio importante.</a:t>
            </a:r>
            <a:br>
              <a:rPr lang="pt-BR" sz="2400" dirty="0"/>
            </a:br>
            <a:br>
              <a:rPr lang="pt-BR" sz="2400" dirty="0"/>
            </a:br>
            <a:r>
              <a:rPr lang="pt-BR" sz="2400" b="1" dirty="0"/>
              <a:t>Planejamento urbano: </a:t>
            </a:r>
            <a:r>
              <a:rPr lang="pt-BR" sz="2400" dirty="0"/>
              <a:t>Integrar a expansão do metrô ao planejamento urbano existente pode ser um desafio, especialmente em áreas densamente povoadas. É necessário considerar questões como aquisição de terras, realocação de infraestruturas existentes e minimização dos impactos nas comunidades locais.</a:t>
            </a:r>
            <a:br>
              <a:rPr lang="pt-BR" sz="2400" dirty="0"/>
            </a:br>
            <a:br>
              <a:rPr lang="pt-BR" sz="2400" dirty="0"/>
            </a:br>
            <a:r>
              <a:rPr lang="pt-BR" sz="2400" b="1" dirty="0"/>
              <a:t>Engenharia de infraestrutura: </a:t>
            </a:r>
            <a:r>
              <a:rPr lang="pt-BR" sz="2400" dirty="0"/>
              <a:t>A construção de linhas de metrô envolve desafios técnicos complexos, como a escavação de túneis, a construção de estações subterrâneas e a integração com a infraestrutura existente. Garantir a qualidade da engenharia e a segurança da construção é fundamental.</a:t>
            </a:r>
          </a:p>
        </p:txBody>
      </p:sp>
      <p:sp>
        <p:nvSpPr>
          <p:cNvPr id="4" name="Rectangle 2">
            <a:extLst>
              <a:ext uri="{FF2B5EF4-FFF2-40B4-BE49-F238E27FC236}">
                <a16:creationId xmlns:a16="http://schemas.microsoft.com/office/drawing/2014/main" id="{5BD270F6-502F-D215-5ADA-D51593B8006E}"/>
              </a:ext>
            </a:extLst>
          </p:cNvPr>
          <p:cNvSpPr>
            <a:spLocks noChangeArrowheads="1"/>
          </p:cNvSpPr>
          <p:nvPr/>
        </p:nvSpPr>
        <p:spPr bwMode="auto">
          <a:xfrm>
            <a:off x="1097360" y="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rogramas </a:t>
            </a:r>
            <a:endParaRPr lang="en-GB" sz="3047" b="1" dirty="0">
              <a:solidFill>
                <a:schemeClr val="tx1"/>
              </a:solidFill>
              <a:latin typeface="Helvetica" panose="020B0604020202020204" pitchFamily="34" charset="0"/>
            </a:endParaRPr>
          </a:p>
        </p:txBody>
      </p:sp>
      <p:pic>
        <p:nvPicPr>
          <p:cNvPr id="3" name="Imagem 2">
            <a:extLst>
              <a:ext uri="{FF2B5EF4-FFF2-40B4-BE49-F238E27FC236}">
                <a16:creationId xmlns:a16="http://schemas.microsoft.com/office/drawing/2014/main" id="{CABFF1BB-CD36-7C71-D4C8-ACFB136F6073}"/>
              </a:ext>
            </a:extLst>
          </p:cNvPr>
          <p:cNvPicPr>
            <a:picLocks noChangeAspect="1"/>
          </p:cNvPicPr>
          <p:nvPr/>
        </p:nvPicPr>
        <p:blipFill>
          <a:blip r:embed="rId2"/>
          <a:stretch>
            <a:fillRect/>
          </a:stretch>
        </p:blipFill>
        <p:spPr>
          <a:xfrm>
            <a:off x="7794104" y="7735788"/>
            <a:ext cx="3608637" cy="2401384"/>
          </a:xfrm>
          <a:prstGeom prst="rect">
            <a:avLst/>
          </a:prstGeom>
        </p:spPr>
      </p:pic>
    </p:spTree>
    <p:extLst>
      <p:ext uri="{BB962C8B-B14F-4D97-AF65-F5344CB8AC3E}">
        <p14:creationId xmlns:p14="http://schemas.microsoft.com/office/powerpoint/2010/main" val="8171890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Agrupar 1">
            <a:extLst>
              <a:ext uri="{FF2B5EF4-FFF2-40B4-BE49-F238E27FC236}">
                <a16:creationId xmlns:a16="http://schemas.microsoft.com/office/drawing/2014/main" id="{81696AB5-153B-420A-A879-143EE500F421}"/>
              </a:ext>
            </a:extLst>
          </p:cNvPr>
          <p:cNvGrpSpPr/>
          <p:nvPr/>
        </p:nvGrpSpPr>
        <p:grpSpPr>
          <a:xfrm>
            <a:off x="528925" y="1471092"/>
            <a:ext cx="12658149" cy="7998587"/>
            <a:chOff x="598487" y="951586"/>
            <a:chExt cx="8438766" cy="5332391"/>
          </a:xfrm>
        </p:grpSpPr>
        <p:pic>
          <p:nvPicPr>
            <p:cNvPr id="495" name="Picture 49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008376" y="3248025"/>
              <a:ext cx="101600" cy="384175"/>
            </a:xfrm>
            <a:prstGeom prst="rect">
              <a:avLst/>
            </a:prstGeom>
            <a:noFill/>
          </p:spPr>
        </p:pic>
        <p:pic>
          <p:nvPicPr>
            <p:cNvPr id="496" name="Picture 49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622675" y="2605024"/>
              <a:ext cx="385698" cy="101600"/>
            </a:xfrm>
            <a:prstGeom prst="rect">
              <a:avLst/>
            </a:prstGeom>
            <a:noFill/>
          </p:spPr>
        </p:pic>
        <p:pic>
          <p:nvPicPr>
            <p:cNvPr id="497" name="Picture 49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598487" y="2957449"/>
              <a:ext cx="8339137" cy="111125"/>
            </a:xfrm>
            <a:prstGeom prst="rect">
              <a:avLst/>
            </a:prstGeom>
            <a:noFill/>
          </p:spPr>
        </p:pic>
        <p:sp>
          <p:nvSpPr>
            <p:cNvPr id="498" name="Freeform 498"/>
            <p:cNvSpPr/>
            <p:nvPr/>
          </p:nvSpPr>
          <p:spPr>
            <a:xfrm>
              <a:off x="611187" y="2371725"/>
              <a:ext cx="1641475" cy="558800"/>
            </a:xfrm>
            <a:custGeom>
              <a:avLst/>
              <a:gdLst/>
              <a:ahLst/>
              <a:cxnLst/>
              <a:rect l="0" t="0" r="0" b="0"/>
              <a:pathLst>
                <a:path w="1641475" h="558800">
                  <a:moveTo>
                    <a:pt x="0" y="558800"/>
                  </a:moveTo>
                  <a:lnTo>
                    <a:pt x="1641475" y="558800"/>
                  </a:lnTo>
                  <a:lnTo>
                    <a:pt x="1641475" y="0"/>
                  </a:lnTo>
                  <a:lnTo>
                    <a:pt x="0" y="0"/>
                  </a:lnTo>
                  <a:lnTo>
                    <a:pt x="0" y="558800"/>
                  </a:lnTo>
                  <a:close/>
                </a:path>
              </a:pathLst>
            </a:custGeom>
            <a:solidFill>
              <a:srgbClr val="EBEBEB">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499" name="Freeform 499"/>
            <p:cNvSpPr/>
            <p:nvPr/>
          </p:nvSpPr>
          <p:spPr>
            <a:xfrm>
              <a:off x="611187" y="2371725"/>
              <a:ext cx="1641475" cy="558800"/>
            </a:xfrm>
            <a:custGeom>
              <a:avLst/>
              <a:gdLst/>
              <a:ahLst/>
              <a:cxnLst/>
              <a:rect l="0" t="0" r="0" b="0"/>
              <a:pathLst>
                <a:path w="1641475" h="558800">
                  <a:moveTo>
                    <a:pt x="0" y="558800"/>
                  </a:moveTo>
                  <a:lnTo>
                    <a:pt x="1641475" y="558800"/>
                  </a:lnTo>
                  <a:lnTo>
                    <a:pt x="1641475" y="0"/>
                  </a:lnTo>
                  <a:lnTo>
                    <a:pt x="0" y="0"/>
                  </a:lnTo>
                  <a:lnTo>
                    <a:pt x="0" y="558800"/>
                  </a:lnTo>
                  <a:close/>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00" name="Freeform 500"/>
            <p:cNvSpPr/>
            <p:nvPr/>
          </p:nvSpPr>
          <p:spPr>
            <a:xfrm>
              <a:off x="3897376" y="3116327"/>
              <a:ext cx="2003425" cy="558800"/>
            </a:xfrm>
            <a:custGeom>
              <a:avLst/>
              <a:gdLst/>
              <a:ahLst/>
              <a:cxnLst/>
              <a:rect l="0" t="0" r="0" b="0"/>
              <a:pathLst>
                <a:path w="2003425" h="558800">
                  <a:moveTo>
                    <a:pt x="0" y="558800"/>
                  </a:moveTo>
                  <a:lnTo>
                    <a:pt x="2003425" y="558800"/>
                  </a:lnTo>
                  <a:lnTo>
                    <a:pt x="2003425" y="0"/>
                  </a:lnTo>
                  <a:lnTo>
                    <a:pt x="0" y="0"/>
                  </a:lnTo>
                  <a:lnTo>
                    <a:pt x="0" y="558800"/>
                  </a:lnTo>
                  <a:close/>
                </a:path>
              </a:pathLst>
            </a:custGeom>
            <a:solidFill>
              <a:srgbClr val="EBEBEB">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01" name="Freeform 501"/>
            <p:cNvSpPr/>
            <p:nvPr/>
          </p:nvSpPr>
          <p:spPr>
            <a:xfrm>
              <a:off x="3897376" y="3116327"/>
              <a:ext cx="2003425" cy="558800"/>
            </a:xfrm>
            <a:custGeom>
              <a:avLst/>
              <a:gdLst/>
              <a:ahLst/>
              <a:cxnLst/>
              <a:rect l="0" t="0" r="0" b="0"/>
              <a:pathLst>
                <a:path w="2003425" h="558800">
                  <a:moveTo>
                    <a:pt x="0" y="558800"/>
                  </a:moveTo>
                  <a:lnTo>
                    <a:pt x="2003425" y="558800"/>
                  </a:lnTo>
                  <a:lnTo>
                    <a:pt x="2003425" y="0"/>
                  </a:lnTo>
                  <a:lnTo>
                    <a:pt x="0" y="0"/>
                  </a:lnTo>
                  <a:lnTo>
                    <a:pt x="0" y="558800"/>
                  </a:lnTo>
                  <a:close/>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02" name="Freeform 502"/>
            <p:cNvSpPr/>
            <p:nvPr/>
          </p:nvSpPr>
          <p:spPr>
            <a:xfrm>
              <a:off x="6227826" y="2349564"/>
              <a:ext cx="2595499" cy="560388"/>
            </a:xfrm>
            <a:custGeom>
              <a:avLst/>
              <a:gdLst/>
              <a:ahLst/>
              <a:cxnLst/>
              <a:rect l="0" t="0" r="0" b="0"/>
              <a:pathLst>
                <a:path w="2595499" h="560388">
                  <a:moveTo>
                    <a:pt x="0" y="560388"/>
                  </a:moveTo>
                  <a:lnTo>
                    <a:pt x="2595499" y="560388"/>
                  </a:lnTo>
                  <a:lnTo>
                    <a:pt x="2595499" y="0"/>
                  </a:lnTo>
                  <a:lnTo>
                    <a:pt x="0" y="0"/>
                  </a:lnTo>
                  <a:lnTo>
                    <a:pt x="0" y="560388"/>
                  </a:lnTo>
                  <a:close/>
                </a:path>
              </a:pathLst>
            </a:custGeom>
            <a:solidFill>
              <a:srgbClr val="EBEBEB">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03" name="Freeform 503"/>
            <p:cNvSpPr/>
            <p:nvPr/>
          </p:nvSpPr>
          <p:spPr>
            <a:xfrm>
              <a:off x="6227826" y="2349564"/>
              <a:ext cx="2595499" cy="560388"/>
            </a:xfrm>
            <a:custGeom>
              <a:avLst/>
              <a:gdLst/>
              <a:ahLst/>
              <a:cxnLst/>
              <a:rect l="0" t="0" r="0" b="0"/>
              <a:pathLst>
                <a:path w="2595499" h="560388">
                  <a:moveTo>
                    <a:pt x="0" y="560388"/>
                  </a:moveTo>
                  <a:lnTo>
                    <a:pt x="2595499" y="560388"/>
                  </a:lnTo>
                  <a:lnTo>
                    <a:pt x="2595499" y="0"/>
                  </a:lnTo>
                  <a:lnTo>
                    <a:pt x="0" y="0"/>
                  </a:lnTo>
                  <a:lnTo>
                    <a:pt x="0" y="560388"/>
                  </a:lnTo>
                  <a:close/>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04" name="Freeform 504"/>
            <p:cNvSpPr/>
            <p:nvPr/>
          </p:nvSpPr>
          <p:spPr>
            <a:xfrm>
              <a:off x="3059176" y="1617727"/>
              <a:ext cx="0" cy="1085850"/>
            </a:xfrm>
            <a:custGeom>
              <a:avLst/>
              <a:gdLst/>
              <a:ahLst/>
              <a:cxnLst/>
              <a:rect l="0" t="0" r="0" b="0"/>
              <a:pathLst>
                <a:path h="1085850">
                  <a:moveTo>
                    <a:pt x="0" y="0"/>
                  </a:moveTo>
                  <a:lnTo>
                    <a:pt x="0" y="1085850"/>
                  </a:lnTo>
                </a:path>
              </a:pathLst>
            </a:custGeom>
            <a:noFill/>
            <a:ln w="9525" cap="flat" cmpd="sng">
              <a:solidFill>
                <a:srgbClr val="000000">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pic>
          <p:nvPicPr>
            <p:cNvPr id="505" name="Picture 50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987800" y="3713099"/>
              <a:ext cx="101600" cy="382651"/>
            </a:xfrm>
            <a:prstGeom prst="rect">
              <a:avLst/>
            </a:prstGeom>
            <a:noFill/>
          </p:spPr>
        </p:pic>
        <p:pic>
          <p:nvPicPr>
            <p:cNvPr id="506" name="Picture 50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76725" y="3713099"/>
              <a:ext cx="101600" cy="382651"/>
            </a:xfrm>
            <a:prstGeom prst="rect">
              <a:avLst/>
            </a:prstGeom>
            <a:noFill/>
          </p:spPr>
        </p:pic>
        <p:pic>
          <p:nvPicPr>
            <p:cNvPr id="507" name="Picture 50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4560823" y="3713099"/>
              <a:ext cx="101600" cy="382651"/>
            </a:xfrm>
            <a:prstGeom prst="rect">
              <a:avLst/>
            </a:prstGeom>
            <a:noFill/>
          </p:spPr>
        </p:pic>
        <p:pic>
          <p:nvPicPr>
            <p:cNvPr id="508" name="Picture 508"/>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4846573" y="3713099"/>
              <a:ext cx="101600" cy="382651"/>
            </a:xfrm>
            <a:prstGeom prst="rect">
              <a:avLst/>
            </a:prstGeom>
            <a:noFill/>
          </p:spPr>
        </p:pic>
        <p:pic>
          <p:nvPicPr>
            <p:cNvPr id="509" name="Picture 50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132323" y="3713099"/>
              <a:ext cx="101600" cy="382651"/>
            </a:xfrm>
            <a:prstGeom prst="rect">
              <a:avLst/>
            </a:prstGeom>
            <a:noFill/>
          </p:spPr>
        </p:pic>
        <p:pic>
          <p:nvPicPr>
            <p:cNvPr id="510" name="Picture 5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5418073" y="3713099"/>
              <a:ext cx="101600" cy="382651"/>
            </a:xfrm>
            <a:prstGeom prst="rect">
              <a:avLst/>
            </a:prstGeom>
            <a:noFill/>
          </p:spPr>
        </p:pic>
        <p:pic>
          <p:nvPicPr>
            <p:cNvPr id="511" name="Picture 51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706998" y="3713099"/>
              <a:ext cx="101600" cy="382651"/>
            </a:xfrm>
            <a:prstGeom prst="rect">
              <a:avLst/>
            </a:prstGeom>
            <a:noFill/>
          </p:spPr>
        </p:pic>
        <p:pic>
          <p:nvPicPr>
            <p:cNvPr id="512" name="Picture 512"/>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338823" y="1930400"/>
              <a:ext cx="101600" cy="382651"/>
            </a:xfrm>
            <a:prstGeom prst="rect">
              <a:avLst/>
            </a:prstGeom>
            <a:noFill/>
          </p:spPr>
        </p:pic>
        <p:pic>
          <p:nvPicPr>
            <p:cNvPr id="513" name="Picture 51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6626225" y="1930400"/>
              <a:ext cx="101600" cy="382651"/>
            </a:xfrm>
            <a:prstGeom prst="rect">
              <a:avLst/>
            </a:prstGeom>
            <a:noFill/>
          </p:spPr>
        </p:pic>
        <p:pic>
          <p:nvPicPr>
            <p:cNvPr id="514" name="Picture 514"/>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6911975" y="1930400"/>
              <a:ext cx="101600" cy="382651"/>
            </a:xfrm>
            <a:prstGeom prst="rect">
              <a:avLst/>
            </a:prstGeom>
            <a:noFill/>
          </p:spPr>
        </p:pic>
        <p:pic>
          <p:nvPicPr>
            <p:cNvPr id="515" name="Picture 515"/>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7197725" y="1930400"/>
              <a:ext cx="101600" cy="382651"/>
            </a:xfrm>
            <a:prstGeom prst="rect">
              <a:avLst/>
            </a:prstGeom>
            <a:noFill/>
          </p:spPr>
        </p:pic>
        <p:pic>
          <p:nvPicPr>
            <p:cNvPr id="516" name="Picture 516"/>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7483475" y="1979549"/>
              <a:ext cx="101600" cy="382651"/>
            </a:xfrm>
            <a:prstGeom prst="rect">
              <a:avLst/>
            </a:prstGeom>
            <a:noFill/>
          </p:spPr>
        </p:pic>
        <p:sp>
          <p:nvSpPr>
            <p:cNvPr id="517" name="Freeform 517"/>
            <p:cNvSpPr/>
            <p:nvPr/>
          </p:nvSpPr>
          <p:spPr>
            <a:xfrm>
              <a:off x="2297176" y="1906652"/>
              <a:ext cx="1511300" cy="1490598"/>
            </a:xfrm>
            <a:custGeom>
              <a:avLst/>
              <a:gdLst/>
              <a:ahLst/>
              <a:cxnLst/>
              <a:rect l="0" t="0" r="0" b="0"/>
              <a:pathLst>
                <a:path w="1511300" h="1490598">
                  <a:moveTo>
                    <a:pt x="0" y="745235"/>
                  </a:moveTo>
                  <a:lnTo>
                    <a:pt x="755650" y="0"/>
                  </a:lnTo>
                  <a:lnTo>
                    <a:pt x="1511300" y="745235"/>
                  </a:lnTo>
                  <a:lnTo>
                    <a:pt x="755650" y="1490598"/>
                  </a:lnTo>
                  <a:close/>
                  <a:moveTo>
                    <a:pt x="1908937" y="4951348"/>
                  </a:moveTo>
                </a:path>
              </a:pathLst>
            </a:custGeom>
            <a:solidFill>
              <a:srgbClr val="EBEBEB">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18" name="Freeform 518"/>
            <p:cNvSpPr/>
            <p:nvPr/>
          </p:nvSpPr>
          <p:spPr>
            <a:xfrm>
              <a:off x="2297176" y="1906652"/>
              <a:ext cx="1511300" cy="1490598"/>
            </a:xfrm>
            <a:custGeom>
              <a:avLst/>
              <a:gdLst/>
              <a:ahLst/>
              <a:cxnLst/>
              <a:rect l="0" t="0" r="0" b="0"/>
              <a:pathLst>
                <a:path w="1511300" h="1490598">
                  <a:moveTo>
                    <a:pt x="0" y="745235"/>
                  </a:moveTo>
                  <a:lnTo>
                    <a:pt x="755650" y="0"/>
                  </a:lnTo>
                  <a:lnTo>
                    <a:pt x="1511300" y="745235"/>
                  </a:lnTo>
                  <a:lnTo>
                    <a:pt x="755650" y="1490598"/>
                  </a:lnTo>
                  <a:close/>
                  <a:moveTo>
                    <a:pt x="1908937" y="4951348"/>
                  </a:moveTo>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19" name="Freeform 519"/>
            <p:cNvSpPr/>
            <p:nvPr/>
          </p:nvSpPr>
          <p:spPr>
            <a:xfrm>
              <a:off x="5938901" y="2625725"/>
              <a:ext cx="215900" cy="360427"/>
            </a:xfrm>
            <a:custGeom>
              <a:avLst/>
              <a:gdLst/>
              <a:ahLst/>
              <a:cxnLst/>
              <a:rect l="0" t="0" r="0" b="0"/>
              <a:pathLst>
                <a:path w="215900" h="360427">
                  <a:moveTo>
                    <a:pt x="0" y="360427"/>
                  </a:moveTo>
                  <a:lnTo>
                    <a:pt x="215900" y="360427"/>
                  </a:lnTo>
                  <a:lnTo>
                    <a:pt x="215900" y="72010"/>
                  </a:lnTo>
                  <a:lnTo>
                    <a:pt x="107950" y="0"/>
                  </a:lnTo>
                  <a:lnTo>
                    <a:pt x="0" y="72010"/>
                  </a:lnTo>
                  <a:close/>
                  <a:moveTo>
                    <a:pt x="-2067053" y="4232275"/>
                  </a:moveTo>
                </a:path>
              </a:pathLst>
            </a:custGeom>
            <a:solidFill>
              <a:srgbClr val="FF33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0" name="Freeform 520"/>
            <p:cNvSpPr/>
            <p:nvPr/>
          </p:nvSpPr>
          <p:spPr>
            <a:xfrm>
              <a:off x="3851275" y="4975225"/>
              <a:ext cx="2160651" cy="485775"/>
            </a:xfrm>
            <a:custGeom>
              <a:avLst/>
              <a:gdLst/>
              <a:ahLst/>
              <a:cxnLst/>
              <a:rect l="0" t="0" r="0" b="0"/>
              <a:pathLst>
                <a:path w="2160651" h="485775">
                  <a:moveTo>
                    <a:pt x="0" y="242824"/>
                  </a:moveTo>
                  <a:lnTo>
                    <a:pt x="150621" y="0"/>
                  </a:lnTo>
                  <a:lnTo>
                    <a:pt x="150621" y="122174"/>
                  </a:lnTo>
                  <a:lnTo>
                    <a:pt x="2009902" y="122174"/>
                  </a:lnTo>
                  <a:lnTo>
                    <a:pt x="2009902" y="0"/>
                  </a:lnTo>
                  <a:lnTo>
                    <a:pt x="2160651" y="242824"/>
                  </a:lnTo>
                  <a:lnTo>
                    <a:pt x="2009902" y="485775"/>
                  </a:lnTo>
                  <a:lnTo>
                    <a:pt x="2009902" y="363601"/>
                  </a:lnTo>
                  <a:lnTo>
                    <a:pt x="150621" y="363601"/>
                  </a:lnTo>
                  <a:lnTo>
                    <a:pt x="150621" y="485775"/>
                  </a:lnTo>
                  <a:close/>
                  <a:moveTo>
                    <a:pt x="-2211324" y="1882775"/>
                  </a:moveTo>
                </a:path>
              </a:pathLst>
            </a:custGeom>
            <a:solidFill>
              <a:srgbClr val="000066">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1" name="Freeform 521"/>
            <p:cNvSpPr/>
            <p:nvPr/>
          </p:nvSpPr>
          <p:spPr>
            <a:xfrm>
              <a:off x="3851275" y="4975225"/>
              <a:ext cx="2160651" cy="485775"/>
            </a:xfrm>
            <a:custGeom>
              <a:avLst/>
              <a:gdLst/>
              <a:ahLst/>
              <a:cxnLst/>
              <a:rect l="0" t="0" r="0" b="0"/>
              <a:pathLst>
                <a:path w="2160651" h="485775">
                  <a:moveTo>
                    <a:pt x="0" y="242824"/>
                  </a:moveTo>
                  <a:lnTo>
                    <a:pt x="150621" y="0"/>
                  </a:lnTo>
                  <a:lnTo>
                    <a:pt x="150621" y="122174"/>
                  </a:lnTo>
                  <a:lnTo>
                    <a:pt x="2009902" y="122174"/>
                  </a:lnTo>
                  <a:lnTo>
                    <a:pt x="2009902" y="0"/>
                  </a:lnTo>
                  <a:lnTo>
                    <a:pt x="2160651" y="242824"/>
                  </a:lnTo>
                  <a:lnTo>
                    <a:pt x="2009902" y="485775"/>
                  </a:lnTo>
                  <a:lnTo>
                    <a:pt x="2009902" y="363601"/>
                  </a:lnTo>
                  <a:lnTo>
                    <a:pt x="150621" y="363601"/>
                  </a:lnTo>
                  <a:lnTo>
                    <a:pt x="150621" y="485775"/>
                  </a:lnTo>
                  <a:close/>
                  <a:moveTo>
                    <a:pt x="-2211324" y="1882775"/>
                  </a:moveTo>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22" name="Freeform 522"/>
            <p:cNvSpPr/>
            <p:nvPr/>
          </p:nvSpPr>
          <p:spPr>
            <a:xfrm>
              <a:off x="6099175" y="4970527"/>
              <a:ext cx="2724150" cy="485774"/>
            </a:xfrm>
            <a:custGeom>
              <a:avLst/>
              <a:gdLst/>
              <a:ahLst/>
              <a:cxnLst/>
              <a:rect l="0" t="0" r="0" b="0"/>
              <a:pathLst>
                <a:path w="2724150" h="485774">
                  <a:moveTo>
                    <a:pt x="0" y="242823"/>
                  </a:moveTo>
                  <a:lnTo>
                    <a:pt x="155575" y="0"/>
                  </a:lnTo>
                  <a:lnTo>
                    <a:pt x="155575" y="122173"/>
                  </a:lnTo>
                  <a:lnTo>
                    <a:pt x="2568575" y="122173"/>
                  </a:lnTo>
                  <a:lnTo>
                    <a:pt x="2568575" y="0"/>
                  </a:lnTo>
                  <a:lnTo>
                    <a:pt x="2724150" y="242823"/>
                  </a:lnTo>
                  <a:lnTo>
                    <a:pt x="2568575" y="485774"/>
                  </a:lnTo>
                  <a:lnTo>
                    <a:pt x="2568575" y="363473"/>
                  </a:lnTo>
                  <a:lnTo>
                    <a:pt x="155575" y="363473"/>
                  </a:lnTo>
                  <a:lnTo>
                    <a:pt x="155575" y="485774"/>
                  </a:lnTo>
                  <a:close/>
                  <a:moveTo>
                    <a:pt x="-4454525" y="1887473"/>
                  </a:moveTo>
                </a:path>
              </a:pathLst>
            </a:custGeom>
            <a:solidFill>
              <a:srgbClr val="000066">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3" name="Freeform 523"/>
            <p:cNvSpPr/>
            <p:nvPr/>
          </p:nvSpPr>
          <p:spPr>
            <a:xfrm>
              <a:off x="6099175" y="4970527"/>
              <a:ext cx="2724150" cy="485774"/>
            </a:xfrm>
            <a:custGeom>
              <a:avLst/>
              <a:gdLst/>
              <a:ahLst/>
              <a:cxnLst/>
              <a:rect l="0" t="0" r="0" b="0"/>
              <a:pathLst>
                <a:path w="2724150" h="485774">
                  <a:moveTo>
                    <a:pt x="0" y="242823"/>
                  </a:moveTo>
                  <a:lnTo>
                    <a:pt x="155575" y="0"/>
                  </a:lnTo>
                  <a:lnTo>
                    <a:pt x="155575" y="122173"/>
                  </a:lnTo>
                  <a:lnTo>
                    <a:pt x="2568575" y="122173"/>
                  </a:lnTo>
                  <a:lnTo>
                    <a:pt x="2568575" y="0"/>
                  </a:lnTo>
                  <a:lnTo>
                    <a:pt x="2724150" y="242823"/>
                  </a:lnTo>
                  <a:lnTo>
                    <a:pt x="2568575" y="485774"/>
                  </a:lnTo>
                  <a:lnTo>
                    <a:pt x="2568575" y="363473"/>
                  </a:lnTo>
                  <a:lnTo>
                    <a:pt x="155575" y="363473"/>
                  </a:lnTo>
                  <a:lnTo>
                    <a:pt x="155575" y="485774"/>
                  </a:lnTo>
                  <a:close/>
                  <a:moveTo>
                    <a:pt x="-4454525" y="1887473"/>
                  </a:moveTo>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24" name="Freeform 524"/>
            <p:cNvSpPr/>
            <p:nvPr/>
          </p:nvSpPr>
          <p:spPr>
            <a:xfrm>
              <a:off x="6056376" y="1838325"/>
              <a:ext cx="0" cy="3384550"/>
            </a:xfrm>
            <a:custGeom>
              <a:avLst/>
              <a:gdLst/>
              <a:ahLst/>
              <a:cxnLst/>
              <a:rect l="0" t="0" r="0" b="0"/>
              <a:pathLst>
                <a:path h="3384550">
                  <a:moveTo>
                    <a:pt x="0" y="0"/>
                  </a:moveTo>
                  <a:lnTo>
                    <a:pt x="0" y="3384550"/>
                  </a:lnTo>
                </a:path>
              </a:pathLst>
            </a:custGeom>
            <a:noFill/>
            <a:ln w="28575" cap="flat" cmpd="sng">
              <a:solidFill>
                <a:srgbClr val="FF3300">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525" name="Freeform 525"/>
            <p:cNvSpPr/>
            <p:nvPr/>
          </p:nvSpPr>
          <p:spPr>
            <a:xfrm>
              <a:off x="4083684" y="5693220"/>
              <a:ext cx="600456" cy="10668"/>
            </a:xfrm>
            <a:custGeom>
              <a:avLst/>
              <a:gdLst/>
              <a:ahLst/>
              <a:cxnLst/>
              <a:rect l="0" t="0" r="0" b="0"/>
              <a:pathLst>
                <a:path w="600456" h="10668">
                  <a:moveTo>
                    <a:pt x="0" y="0"/>
                  </a:moveTo>
                  <a:lnTo>
                    <a:pt x="300229" y="0"/>
                  </a:lnTo>
                  <a:lnTo>
                    <a:pt x="600456" y="0"/>
                  </a:lnTo>
                  <a:lnTo>
                    <a:pt x="600456" y="10668"/>
                  </a:lnTo>
                  <a:lnTo>
                    <a:pt x="300229" y="10668"/>
                  </a:lnTo>
                  <a:lnTo>
                    <a:pt x="0" y="10668"/>
                  </a:lnTo>
                  <a:close/>
                  <a:moveTo>
                    <a:pt x="-2918904" y="1164780"/>
                  </a:moveTo>
                </a:path>
              </a:pathLst>
            </a:custGeom>
            <a:solidFill>
              <a:srgbClr val="0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6" name="Freeform 526"/>
            <p:cNvSpPr/>
            <p:nvPr/>
          </p:nvSpPr>
          <p:spPr>
            <a:xfrm>
              <a:off x="6380607" y="5683695"/>
              <a:ext cx="950975" cy="10668"/>
            </a:xfrm>
            <a:custGeom>
              <a:avLst/>
              <a:gdLst/>
              <a:ahLst/>
              <a:cxnLst/>
              <a:rect l="0" t="0" r="0" b="0"/>
              <a:pathLst>
                <a:path w="950975" h="10668">
                  <a:moveTo>
                    <a:pt x="0" y="0"/>
                  </a:moveTo>
                  <a:lnTo>
                    <a:pt x="475487" y="0"/>
                  </a:lnTo>
                  <a:lnTo>
                    <a:pt x="950975" y="0"/>
                  </a:lnTo>
                  <a:lnTo>
                    <a:pt x="950975" y="10668"/>
                  </a:lnTo>
                  <a:lnTo>
                    <a:pt x="475487" y="10668"/>
                  </a:lnTo>
                  <a:lnTo>
                    <a:pt x="0" y="10668"/>
                  </a:lnTo>
                  <a:close/>
                  <a:moveTo>
                    <a:pt x="-5206302" y="1174305"/>
                  </a:moveTo>
                </a:path>
              </a:pathLst>
            </a:custGeom>
            <a:solidFill>
              <a:srgbClr val="0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7" name="Freeform 527"/>
            <p:cNvSpPr/>
            <p:nvPr/>
          </p:nvSpPr>
          <p:spPr>
            <a:xfrm>
              <a:off x="3837051" y="1833627"/>
              <a:ext cx="0" cy="3384422"/>
            </a:xfrm>
            <a:custGeom>
              <a:avLst/>
              <a:gdLst/>
              <a:ahLst/>
              <a:cxnLst/>
              <a:rect l="0" t="0" r="0" b="0"/>
              <a:pathLst>
                <a:path h="3384422">
                  <a:moveTo>
                    <a:pt x="0" y="0"/>
                  </a:moveTo>
                  <a:lnTo>
                    <a:pt x="0" y="3384422"/>
                  </a:lnTo>
                </a:path>
              </a:pathLst>
            </a:custGeom>
            <a:noFill/>
            <a:ln w="28575" cap="flat" cmpd="sng">
              <a:solidFill>
                <a:srgbClr val="FF3300">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528" name="Freeform 528"/>
            <p:cNvSpPr/>
            <p:nvPr/>
          </p:nvSpPr>
          <p:spPr>
            <a:xfrm>
              <a:off x="965200" y="3648075"/>
              <a:ext cx="2643251" cy="357124"/>
            </a:xfrm>
            <a:custGeom>
              <a:avLst/>
              <a:gdLst/>
              <a:ahLst/>
              <a:cxnLst/>
              <a:rect l="0" t="0" r="0" b="0"/>
              <a:pathLst>
                <a:path w="2643251" h="357124">
                  <a:moveTo>
                    <a:pt x="2643251" y="0"/>
                  </a:moveTo>
                  <a:cubicBezTo>
                    <a:pt x="2643251" y="98680"/>
                    <a:pt x="2629915" y="178562"/>
                    <a:pt x="2613405" y="178562"/>
                  </a:cubicBezTo>
                  <a:lnTo>
                    <a:pt x="1351407" y="178562"/>
                  </a:lnTo>
                  <a:cubicBezTo>
                    <a:pt x="1334897" y="178562"/>
                    <a:pt x="1321561" y="258573"/>
                    <a:pt x="1321561" y="357124"/>
                  </a:cubicBezTo>
                  <a:cubicBezTo>
                    <a:pt x="1321561" y="258573"/>
                    <a:pt x="1308226" y="178562"/>
                    <a:pt x="1291844" y="178562"/>
                  </a:cubicBezTo>
                  <a:lnTo>
                    <a:pt x="29768" y="178562"/>
                  </a:lnTo>
                  <a:cubicBezTo>
                    <a:pt x="13322" y="178562"/>
                    <a:pt x="0" y="98680"/>
                    <a:pt x="0" y="0"/>
                  </a:cubicBez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529" name="Freeform 529"/>
            <p:cNvSpPr/>
            <p:nvPr/>
          </p:nvSpPr>
          <p:spPr>
            <a:xfrm>
              <a:off x="6180201" y="3646552"/>
              <a:ext cx="2643124" cy="357123"/>
            </a:xfrm>
            <a:custGeom>
              <a:avLst/>
              <a:gdLst/>
              <a:ahLst/>
              <a:cxnLst/>
              <a:rect l="0" t="0" r="0" b="0"/>
              <a:pathLst>
                <a:path w="2643124" h="357123">
                  <a:moveTo>
                    <a:pt x="2643124" y="0"/>
                  </a:moveTo>
                  <a:cubicBezTo>
                    <a:pt x="2643124" y="98551"/>
                    <a:pt x="2629789" y="178562"/>
                    <a:pt x="2613405" y="178562"/>
                  </a:cubicBezTo>
                  <a:lnTo>
                    <a:pt x="1351280" y="178562"/>
                  </a:lnTo>
                  <a:cubicBezTo>
                    <a:pt x="1334896" y="178562"/>
                    <a:pt x="1321562" y="258444"/>
                    <a:pt x="1321562" y="357123"/>
                  </a:cubicBezTo>
                  <a:cubicBezTo>
                    <a:pt x="1321562" y="258444"/>
                    <a:pt x="1308227" y="178562"/>
                    <a:pt x="1291717" y="178562"/>
                  </a:cubicBezTo>
                  <a:lnTo>
                    <a:pt x="29718" y="178562"/>
                  </a:lnTo>
                  <a:cubicBezTo>
                    <a:pt x="13208" y="178562"/>
                    <a:pt x="0" y="98551"/>
                    <a:pt x="0" y="0"/>
                  </a:cubicBez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30" name="Picture 530"/>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4019613" y="1739837"/>
              <a:ext cx="1892300" cy="387413"/>
            </a:xfrm>
            <a:prstGeom prst="rect">
              <a:avLst/>
            </a:prstGeom>
            <a:noFill/>
          </p:spPr>
        </p:pic>
        <p:sp>
          <p:nvSpPr>
            <p:cNvPr id="531" name="Freeform 531"/>
            <p:cNvSpPr/>
            <p:nvPr/>
          </p:nvSpPr>
          <p:spPr>
            <a:xfrm>
              <a:off x="933450" y="4975225"/>
              <a:ext cx="2701925" cy="485775"/>
            </a:xfrm>
            <a:custGeom>
              <a:avLst/>
              <a:gdLst/>
              <a:ahLst/>
              <a:cxnLst/>
              <a:rect l="0" t="0" r="0" b="0"/>
              <a:pathLst>
                <a:path w="2701925" h="485775">
                  <a:moveTo>
                    <a:pt x="0" y="242824"/>
                  </a:moveTo>
                  <a:lnTo>
                    <a:pt x="150609" y="0"/>
                  </a:lnTo>
                  <a:lnTo>
                    <a:pt x="150609" y="122174"/>
                  </a:lnTo>
                  <a:lnTo>
                    <a:pt x="2551303" y="122174"/>
                  </a:lnTo>
                  <a:lnTo>
                    <a:pt x="2551303" y="0"/>
                  </a:lnTo>
                  <a:lnTo>
                    <a:pt x="2701925" y="242824"/>
                  </a:lnTo>
                  <a:lnTo>
                    <a:pt x="2551303" y="485775"/>
                  </a:lnTo>
                  <a:lnTo>
                    <a:pt x="2551303" y="363601"/>
                  </a:lnTo>
                  <a:lnTo>
                    <a:pt x="150609" y="363601"/>
                  </a:lnTo>
                  <a:lnTo>
                    <a:pt x="150609" y="485775"/>
                  </a:lnTo>
                  <a:close/>
                  <a:moveTo>
                    <a:pt x="706501" y="1882775"/>
                  </a:moveTo>
                </a:path>
              </a:pathLst>
            </a:custGeom>
            <a:solidFill>
              <a:srgbClr val="000066">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32" name="Freeform 532"/>
            <p:cNvSpPr/>
            <p:nvPr/>
          </p:nvSpPr>
          <p:spPr>
            <a:xfrm>
              <a:off x="933450" y="4975225"/>
              <a:ext cx="2701925" cy="485775"/>
            </a:xfrm>
            <a:custGeom>
              <a:avLst/>
              <a:gdLst/>
              <a:ahLst/>
              <a:cxnLst/>
              <a:rect l="0" t="0" r="0" b="0"/>
              <a:pathLst>
                <a:path w="2701925" h="485775">
                  <a:moveTo>
                    <a:pt x="0" y="242824"/>
                  </a:moveTo>
                  <a:lnTo>
                    <a:pt x="150609" y="0"/>
                  </a:lnTo>
                  <a:lnTo>
                    <a:pt x="150609" y="122174"/>
                  </a:lnTo>
                  <a:lnTo>
                    <a:pt x="2551303" y="122174"/>
                  </a:lnTo>
                  <a:lnTo>
                    <a:pt x="2551303" y="0"/>
                  </a:lnTo>
                  <a:lnTo>
                    <a:pt x="2701925" y="242824"/>
                  </a:lnTo>
                  <a:lnTo>
                    <a:pt x="2551303" y="485775"/>
                  </a:lnTo>
                  <a:lnTo>
                    <a:pt x="2551303" y="363601"/>
                  </a:lnTo>
                  <a:lnTo>
                    <a:pt x="150609" y="363601"/>
                  </a:lnTo>
                  <a:lnTo>
                    <a:pt x="150609" y="485775"/>
                  </a:lnTo>
                  <a:close/>
                  <a:moveTo>
                    <a:pt x="706501" y="1882775"/>
                  </a:moveTo>
                </a:path>
              </a:pathLst>
            </a:custGeom>
            <a:noFill/>
            <a:ln w="9525"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533" name="Freeform 533"/>
            <p:cNvSpPr/>
            <p:nvPr/>
          </p:nvSpPr>
          <p:spPr>
            <a:xfrm>
              <a:off x="1280286" y="5693220"/>
              <a:ext cx="937261" cy="10668"/>
            </a:xfrm>
            <a:custGeom>
              <a:avLst/>
              <a:gdLst/>
              <a:ahLst/>
              <a:cxnLst/>
              <a:rect l="0" t="0" r="0" b="0"/>
              <a:pathLst>
                <a:path w="937261" h="10668">
                  <a:moveTo>
                    <a:pt x="0" y="0"/>
                  </a:moveTo>
                  <a:lnTo>
                    <a:pt x="468631" y="0"/>
                  </a:lnTo>
                  <a:lnTo>
                    <a:pt x="937261" y="0"/>
                  </a:lnTo>
                  <a:lnTo>
                    <a:pt x="937261" y="10668"/>
                  </a:lnTo>
                  <a:lnTo>
                    <a:pt x="468631" y="10668"/>
                  </a:lnTo>
                  <a:lnTo>
                    <a:pt x="0" y="10668"/>
                  </a:lnTo>
                  <a:close/>
                  <a:moveTo>
                    <a:pt x="-115506" y="1164780"/>
                  </a:moveTo>
                </a:path>
              </a:pathLst>
            </a:custGeom>
            <a:solidFill>
              <a:srgbClr val="0000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534" name="Picture 53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7729473" y="1979549"/>
              <a:ext cx="101600" cy="382651"/>
            </a:xfrm>
            <a:prstGeom prst="rect">
              <a:avLst/>
            </a:prstGeom>
            <a:noFill/>
          </p:spPr>
        </p:pic>
        <p:pic>
          <p:nvPicPr>
            <p:cNvPr id="535" name="Picture 535"/>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8016875" y="1979549"/>
              <a:ext cx="101600" cy="382651"/>
            </a:xfrm>
            <a:prstGeom prst="rect">
              <a:avLst/>
            </a:prstGeom>
            <a:noFill/>
          </p:spPr>
        </p:pic>
        <p:pic>
          <p:nvPicPr>
            <p:cNvPr id="536" name="Picture 536"/>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8302625" y="1979549"/>
              <a:ext cx="101600" cy="382651"/>
            </a:xfrm>
            <a:prstGeom prst="rect">
              <a:avLst/>
            </a:prstGeom>
            <a:noFill/>
          </p:spPr>
        </p:pic>
        <p:pic>
          <p:nvPicPr>
            <p:cNvPr id="537" name="Picture 53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8588375" y="1979549"/>
              <a:ext cx="101600" cy="382651"/>
            </a:xfrm>
            <a:prstGeom prst="rect">
              <a:avLst/>
            </a:prstGeom>
            <a:noFill/>
          </p:spPr>
        </p:pic>
        <p:pic>
          <p:nvPicPr>
            <p:cNvPr id="538" name="Picture 538"/>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3771900" y="1155700"/>
              <a:ext cx="5194300" cy="3683000"/>
            </a:xfrm>
            <a:prstGeom prst="rect">
              <a:avLst/>
            </a:prstGeom>
            <a:noFill/>
          </p:spPr>
        </p:pic>
        <p:sp>
          <p:nvSpPr>
            <p:cNvPr id="540" name="Rectangle 540"/>
            <p:cNvSpPr/>
            <p:nvPr/>
          </p:nvSpPr>
          <p:spPr>
            <a:xfrm>
              <a:off x="761390" y="2467356"/>
              <a:ext cx="1417269" cy="365143"/>
            </a:xfrm>
            <a:prstGeom prst="rect">
              <a:avLst/>
            </a:prstGeom>
          </p:spPr>
          <p:txBody>
            <a:bodyPr wrap="none" lIns="0" tIns="0" rIns="0" bIns="0">
              <a:spAutoFit/>
            </a:bodyPr>
            <a:lstStyle/>
            <a:p>
              <a:r>
                <a:rPr lang="en-US" dirty="0">
                  <a:latin typeface="Calibri"/>
                </a:rPr>
                <a:t>E</a:t>
              </a:r>
              <a:r>
                <a:rPr lang="en-US" spc="-17" dirty="0">
                  <a:latin typeface="Calibri"/>
                </a:rPr>
                <a:t>s</a:t>
              </a:r>
              <a:r>
                <a:rPr lang="en-US" dirty="0">
                  <a:latin typeface="Calibri"/>
                </a:rPr>
                <a:t>tudo</a:t>
              </a:r>
              <a:r>
                <a:rPr lang="en-US" spc="-30" dirty="0">
                  <a:latin typeface="Calibri"/>
                </a:rPr>
                <a:t> </a:t>
              </a:r>
              <a:r>
                <a:rPr lang="en-US" dirty="0">
                  <a:latin typeface="Calibri"/>
                </a:rPr>
                <a:t>de Viabilidade </a:t>
              </a:r>
            </a:p>
            <a:p>
              <a:pPr marL="224027">
                <a:lnSpc>
                  <a:spcPts val="2159"/>
                </a:lnSpc>
              </a:pPr>
              <a:r>
                <a:rPr lang="en-US" dirty="0">
                  <a:latin typeface="Calibri"/>
                </a:rPr>
                <a:t>ou </a:t>
              </a:r>
              <a:r>
                <a:rPr lang="en-US" i="1" dirty="0">
                  <a:latin typeface="Calibri,Italic"/>
                </a:rPr>
                <a:t>Business Case </a:t>
              </a:r>
            </a:p>
          </p:txBody>
        </p:sp>
        <p:sp>
          <p:nvSpPr>
            <p:cNvPr id="541" name="Rectangle 541"/>
            <p:cNvSpPr/>
            <p:nvPr/>
          </p:nvSpPr>
          <p:spPr>
            <a:xfrm>
              <a:off x="4063238" y="3272384"/>
              <a:ext cx="1719787" cy="245623"/>
            </a:xfrm>
            <a:prstGeom prst="rect">
              <a:avLst/>
            </a:prstGeom>
          </p:spPr>
          <p:txBody>
            <a:bodyPr wrap="none" lIns="0" tIns="0" rIns="0" bIns="0">
              <a:spAutoFit/>
            </a:bodyPr>
            <a:lstStyle/>
            <a:p>
              <a:r>
                <a:rPr lang="en-US" sz="2394" dirty="0">
                  <a:latin typeface="Calibri"/>
                </a:rPr>
                <a:t>E</a:t>
              </a:r>
              <a:r>
                <a:rPr lang="en-US" sz="2394" spc="-47" dirty="0">
                  <a:latin typeface="Calibri"/>
                </a:rPr>
                <a:t>x</a:t>
              </a:r>
              <a:r>
                <a:rPr lang="en-US" sz="2394" dirty="0">
                  <a:latin typeface="Calibri"/>
                </a:rPr>
                <a:t>ecu</a:t>
              </a:r>
              <a:r>
                <a:rPr lang="en-US" sz="2394" spc="-20" dirty="0">
                  <a:latin typeface="Calibri"/>
                </a:rPr>
                <a:t>ç</a:t>
              </a:r>
              <a:r>
                <a:rPr lang="en-US" sz="2394" dirty="0">
                  <a:latin typeface="Calibri"/>
                </a:rPr>
                <a:t>ão do P</a:t>
              </a:r>
              <a:r>
                <a:rPr lang="en-US" sz="2394" spc="-39" dirty="0">
                  <a:latin typeface="Calibri"/>
                </a:rPr>
                <a:t>r</a:t>
              </a:r>
              <a:r>
                <a:rPr lang="en-US" sz="2394" dirty="0">
                  <a:latin typeface="Calibri"/>
                </a:rPr>
                <a:t>oj</a:t>
              </a:r>
              <a:r>
                <a:rPr lang="en-US" sz="2394" spc="-20" dirty="0">
                  <a:latin typeface="Calibri"/>
                </a:rPr>
                <a:t>e</a:t>
              </a:r>
              <a:r>
                <a:rPr lang="en-US" sz="2394" dirty="0">
                  <a:latin typeface="Calibri"/>
                </a:rPr>
                <a:t>to </a:t>
              </a:r>
            </a:p>
          </p:txBody>
        </p:sp>
        <p:sp>
          <p:nvSpPr>
            <p:cNvPr id="542" name="Rectangle 542"/>
            <p:cNvSpPr/>
            <p:nvPr/>
          </p:nvSpPr>
          <p:spPr>
            <a:xfrm>
              <a:off x="6640703" y="2489165"/>
              <a:ext cx="1825115" cy="277299"/>
            </a:xfrm>
            <a:prstGeom prst="rect">
              <a:avLst/>
            </a:prstGeom>
          </p:spPr>
          <p:txBody>
            <a:bodyPr wrap="none" lIns="0" tIns="0" rIns="0" bIns="0">
              <a:spAutoFit/>
            </a:bodyPr>
            <a:lstStyle/>
            <a:p>
              <a:r>
                <a:rPr lang="en-US" sz="2703" spc="-66" dirty="0">
                  <a:latin typeface="Calibri"/>
                </a:rPr>
                <a:t>R</a:t>
              </a:r>
              <a:r>
                <a:rPr lang="en-US" sz="2703" dirty="0">
                  <a:latin typeface="Calibri"/>
                </a:rPr>
                <a:t>e</a:t>
              </a:r>
              <a:r>
                <a:rPr lang="en-US" sz="2703" spc="-26" dirty="0">
                  <a:latin typeface="Calibri"/>
                </a:rPr>
                <a:t>t</a:t>
              </a:r>
              <a:r>
                <a:rPr lang="en-US" sz="2703" dirty="0">
                  <a:latin typeface="Calibri"/>
                </a:rPr>
                <a:t>orno do P</a:t>
              </a:r>
              <a:r>
                <a:rPr lang="en-US" sz="2703" spc="-44" dirty="0">
                  <a:latin typeface="Calibri"/>
                </a:rPr>
                <a:t>r</a:t>
              </a:r>
              <a:r>
                <a:rPr lang="en-US" sz="2703" dirty="0">
                  <a:latin typeface="Calibri"/>
                </a:rPr>
                <a:t>oj</a:t>
              </a:r>
              <a:r>
                <a:rPr lang="en-US" sz="2703" spc="-17" dirty="0">
                  <a:latin typeface="Calibri"/>
                </a:rPr>
                <a:t>e</a:t>
              </a:r>
              <a:r>
                <a:rPr lang="en-US" sz="2703" spc="-26" dirty="0">
                  <a:latin typeface="Calibri"/>
                </a:rPr>
                <a:t>t</a:t>
              </a:r>
              <a:r>
                <a:rPr lang="en-US" sz="2703" dirty="0">
                  <a:latin typeface="Calibri"/>
                </a:rPr>
                <a:t>o </a:t>
              </a:r>
            </a:p>
          </p:txBody>
        </p:sp>
        <p:sp>
          <p:nvSpPr>
            <p:cNvPr id="543" name="Rectangle 543"/>
            <p:cNvSpPr/>
            <p:nvPr/>
          </p:nvSpPr>
          <p:spPr>
            <a:xfrm>
              <a:off x="4219702" y="4201415"/>
              <a:ext cx="1581245" cy="184666"/>
            </a:xfrm>
            <a:prstGeom prst="rect">
              <a:avLst/>
            </a:prstGeom>
          </p:spPr>
          <p:txBody>
            <a:bodyPr wrap="none" lIns="0" tIns="0" rIns="0" bIns="0">
              <a:spAutoFit/>
            </a:bodyPr>
            <a:lstStyle/>
            <a:p>
              <a:r>
                <a:rPr lang="en-US" dirty="0">
                  <a:latin typeface="Calibri"/>
                </a:rPr>
                <a:t>  Cu</a:t>
              </a:r>
              <a:r>
                <a:rPr lang="en-US" spc="-17" dirty="0">
                  <a:latin typeface="Calibri"/>
                </a:rPr>
                <a:t>s</a:t>
              </a:r>
              <a:r>
                <a:rPr lang="en-US" dirty="0">
                  <a:latin typeface="Calibri"/>
                </a:rPr>
                <a:t>tos e saídas de </a:t>
              </a:r>
              <a:r>
                <a:rPr lang="en-US" spc="-24" dirty="0">
                  <a:latin typeface="Calibri"/>
                </a:rPr>
                <a:t>c</a:t>
              </a:r>
              <a:r>
                <a:rPr lang="en-US" dirty="0">
                  <a:latin typeface="Calibri"/>
                </a:rPr>
                <a:t>ai</a:t>
              </a:r>
              <a:r>
                <a:rPr lang="en-US" spc="-41" dirty="0">
                  <a:latin typeface="Calibri"/>
                </a:rPr>
                <a:t>x</a:t>
              </a:r>
              <a:r>
                <a:rPr lang="en-US" dirty="0">
                  <a:latin typeface="Calibri"/>
                </a:rPr>
                <a:t>a </a:t>
              </a:r>
            </a:p>
          </p:txBody>
        </p:sp>
        <p:sp>
          <p:nvSpPr>
            <p:cNvPr id="544" name="Rectangle 544"/>
            <p:cNvSpPr/>
            <p:nvPr/>
          </p:nvSpPr>
          <p:spPr>
            <a:xfrm>
              <a:off x="6536181" y="1601979"/>
              <a:ext cx="1898212" cy="184666"/>
            </a:xfrm>
            <a:prstGeom prst="rect">
              <a:avLst/>
            </a:prstGeom>
          </p:spPr>
          <p:txBody>
            <a:bodyPr wrap="none" lIns="0" tIns="0" rIns="0" bIns="0">
              <a:spAutoFit/>
            </a:bodyPr>
            <a:lstStyle/>
            <a:p>
              <a:r>
                <a:rPr lang="en-US" dirty="0">
                  <a:latin typeface="Calibri"/>
                </a:rPr>
                <a:t>Benefícios e ent</a:t>
              </a:r>
              <a:r>
                <a:rPr lang="en-US" spc="-35" dirty="0">
                  <a:latin typeface="Calibri"/>
                </a:rPr>
                <a:t>r</a:t>
              </a:r>
              <a:r>
                <a:rPr lang="en-US" dirty="0">
                  <a:latin typeface="Calibri"/>
                </a:rPr>
                <a:t>adas</a:t>
              </a:r>
              <a:r>
                <a:rPr lang="en-US" spc="-30" dirty="0">
                  <a:latin typeface="Calibri"/>
                </a:rPr>
                <a:t> </a:t>
              </a:r>
              <a:r>
                <a:rPr lang="en-US" dirty="0">
                  <a:latin typeface="Calibri"/>
                </a:rPr>
                <a:t>de </a:t>
              </a:r>
              <a:r>
                <a:rPr lang="en-US" spc="-24" dirty="0">
                  <a:latin typeface="Calibri"/>
                </a:rPr>
                <a:t>c</a:t>
              </a:r>
              <a:r>
                <a:rPr lang="en-US" dirty="0">
                  <a:latin typeface="Calibri"/>
                </a:rPr>
                <a:t>ai</a:t>
              </a:r>
              <a:r>
                <a:rPr lang="en-US" spc="-41" dirty="0">
                  <a:latin typeface="Calibri"/>
                </a:rPr>
                <a:t>x</a:t>
              </a:r>
              <a:r>
                <a:rPr lang="en-US" dirty="0">
                  <a:latin typeface="Calibri"/>
                </a:rPr>
                <a:t>a </a:t>
              </a:r>
            </a:p>
          </p:txBody>
        </p:sp>
        <p:sp>
          <p:nvSpPr>
            <p:cNvPr id="545" name="Rectangle 545"/>
            <p:cNvSpPr/>
            <p:nvPr/>
          </p:nvSpPr>
          <p:spPr>
            <a:xfrm>
              <a:off x="8514588" y="3045206"/>
              <a:ext cx="522665" cy="184666"/>
            </a:xfrm>
            <a:prstGeom prst="rect">
              <a:avLst/>
            </a:prstGeom>
          </p:spPr>
          <p:txBody>
            <a:bodyPr wrap="none" lIns="0" tIns="0" rIns="0" bIns="0">
              <a:spAutoFit/>
            </a:bodyPr>
            <a:lstStyle/>
            <a:p>
              <a:r>
                <a:rPr lang="en-US" b="1" spc="-153" dirty="0">
                  <a:latin typeface="Calibri,Bold"/>
                </a:rPr>
                <a:t>T</a:t>
              </a:r>
              <a:r>
                <a:rPr lang="en-US" b="1" dirty="0">
                  <a:latin typeface="Calibri,Bold"/>
                </a:rPr>
                <a:t>empo </a:t>
              </a:r>
            </a:p>
          </p:txBody>
        </p:sp>
        <p:sp>
          <p:nvSpPr>
            <p:cNvPr id="546" name="Rectangle 546"/>
            <p:cNvSpPr/>
            <p:nvPr/>
          </p:nvSpPr>
          <p:spPr>
            <a:xfrm>
              <a:off x="2877947" y="1230504"/>
              <a:ext cx="423364" cy="360783"/>
            </a:xfrm>
            <a:prstGeom prst="rect">
              <a:avLst/>
            </a:prstGeom>
          </p:spPr>
          <p:txBody>
            <a:bodyPr wrap="none" lIns="0" tIns="0" rIns="0" bIns="0">
              <a:spAutoFit/>
            </a:bodyPr>
            <a:lstStyle/>
            <a:p>
              <a:r>
                <a:rPr lang="en-US" b="1" dirty="0">
                  <a:latin typeface="Calibri,Bold"/>
                </a:rPr>
                <a:t>D</a:t>
              </a:r>
              <a:r>
                <a:rPr lang="en-US" b="1" spc="-26" dirty="0">
                  <a:latin typeface="Calibri,Bold"/>
                </a:rPr>
                <a:t>a</a:t>
              </a:r>
              <a:r>
                <a:rPr lang="en-US" b="1" dirty="0">
                  <a:latin typeface="Calibri,Bold"/>
                </a:rPr>
                <a:t>ta </a:t>
              </a:r>
            </a:p>
            <a:p>
              <a:pPr>
                <a:lnSpc>
                  <a:spcPts val="2159"/>
                </a:lnSpc>
              </a:pPr>
              <a:r>
                <a:rPr lang="en-US" b="1" spc="-48" dirty="0">
                  <a:latin typeface="Calibri,Bold"/>
                </a:rPr>
                <a:t>A</a:t>
              </a:r>
              <a:r>
                <a:rPr lang="en-US" b="1" dirty="0">
                  <a:latin typeface="Calibri,Bold"/>
                </a:rPr>
                <a:t>tual </a:t>
              </a:r>
            </a:p>
          </p:txBody>
        </p:sp>
        <p:sp>
          <p:nvSpPr>
            <p:cNvPr id="547" name="Rectangle 547"/>
            <p:cNvSpPr/>
            <p:nvPr/>
          </p:nvSpPr>
          <p:spPr>
            <a:xfrm>
              <a:off x="2605785" y="2406498"/>
              <a:ext cx="948978" cy="245623"/>
            </a:xfrm>
            <a:prstGeom prst="rect">
              <a:avLst/>
            </a:prstGeom>
          </p:spPr>
          <p:txBody>
            <a:bodyPr wrap="none" lIns="0" tIns="0" rIns="0" bIns="0">
              <a:spAutoFit/>
            </a:bodyPr>
            <a:lstStyle/>
            <a:p>
              <a:r>
                <a:rPr lang="en-US" sz="2394" dirty="0">
                  <a:latin typeface="Calibri"/>
                </a:rPr>
                <a:t>Decisão de </a:t>
              </a:r>
            </a:p>
          </p:txBody>
        </p:sp>
        <p:sp>
          <p:nvSpPr>
            <p:cNvPr id="548" name="Rectangle 548"/>
            <p:cNvSpPr/>
            <p:nvPr/>
          </p:nvSpPr>
          <p:spPr>
            <a:xfrm>
              <a:off x="2564638" y="2650302"/>
              <a:ext cx="3328475" cy="245923"/>
            </a:xfrm>
            <a:prstGeom prst="rect">
              <a:avLst/>
            </a:prstGeom>
          </p:spPr>
          <p:txBody>
            <a:bodyPr wrap="none" lIns="0" tIns="0" rIns="0" bIns="0">
              <a:spAutoFit/>
            </a:bodyPr>
            <a:lstStyle/>
            <a:p>
              <a:pPr>
                <a:tabLst>
                  <a:tab pos="3844100" algn="l"/>
                </a:tabLst>
              </a:pPr>
              <a:r>
                <a:rPr lang="en-US" sz="2397" dirty="0">
                  <a:latin typeface="Calibri"/>
                </a:rPr>
                <a:t>Autori</a:t>
              </a:r>
              <a:r>
                <a:rPr lang="en-US" sz="2397" spc="-23" dirty="0">
                  <a:latin typeface="Calibri"/>
                </a:rPr>
                <a:t>z</a:t>
              </a:r>
              <a:r>
                <a:rPr lang="en-US" sz="2397" dirty="0">
                  <a:latin typeface="Calibri"/>
                </a:rPr>
                <a:t>a</a:t>
              </a:r>
              <a:r>
                <a:rPr lang="en-US" sz="2397" spc="-23" dirty="0">
                  <a:latin typeface="Calibri"/>
                </a:rPr>
                <a:t>ç</a:t>
              </a:r>
              <a:r>
                <a:rPr lang="en-US" sz="2397" dirty="0">
                  <a:latin typeface="Calibri"/>
                </a:rPr>
                <a:t>ão 	</a:t>
              </a:r>
              <a:r>
                <a:rPr lang="en-US" sz="2727" baseline="45583" dirty="0">
                  <a:latin typeface="Calibri"/>
                </a:rPr>
                <a:t>P</a:t>
              </a:r>
              <a:r>
                <a:rPr lang="en-US" sz="2727" spc="-30" baseline="45583" dirty="0">
                  <a:latin typeface="Calibri"/>
                </a:rPr>
                <a:t>r</a:t>
              </a:r>
              <a:r>
                <a:rPr lang="en-US" sz="2727" baseline="45583" dirty="0">
                  <a:latin typeface="Calibri"/>
                </a:rPr>
                <a:t>oduto</a:t>
              </a:r>
              <a:r>
                <a:rPr lang="en-US" sz="2727" spc="-30" baseline="45583" dirty="0">
                  <a:latin typeface="Calibri"/>
                </a:rPr>
                <a:t> </a:t>
              </a:r>
              <a:r>
                <a:rPr lang="en-US" sz="2727" baseline="45583" dirty="0">
                  <a:latin typeface="Calibri"/>
                </a:rPr>
                <a:t>do </a:t>
              </a:r>
            </a:p>
          </p:txBody>
        </p:sp>
        <p:sp>
          <p:nvSpPr>
            <p:cNvPr id="549" name="Rectangle 549"/>
            <p:cNvSpPr/>
            <p:nvPr/>
          </p:nvSpPr>
          <p:spPr>
            <a:xfrm>
              <a:off x="5371210" y="2742311"/>
              <a:ext cx="487441" cy="184666"/>
            </a:xfrm>
            <a:prstGeom prst="rect">
              <a:avLst/>
            </a:prstGeom>
          </p:spPr>
          <p:txBody>
            <a:bodyPr wrap="none" lIns="0" tIns="0" rIns="0" bIns="0">
              <a:spAutoFit/>
            </a:bodyPr>
            <a:lstStyle/>
            <a:p>
              <a:r>
                <a:rPr lang="en-US" dirty="0">
                  <a:latin typeface="Calibri"/>
                </a:rPr>
                <a:t>P</a:t>
              </a:r>
              <a:r>
                <a:rPr lang="en-US" spc="-30" dirty="0">
                  <a:latin typeface="Calibri"/>
                </a:rPr>
                <a:t>r</a:t>
              </a:r>
              <a:r>
                <a:rPr lang="en-US" dirty="0">
                  <a:latin typeface="Calibri"/>
                </a:rPr>
                <a:t>ojeto </a:t>
              </a:r>
            </a:p>
          </p:txBody>
        </p:sp>
        <p:sp>
          <p:nvSpPr>
            <p:cNvPr id="550" name="Rectangle 550"/>
            <p:cNvSpPr/>
            <p:nvPr/>
          </p:nvSpPr>
          <p:spPr>
            <a:xfrm>
              <a:off x="2820923" y="3592957"/>
              <a:ext cx="555708" cy="184666"/>
            </a:xfrm>
            <a:prstGeom prst="rect">
              <a:avLst/>
            </a:prstGeom>
          </p:spPr>
          <p:txBody>
            <a:bodyPr wrap="none" lIns="0" tIns="0" rIns="0" bIns="0">
              <a:spAutoFit/>
            </a:bodyPr>
            <a:lstStyle/>
            <a:p>
              <a:r>
                <a:rPr lang="en-US" b="1" dirty="0">
                  <a:solidFill>
                    <a:srgbClr val="FF3300"/>
                  </a:solidFill>
                  <a:latin typeface="Calibri,Bold"/>
                </a:rPr>
                <a:t>NO GO </a:t>
              </a:r>
            </a:p>
          </p:txBody>
        </p:sp>
        <p:sp>
          <p:nvSpPr>
            <p:cNvPr id="551" name="Rectangle 551"/>
            <p:cNvSpPr/>
            <p:nvPr/>
          </p:nvSpPr>
          <p:spPr>
            <a:xfrm>
              <a:off x="4068826" y="2542032"/>
              <a:ext cx="282129" cy="184666"/>
            </a:xfrm>
            <a:prstGeom prst="rect">
              <a:avLst/>
            </a:prstGeom>
          </p:spPr>
          <p:txBody>
            <a:bodyPr wrap="none" lIns="0" tIns="0" rIns="0" bIns="0">
              <a:spAutoFit/>
            </a:bodyPr>
            <a:lstStyle/>
            <a:p>
              <a:r>
                <a:rPr lang="en-US" b="1" dirty="0">
                  <a:solidFill>
                    <a:srgbClr val="FF3300"/>
                  </a:solidFill>
                  <a:latin typeface="Calibri,Bold"/>
                </a:rPr>
                <a:t>GO </a:t>
              </a:r>
            </a:p>
          </p:txBody>
        </p:sp>
        <p:sp>
          <p:nvSpPr>
            <p:cNvPr id="552" name="Rectangle 552"/>
            <p:cNvSpPr/>
            <p:nvPr/>
          </p:nvSpPr>
          <p:spPr>
            <a:xfrm>
              <a:off x="4084320" y="5482210"/>
              <a:ext cx="1752275" cy="485603"/>
            </a:xfrm>
            <a:prstGeom prst="rect">
              <a:avLst/>
            </a:prstGeom>
          </p:spPr>
          <p:txBody>
            <a:bodyPr wrap="none" lIns="0" tIns="0" rIns="0" bIns="0">
              <a:spAutoFit/>
            </a:bodyPr>
            <a:lstStyle/>
            <a:p>
              <a:r>
                <a:rPr lang="en-US" sz="2394" dirty="0">
                  <a:latin typeface="Calibri"/>
                </a:rPr>
                <a:t>P</a:t>
              </a:r>
              <a:r>
                <a:rPr lang="en-US" sz="2394" spc="-39" dirty="0">
                  <a:latin typeface="Calibri"/>
                </a:rPr>
                <a:t>r</a:t>
              </a:r>
              <a:r>
                <a:rPr lang="en-US" sz="2394" dirty="0">
                  <a:latin typeface="Calibri"/>
                </a:rPr>
                <a:t>oj</a:t>
              </a:r>
              <a:r>
                <a:rPr lang="en-US" sz="2394" spc="-20" dirty="0">
                  <a:latin typeface="Calibri"/>
                </a:rPr>
                <a:t>e</a:t>
              </a:r>
              <a:r>
                <a:rPr lang="en-US" sz="2394" dirty="0">
                  <a:latin typeface="Calibri"/>
                </a:rPr>
                <a:t>to:  Criação dos </a:t>
              </a:r>
            </a:p>
            <a:p>
              <a:pPr marL="36575">
                <a:lnSpc>
                  <a:spcPts val="2879"/>
                </a:lnSpc>
              </a:pPr>
              <a:r>
                <a:rPr lang="en-US" sz="2394" dirty="0">
                  <a:latin typeface="Calibri"/>
                </a:rPr>
                <a:t>P</a:t>
              </a:r>
              <a:r>
                <a:rPr lang="en-US" sz="2394" spc="-39" dirty="0">
                  <a:latin typeface="Calibri"/>
                </a:rPr>
                <a:t>r</a:t>
              </a:r>
              <a:r>
                <a:rPr lang="en-US" sz="2394" dirty="0">
                  <a:latin typeface="Calibri"/>
                </a:rPr>
                <a:t>odutos do P</a:t>
              </a:r>
              <a:r>
                <a:rPr lang="en-US" sz="2394" spc="-39" dirty="0">
                  <a:latin typeface="Calibri"/>
                </a:rPr>
                <a:t>r</a:t>
              </a:r>
              <a:r>
                <a:rPr lang="en-US" sz="2394" dirty="0">
                  <a:latin typeface="Calibri"/>
                </a:rPr>
                <a:t>oj</a:t>
              </a:r>
              <a:r>
                <a:rPr lang="en-US" sz="2394" spc="-20" dirty="0">
                  <a:latin typeface="Calibri"/>
                </a:rPr>
                <a:t>e</a:t>
              </a:r>
              <a:r>
                <a:rPr lang="en-US" sz="2394" dirty="0">
                  <a:latin typeface="Calibri"/>
                </a:rPr>
                <a:t>to </a:t>
              </a:r>
            </a:p>
          </p:txBody>
        </p:sp>
        <p:sp>
          <p:nvSpPr>
            <p:cNvPr id="553" name="Rectangle 553"/>
            <p:cNvSpPr/>
            <p:nvPr/>
          </p:nvSpPr>
          <p:spPr>
            <a:xfrm>
              <a:off x="6381622" y="5472456"/>
              <a:ext cx="2294474" cy="485603"/>
            </a:xfrm>
            <a:prstGeom prst="rect">
              <a:avLst/>
            </a:prstGeom>
          </p:spPr>
          <p:txBody>
            <a:bodyPr wrap="none" lIns="0" tIns="0" rIns="0" bIns="0">
              <a:spAutoFit/>
            </a:bodyPr>
            <a:lstStyle/>
            <a:p>
              <a:r>
                <a:rPr lang="en-US" sz="2394" spc="-51" dirty="0">
                  <a:latin typeface="Calibri"/>
                </a:rPr>
                <a:t>P</a:t>
              </a:r>
              <a:r>
                <a:rPr lang="en-US" sz="2394" dirty="0">
                  <a:latin typeface="Calibri"/>
                </a:rPr>
                <a:t>ós-p</a:t>
              </a:r>
              <a:r>
                <a:rPr lang="en-US" sz="2394" spc="-42" dirty="0">
                  <a:latin typeface="Calibri"/>
                </a:rPr>
                <a:t>r</a:t>
              </a:r>
              <a:r>
                <a:rPr lang="en-US" sz="2394" dirty="0">
                  <a:latin typeface="Calibri"/>
                </a:rPr>
                <a:t>oj</a:t>
              </a:r>
              <a:r>
                <a:rPr lang="en-US" sz="2394" spc="-20" dirty="0">
                  <a:latin typeface="Calibri"/>
                </a:rPr>
                <a:t>e</a:t>
              </a:r>
              <a:r>
                <a:rPr lang="en-US" sz="2394" dirty="0">
                  <a:latin typeface="Calibri"/>
                </a:rPr>
                <a:t>to: Con</a:t>
              </a:r>
              <a:r>
                <a:rPr lang="en-US" sz="2394" spc="-30" dirty="0">
                  <a:latin typeface="Calibri"/>
                </a:rPr>
                <a:t>t</a:t>
              </a:r>
              <a:r>
                <a:rPr lang="en-US" sz="2394" dirty="0">
                  <a:latin typeface="Calibri"/>
                </a:rPr>
                <a:t>abili</a:t>
              </a:r>
              <a:r>
                <a:rPr lang="en-US" sz="2394" spc="-30" dirty="0">
                  <a:latin typeface="Calibri"/>
                </a:rPr>
                <a:t>z</a:t>
              </a:r>
              <a:r>
                <a:rPr lang="en-US" sz="2394" dirty="0">
                  <a:latin typeface="Calibri"/>
                </a:rPr>
                <a:t>a</a:t>
              </a:r>
              <a:r>
                <a:rPr lang="en-US" sz="2394" spc="-18" dirty="0">
                  <a:latin typeface="Calibri"/>
                </a:rPr>
                <a:t>ç</a:t>
              </a:r>
              <a:r>
                <a:rPr lang="en-US" sz="2394" dirty="0">
                  <a:latin typeface="Calibri"/>
                </a:rPr>
                <a:t>ão </a:t>
              </a:r>
            </a:p>
            <a:p>
              <a:pPr marL="80010">
                <a:lnSpc>
                  <a:spcPts val="2883"/>
                </a:lnSpc>
              </a:pPr>
              <a:r>
                <a:rPr lang="en-US" sz="2394" dirty="0">
                  <a:latin typeface="Calibri"/>
                </a:rPr>
                <a:t>dos </a:t>
              </a:r>
              <a:r>
                <a:rPr lang="en-US" sz="2394" spc="-42" dirty="0">
                  <a:latin typeface="Calibri"/>
                </a:rPr>
                <a:t>R</a:t>
              </a:r>
              <a:r>
                <a:rPr lang="en-US" sz="2394" dirty="0">
                  <a:latin typeface="Calibri"/>
                </a:rPr>
                <a:t>esul</a:t>
              </a:r>
              <a:r>
                <a:rPr lang="en-US" sz="2394" spc="-23" dirty="0">
                  <a:latin typeface="Calibri"/>
                </a:rPr>
                <a:t>t</a:t>
              </a:r>
              <a:r>
                <a:rPr lang="en-US" sz="2394" dirty="0">
                  <a:latin typeface="Calibri"/>
                </a:rPr>
                <a:t>ados do P</a:t>
              </a:r>
              <a:r>
                <a:rPr lang="en-US" sz="2394" spc="-39" dirty="0">
                  <a:latin typeface="Calibri"/>
                </a:rPr>
                <a:t>r</a:t>
              </a:r>
              <a:r>
                <a:rPr lang="en-US" sz="2394" dirty="0">
                  <a:latin typeface="Calibri"/>
                </a:rPr>
                <a:t>oj</a:t>
              </a:r>
              <a:r>
                <a:rPr lang="en-US" sz="2394" spc="-20" dirty="0">
                  <a:latin typeface="Calibri"/>
                </a:rPr>
                <a:t>e</a:t>
              </a:r>
              <a:r>
                <a:rPr lang="en-US" sz="2394" dirty="0">
                  <a:latin typeface="Calibri"/>
                </a:rPr>
                <a:t>to </a:t>
              </a:r>
            </a:p>
          </p:txBody>
        </p:sp>
        <p:sp>
          <p:nvSpPr>
            <p:cNvPr id="554" name="Rectangle 554"/>
            <p:cNvSpPr/>
            <p:nvPr/>
          </p:nvSpPr>
          <p:spPr>
            <a:xfrm>
              <a:off x="695316" y="4031932"/>
              <a:ext cx="3122009" cy="673176"/>
            </a:xfrm>
            <a:prstGeom prst="rect">
              <a:avLst/>
            </a:prstGeom>
          </p:spPr>
          <p:txBody>
            <a:bodyPr wrap="none" lIns="0" tIns="0" rIns="0" bIns="0">
              <a:spAutoFit/>
            </a:bodyPr>
            <a:lstStyle/>
            <a:p>
              <a:pPr marL="153161"/>
              <a:r>
                <a:rPr lang="en-US" sz="1655" b="1" dirty="0">
                  <a:latin typeface="Times New Roman"/>
                </a:rPr>
                <a:t>Técnicas</a:t>
              </a:r>
              <a:r>
                <a:rPr lang="en-US" sz="1655" b="1" spc="-32" dirty="0">
                  <a:latin typeface="Times New Roman"/>
                </a:rPr>
                <a:t> </a:t>
              </a:r>
              <a:r>
                <a:rPr lang="en-US" sz="1655" b="1" dirty="0">
                  <a:latin typeface="Times New Roman"/>
                </a:rPr>
                <a:t>usando</a:t>
              </a:r>
              <a:r>
                <a:rPr lang="en-US" sz="1655" b="1" spc="-24" dirty="0">
                  <a:latin typeface="Times New Roman"/>
                </a:rPr>
                <a:t> </a:t>
              </a:r>
              <a:r>
                <a:rPr lang="en-US" sz="1655" b="1" dirty="0">
                  <a:latin typeface="Times New Roman"/>
                </a:rPr>
                <a:t>os indicadores</a:t>
              </a:r>
              <a:r>
                <a:rPr lang="en-US" sz="1655" b="1" spc="-56" dirty="0">
                  <a:latin typeface="Times New Roman"/>
                </a:rPr>
                <a:t> </a:t>
              </a:r>
              <a:r>
                <a:rPr lang="en-US" sz="1655" b="1" dirty="0">
                  <a:latin typeface="Times New Roman"/>
                </a:rPr>
                <a:t>financeiros </a:t>
              </a:r>
            </a:p>
            <a:p>
              <a:pPr>
                <a:lnSpc>
                  <a:spcPts val="1979"/>
                </a:lnSpc>
              </a:pPr>
              <a:r>
                <a:rPr lang="en-US" sz="1655" b="1" dirty="0">
                  <a:latin typeface="Times New Roman"/>
                </a:rPr>
                <a:t>(</a:t>
              </a:r>
              <a:r>
                <a:rPr lang="en-US" sz="1655" b="1" dirty="0" err="1">
                  <a:latin typeface="Times New Roman"/>
                </a:rPr>
                <a:t>PayBack</a:t>
              </a:r>
              <a:r>
                <a:rPr lang="en-US" sz="1655" b="1" dirty="0">
                  <a:latin typeface="Times New Roman"/>
                </a:rPr>
                <a:t>, VPL, TIR, ROI, etc.),</a:t>
              </a:r>
              <a:r>
                <a:rPr lang="en-US" sz="1655" b="1" spc="-38" dirty="0">
                  <a:latin typeface="Times New Roman"/>
                </a:rPr>
                <a:t> </a:t>
              </a:r>
              <a:r>
                <a:rPr lang="en-US" sz="1655" b="1" dirty="0" err="1">
                  <a:latin typeface="Times New Roman"/>
                </a:rPr>
                <a:t>intangí</a:t>
              </a:r>
              <a:r>
                <a:rPr lang="en-US" sz="1655" b="1" spc="-20" dirty="0" err="1">
                  <a:latin typeface="Times New Roman"/>
                </a:rPr>
                <a:t>v</a:t>
              </a:r>
              <a:r>
                <a:rPr lang="en-US" sz="1655" b="1" dirty="0" err="1">
                  <a:latin typeface="Times New Roman"/>
                </a:rPr>
                <a:t>eis</a:t>
              </a:r>
              <a:r>
                <a:rPr lang="en-US" sz="1655" b="1" dirty="0">
                  <a:latin typeface="Times New Roman"/>
                </a:rPr>
                <a:t>, </a:t>
              </a:r>
              <a:r>
                <a:rPr lang="en-US" sz="1655" b="1" dirty="0" err="1">
                  <a:latin typeface="Times New Roman"/>
                </a:rPr>
                <a:t>como</a:t>
              </a:r>
              <a:r>
                <a:rPr lang="en-US" sz="1655" b="1" dirty="0">
                  <a:latin typeface="Times New Roman"/>
                </a:rPr>
                <a:t> </a:t>
              </a:r>
            </a:p>
            <a:p>
              <a:pPr marL="89154">
                <a:lnSpc>
                  <a:spcPts val="1979"/>
                </a:lnSpc>
              </a:pPr>
              <a:r>
                <a:rPr lang="en-US" sz="1655" b="1" dirty="0">
                  <a:latin typeface="Times New Roman"/>
                </a:rPr>
                <a:t>(</a:t>
              </a:r>
              <a:r>
                <a:rPr lang="en-US" sz="1655" b="1" dirty="0" err="1">
                  <a:latin typeface="Times New Roman"/>
                </a:rPr>
                <a:t>estratégicos</a:t>
              </a:r>
              <a:r>
                <a:rPr lang="en-US" sz="1655" b="1" dirty="0">
                  <a:latin typeface="Times New Roman"/>
                </a:rPr>
                <a:t>, </a:t>
              </a:r>
              <a:r>
                <a:rPr lang="en-US" sz="1655" b="1" dirty="0" err="1">
                  <a:latin typeface="Times New Roman"/>
                </a:rPr>
                <a:t>imagem</a:t>
              </a:r>
              <a:r>
                <a:rPr lang="en-US" sz="1655" b="1" dirty="0">
                  <a:latin typeface="Times New Roman"/>
                </a:rPr>
                <a:t>,</a:t>
              </a:r>
              <a:r>
                <a:rPr lang="en-US" sz="1655" b="1" spc="-51" dirty="0">
                  <a:latin typeface="Times New Roman"/>
                </a:rPr>
                <a:t> </a:t>
              </a:r>
              <a:r>
                <a:rPr lang="en-US" sz="1655" b="1" dirty="0">
                  <a:latin typeface="Times New Roman"/>
                </a:rPr>
                <a:t>sustent</a:t>
              </a:r>
              <a:r>
                <a:rPr lang="en-US" sz="1655" b="1" spc="-20" dirty="0">
                  <a:latin typeface="Times New Roman"/>
                </a:rPr>
                <a:t>a</a:t>
              </a:r>
              <a:r>
                <a:rPr lang="en-US" sz="1655" b="1" dirty="0">
                  <a:latin typeface="Times New Roman"/>
                </a:rPr>
                <a:t>bilidade,</a:t>
              </a:r>
              <a:r>
                <a:rPr lang="en-US" sz="1655" b="1" spc="-53" dirty="0">
                  <a:latin typeface="Times New Roman"/>
                </a:rPr>
                <a:t> P&amp;D, </a:t>
              </a:r>
              <a:r>
                <a:rPr lang="en-US" sz="1655" b="1" dirty="0">
                  <a:latin typeface="Times New Roman"/>
                </a:rPr>
                <a:t>etc.)</a:t>
              </a:r>
              <a:r>
                <a:rPr lang="en-US" sz="1655" b="1" spc="-56" dirty="0">
                  <a:latin typeface="Times New Roman"/>
                </a:rPr>
                <a:t> </a:t>
              </a:r>
            </a:p>
            <a:p>
              <a:pPr marL="89154">
                <a:lnSpc>
                  <a:spcPts val="1979"/>
                </a:lnSpc>
              </a:pPr>
              <a:r>
                <a:rPr lang="en-US" sz="1655" b="1" dirty="0" err="1">
                  <a:latin typeface="Times New Roman"/>
                </a:rPr>
                <a:t>ou</a:t>
              </a:r>
              <a:r>
                <a:rPr lang="en-US" sz="1655" b="1" dirty="0">
                  <a:latin typeface="Times New Roman"/>
                </a:rPr>
                <a:t> ambos, (</a:t>
              </a:r>
              <a:r>
                <a:rPr lang="en-US" sz="1655" b="1" dirty="0" err="1">
                  <a:latin typeface="Times New Roman"/>
                </a:rPr>
                <a:t>Técnicas</a:t>
              </a:r>
              <a:r>
                <a:rPr lang="en-US" sz="1655" b="1" dirty="0">
                  <a:latin typeface="Times New Roman"/>
                </a:rPr>
                <a:t>: Scoring (peso)</a:t>
              </a:r>
              <a:r>
                <a:rPr lang="en-US" sz="1655" b="1" spc="-23" dirty="0">
                  <a:latin typeface="Times New Roman"/>
                </a:rPr>
                <a:t>,</a:t>
              </a:r>
              <a:r>
                <a:rPr lang="en-US" sz="1655" b="1" spc="-56" dirty="0">
                  <a:latin typeface="Times New Roman"/>
                </a:rPr>
                <a:t> </a:t>
              </a:r>
              <a:r>
                <a:rPr lang="en-US" sz="1655" b="1" dirty="0">
                  <a:latin typeface="Times New Roman"/>
                </a:rPr>
                <a:t>AHP*). </a:t>
              </a:r>
            </a:p>
          </p:txBody>
        </p:sp>
        <p:sp>
          <p:nvSpPr>
            <p:cNvPr id="555" name="Rectangle 555"/>
            <p:cNvSpPr/>
            <p:nvPr/>
          </p:nvSpPr>
          <p:spPr>
            <a:xfrm>
              <a:off x="6261227" y="4029826"/>
              <a:ext cx="2749641" cy="331202"/>
            </a:xfrm>
            <a:prstGeom prst="rect">
              <a:avLst/>
            </a:prstGeom>
          </p:spPr>
          <p:txBody>
            <a:bodyPr wrap="none" lIns="0" tIns="0" rIns="0" bIns="0">
              <a:spAutoFit/>
            </a:bodyPr>
            <a:lstStyle/>
            <a:p>
              <a:r>
                <a:rPr lang="en-US" sz="1655" b="1" dirty="0">
                  <a:latin typeface="Times New Roman"/>
                </a:rPr>
                <a:t>Mesmas</a:t>
              </a:r>
              <a:r>
                <a:rPr lang="en-US" sz="1655" b="1" spc="-51" dirty="0">
                  <a:latin typeface="Times New Roman"/>
                </a:rPr>
                <a:t> </a:t>
              </a:r>
              <a:r>
                <a:rPr lang="en-US" sz="1655" b="1" dirty="0">
                  <a:latin typeface="Times New Roman"/>
                </a:rPr>
                <a:t>técnicas</a:t>
              </a:r>
              <a:r>
                <a:rPr lang="en-US" sz="1655" b="1" spc="-56" dirty="0">
                  <a:latin typeface="Times New Roman"/>
                </a:rPr>
                <a:t> </a:t>
              </a:r>
              <a:r>
                <a:rPr lang="en-US" sz="1655" b="1" dirty="0">
                  <a:latin typeface="Times New Roman"/>
                </a:rPr>
                <a:t> de</a:t>
              </a:r>
              <a:r>
                <a:rPr lang="en-US" sz="1655" b="1" spc="-20" dirty="0">
                  <a:latin typeface="Times New Roman"/>
                </a:rPr>
                <a:t> </a:t>
              </a:r>
              <a:r>
                <a:rPr lang="en-US" sz="1655" b="1" dirty="0">
                  <a:latin typeface="Times New Roman"/>
                </a:rPr>
                <a:t>pré-projet</a:t>
              </a:r>
              <a:r>
                <a:rPr lang="en-US" sz="1655" b="1" spc="-20" dirty="0">
                  <a:latin typeface="Times New Roman"/>
                </a:rPr>
                <a:t>o</a:t>
              </a:r>
              <a:r>
                <a:rPr lang="en-US" sz="1655" b="1" dirty="0">
                  <a:latin typeface="Times New Roman"/>
                </a:rPr>
                <a:t>:</a:t>
              </a:r>
              <a:r>
                <a:rPr lang="en-US" sz="1655" b="1" spc="-56" dirty="0">
                  <a:latin typeface="Times New Roman"/>
                </a:rPr>
                <a:t> </a:t>
              </a:r>
              <a:r>
                <a:rPr lang="en-US" sz="1655" b="1" dirty="0">
                  <a:latin typeface="Times New Roman"/>
                </a:rPr>
                <a:t>indicadores </a:t>
              </a:r>
            </a:p>
            <a:p>
              <a:pPr marL="486917">
                <a:lnSpc>
                  <a:spcPts val="1985"/>
                </a:lnSpc>
              </a:pPr>
              <a:r>
                <a:rPr lang="en-US" sz="1655" b="1" dirty="0">
                  <a:latin typeface="Times New Roman"/>
                </a:rPr>
                <a:t>financeiros,</a:t>
              </a:r>
              <a:r>
                <a:rPr lang="en-US" sz="1655" b="1" spc="-56" dirty="0">
                  <a:latin typeface="Times New Roman"/>
                </a:rPr>
                <a:t> </a:t>
              </a:r>
              <a:r>
                <a:rPr lang="en-US" sz="1655" b="1" dirty="0">
                  <a:latin typeface="Times New Roman"/>
                </a:rPr>
                <a:t>intangíveis</a:t>
              </a:r>
              <a:r>
                <a:rPr lang="en-US" sz="1655" b="1" spc="-51" dirty="0">
                  <a:latin typeface="Times New Roman"/>
                </a:rPr>
                <a:t> </a:t>
              </a:r>
              <a:r>
                <a:rPr lang="en-US" sz="1655" b="1" dirty="0">
                  <a:latin typeface="Times New Roman"/>
                </a:rPr>
                <a:t>ou ambos</a:t>
              </a:r>
              <a:r>
                <a:rPr lang="en-US" sz="1655" b="1" spc="-32" dirty="0">
                  <a:latin typeface="Times New Roman"/>
                </a:rPr>
                <a:t> </a:t>
              </a:r>
              <a:r>
                <a:rPr lang="en-US" sz="1655" b="1" dirty="0">
                  <a:latin typeface="Times New Roman"/>
                </a:rPr>
                <a:t>. </a:t>
              </a:r>
            </a:p>
          </p:txBody>
        </p:sp>
        <p:sp>
          <p:nvSpPr>
            <p:cNvPr id="556" name="Rectangle 556"/>
            <p:cNvSpPr/>
            <p:nvPr/>
          </p:nvSpPr>
          <p:spPr>
            <a:xfrm>
              <a:off x="4014851" y="951586"/>
              <a:ext cx="1997213" cy="649836"/>
            </a:xfrm>
            <a:prstGeom prst="rect">
              <a:avLst/>
            </a:prstGeom>
          </p:spPr>
          <p:txBody>
            <a:bodyPr wrap="none" lIns="0" tIns="0" rIns="0" bIns="0">
              <a:spAutoFit/>
            </a:bodyPr>
            <a:lstStyle/>
            <a:p>
              <a:r>
                <a:rPr lang="en-US" sz="1584" b="1" dirty="0">
                  <a:latin typeface="Calibri,Bold"/>
                </a:rPr>
                <a:t>Técnica</a:t>
              </a:r>
              <a:r>
                <a:rPr lang="en-US" sz="1584" b="1" spc="-39" dirty="0">
                  <a:latin typeface="Calibri,Bold"/>
                </a:rPr>
                <a:t> </a:t>
              </a:r>
              <a:r>
                <a:rPr lang="en-US" sz="1584" b="1" dirty="0">
                  <a:latin typeface="Calibri,Bold"/>
                </a:rPr>
                <a:t>de</a:t>
              </a:r>
              <a:r>
                <a:rPr lang="en-US" sz="1584" b="1" spc="-17" dirty="0">
                  <a:latin typeface="Calibri,Bold"/>
                </a:rPr>
                <a:t> </a:t>
              </a:r>
              <a:r>
                <a:rPr lang="en-US" sz="1584" b="1" dirty="0">
                  <a:latin typeface="Calibri,Bold"/>
                </a:rPr>
                <a:t>Valor Agregado </a:t>
              </a:r>
            </a:p>
            <a:p>
              <a:pPr>
                <a:lnSpc>
                  <a:spcPts val="1890"/>
                </a:lnSpc>
              </a:pPr>
              <a:r>
                <a:rPr lang="en-US" sz="1584" b="1" dirty="0">
                  <a:latin typeface="Calibri,Bold"/>
                </a:rPr>
                <a:t>(CV,</a:t>
              </a:r>
              <a:r>
                <a:rPr lang="en-US" sz="1584" b="1" spc="-17" dirty="0">
                  <a:latin typeface="Calibri,Bold"/>
                </a:rPr>
                <a:t> </a:t>
              </a:r>
              <a:r>
                <a:rPr lang="en-US" sz="1584" b="1" dirty="0">
                  <a:latin typeface="Calibri,Bold"/>
                </a:rPr>
                <a:t>SV,</a:t>
              </a:r>
              <a:r>
                <a:rPr lang="en-US" sz="1584" b="1" spc="-17" dirty="0">
                  <a:latin typeface="Calibri,Bold"/>
                </a:rPr>
                <a:t> </a:t>
              </a:r>
              <a:r>
                <a:rPr lang="en-US" sz="1584" b="1" dirty="0">
                  <a:latin typeface="Calibri,Bold"/>
                </a:rPr>
                <a:t>CPI,</a:t>
              </a:r>
              <a:r>
                <a:rPr lang="en-US" sz="1584" b="1" spc="-35" dirty="0">
                  <a:latin typeface="Calibri,Bold"/>
                </a:rPr>
                <a:t> </a:t>
              </a:r>
              <a:r>
                <a:rPr lang="en-US" sz="1584" b="1" dirty="0">
                  <a:latin typeface="Calibri,Bold"/>
                </a:rPr>
                <a:t>SPI, EAC,</a:t>
              </a:r>
              <a:r>
                <a:rPr lang="en-US" sz="1584" b="1" spc="-35" dirty="0">
                  <a:latin typeface="Calibri,Bold"/>
                </a:rPr>
                <a:t> </a:t>
              </a:r>
              <a:r>
                <a:rPr lang="en-US" sz="1584" b="1" dirty="0">
                  <a:latin typeface="Calibri,Bold"/>
                </a:rPr>
                <a:t>ETC) </a:t>
              </a:r>
            </a:p>
            <a:p>
              <a:pPr>
                <a:lnSpc>
                  <a:spcPts val="1890"/>
                </a:lnSpc>
              </a:pPr>
              <a:r>
                <a:rPr lang="en-US" sz="1584" b="1" dirty="0">
                  <a:latin typeface="Calibri,Bold"/>
                </a:rPr>
                <a:t>E projeções</a:t>
              </a:r>
              <a:r>
                <a:rPr lang="en-US" sz="1584" b="1" spc="-18" dirty="0">
                  <a:latin typeface="Calibri,Bold"/>
                </a:rPr>
                <a:t> </a:t>
              </a:r>
              <a:r>
                <a:rPr lang="en-US" sz="1584" b="1" dirty="0">
                  <a:latin typeface="Calibri,Bold"/>
                </a:rPr>
                <a:t>de indicadores </a:t>
              </a:r>
            </a:p>
            <a:p>
              <a:pPr>
                <a:lnSpc>
                  <a:spcPts val="1890"/>
                </a:lnSpc>
              </a:pPr>
              <a:r>
                <a:rPr lang="en-US" sz="1584" b="1" dirty="0">
                  <a:latin typeface="Calibri,Bold"/>
                </a:rPr>
                <a:t>financeiros</a:t>
              </a:r>
              <a:r>
                <a:rPr lang="en-US" sz="1584" b="1" spc="-18" dirty="0">
                  <a:latin typeface="Calibri,Bold"/>
                </a:rPr>
                <a:t> </a:t>
              </a:r>
              <a:r>
                <a:rPr lang="en-US" sz="1584" b="1" dirty="0">
                  <a:latin typeface="Calibri,Bold"/>
                </a:rPr>
                <a:t>e/ou</a:t>
              </a:r>
              <a:r>
                <a:rPr lang="en-US" sz="1584" b="1" spc="-17" dirty="0">
                  <a:latin typeface="Calibri,Bold"/>
                </a:rPr>
                <a:t> </a:t>
              </a:r>
              <a:r>
                <a:rPr lang="en-US" sz="1584" b="1" dirty="0">
                  <a:latin typeface="Calibri,Bold"/>
                </a:rPr>
                <a:t>intangíveis</a:t>
              </a:r>
              <a:r>
                <a:rPr lang="en-US" sz="1584" b="1" spc="-54" dirty="0">
                  <a:latin typeface="Calibri,Bold"/>
                </a:rPr>
                <a:t> </a:t>
              </a:r>
              <a:r>
                <a:rPr lang="en-US" sz="1584" b="1" dirty="0">
                  <a:latin typeface="Calibri,Bold"/>
                </a:rPr>
                <a:t>de </a:t>
              </a:r>
            </a:p>
          </p:txBody>
        </p:sp>
        <p:sp>
          <p:nvSpPr>
            <p:cNvPr id="557" name="Rectangle 557"/>
            <p:cNvSpPr/>
            <p:nvPr/>
          </p:nvSpPr>
          <p:spPr>
            <a:xfrm>
              <a:off x="4014851" y="1591666"/>
              <a:ext cx="1892227" cy="162523"/>
            </a:xfrm>
            <a:prstGeom prst="rect">
              <a:avLst/>
            </a:prstGeom>
          </p:spPr>
          <p:txBody>
            <a:bodyPr wrap="none" lIns="0" tIns="0" rIns="0" bIns="0">
              <a:spAutoFit/>
            </a:bodyPr>
            <a:lstStyle/>
            <a:p>
              <a:r>
                <a:rPr lang="en-US" sz="1584" b="1" dirty="0">
                  <a:latin typeface="Calibri,Bold"/>
                </a:rPr>
                <a:t>retorno</a:t>
              </a:r>
              <a:r>
                <a:rPr lang="en-US" sz="1584" b="1" spc="-17" dirty="0">
                  <a:latin typeface="Calibri,Bold"/>
                </a:rPr>
                <a:t> </a:t>
              </a:r>
              <a:r>
                <a:rPr lang="en-US" sz="1584" b="1" dirty="0">
                  <a:latin typeface="Calibri,Bold"/>
                </a:rPr>
                <a:t>sobre investimentos. </a:t>
              </a:r>
            </a:p>
          </p:txBody>
        </p:sp>
        <p:sp>
          <p:nvSpPr>
            <p:cNvPr id="558" name="Rectangle 558"/>
            <p:cNvSpPr/>
            <p:nvPr/>
          </p:nvSpPr>
          <p:spPr>
            <a:xfrm>
              <a:off x="1280413" y="5482210"/>
              <a:ext cx="2053939" cy="485603"/>
            </a:xfrm>
            <a:prstGeom prst="rect">
              <a:avLst/>
            </a:prstGeom>
          </p:spPr>
          <p:txBody>
            <a:bodyPr wrap="none" lIns="0" tIns="0" rIns="0" bIns="0">
              <a:spAutoFit/>
            </a:bodyPr>
            <a:lstStyle/>
            <a:p>
              <a:r>
                <a:rPr lang="en-US" sz="2394" dirty="0">
                  <a:latin typeface="Calibri"/>
                </a:rPr>
                <a:t>P</a:t>
              </a:r>
              <a:r>
                <a:rPr lang="en-US" sz="2394" spc="-39" dirty="0">
                  <a:latin typeface="Calibri"/>
                </a:rPr>
                <a:t>r</a:t>
              </a:r>
              <a:r>
                <a:rPr lang="en-US" sz="2394" dirty="0">
                  <a:latin typeface="Calibri"/>
                </a:rPr>
                <a:t>é-p</a:t>
              </a:r>
              <a:r>
                <a:rPr lang="en-US" sz="2394" spc="-42" dirty="0">
                  <a:latin typeface="Calibri"/>
                </a:rPr>
                <a:t>r</a:t>
              </a:r>
              <a:r>
                <a:rPr lang="en-US" sz="2394" dirty="0">
                  <a:latin typeface="Calibri"/>
                </a:rPr>
                <a:t>oj</a:t>
              </a:r>
              <a:r>
                <a:rPr lang="en-US" sz="2394" spc="-20" dirty="0">
                  <a:latin typeface="Calibri"/>
                </a:rPr>
                <a:t>e</a:t>
              </a:r>
              <a:r>
                <a:rPr lang="en-US" sz="2394" dirty="0">
                  <a:latin typeface="Calibri"/>
                </a:rPr>
                <a:t>to:  </a:t>
              </a:r>
              <a:r>
                <a:rPr lang="en-US" sz="2394" spc="-39" dirty="0">
                  <a:latin typeface="Calibri"/>
                </a:rPr>
                <a:t>Av</a:t>
              </a:r>
              <a:r>
                <a:rPr lang="en-US" sz="2394" dirty="0">
                  <a:latin typeface="Calibri"/>
                </a:rPr>
                <a:t>alia</a:t>
              </a:r>
              <a:r>
                <a:rPr lang="en-US" sz="2394" spc="-18" dirty="0">
                  <a:latin typeface="Calibri"/>
                </a:rPr>
                <a:t>ç</a:t>
              </a:r>
              <a:r>
                <a:rPr lang="en-US" sz="2394" dirty="0">
                  <a:latin typeface="Calibri"/>
                </a:rPr>
                <a:t>ão</a:t>
              </a:r>
              <a:r>
                <a:rPr lang="en-US" sz="2394" spc="-35" dirty="0">
                  <a:latin typeface="Calibri"/>
                </a:rPr>
                <a:t> </a:t>
              </a:r>
              <a:r>
                <a:rPr lang="en-US" sz="2394" dirty="0">
                  <a:latin typeface="Calibri"/>
                </a:rPr>
                <a:t>e </a:t>
              </a:r>
            </a:p>
            <a:p>
              <a:pPr marL="96012">
                <a:lnSpc>
                  <a:spcPts val="2879"/>
                </a:lnSpc>
              </a:pPr>
              <a:r>
                <a:rPr lang="en-US" sz="2394" dirty="0">
                  <a:latin typeface="Calibri"/>
                </a:rPr>
                <a:t>Autori</a:t>
              </a:r>
              <a:r>
                <a:rPr lang="en-US" sz="2394" spc="-30" dirty="0">
                  <a:latin typeface="Calibri"/>
                </a:rPr>
                <a:t>z</a:t>
              </a:r>
              <a:r>
                <a:rPr lang="en-US" sz="2394" dirty="0">
                  <a:latin typeface="Calibri"/>
                </a:rPr>
                <a:t>a</a:t>
              </a:r>
              <a:r>
                <a:rPr lang="en-US" sz="2394" spc="-18" dirty="0">
                  <a:latin typeface="Calibri"/>
                </a:rPr>
                <a:t>ç</a:t>
              </a:r>
              <a:r>
                <a:rPr lang="en-US" sz="2394" dirty="0">
                  <a:latin typeface="Calibri"/>
                </a:rPr>
                <a:t>ão do P</a:t>
              </a:r>
              <a:r>
                <a:rPr lang="en-US" sz="2394" spc="-39" dirty="0">
                  <a:latin typeface="Calibri"/>
                </a:rPr>
                <a:t>r</a:t>
              </a:r>
              <a:r>
                <a:rPr lang="en-US" sz="2394" dirty="0">
                  <a:latin typeface="Calibri"/>
                </a:rPr>
                <a:t>oj</a:t>
              </a:r>
              <a:r>
                <a:rPr lang="en-US" sz="2394" spc="-20" dirty="0">
                  <a:latin typeface="Calibri"/>
                </a:rPr>
                <a:t>e</a:t>
              </a:r>
              <a:r>
                <a:rPr lang="en-US" sz="2394" dirty="0">
                  <a:latin typeface="Calibri"/>
                </a:rPr>
                <a:t>to </a:t>
              </a:r>
            </a:p>
          </p:txBody>
        </p:sp>
        <p:sp>
          <p:nvSpPr>
            <p:cNvPr id="559" name="Rectangle 559"/>
            <p:cNvSpPr/>
            <p:nvPr/>
          </p:nvSpPr>
          <p:spPr>
            <a:xfrm>
              <a:off x="1736470" y="5914645"/>
              <a:ext cx="6375463" cy="369332"/>
            </a:xfrm>
            <a:prstGeom prst="rect">
              <a:avLst/>
            </a:prstGeom>
          </p:spPr>
          <p:txBody>
            <a:bodyPr wrap="none" lIns="0" tIns="0" rIns="0" bIns="0">
              <a:spAutoFit/>
            </a:bodyPr>
            <a:lstStyle/>
            <a:p>
              <a:r>
                <a:rPr lang="en-US" sz="3600" dirty="0">
                  <a:latin typeface="Calibri"/>
                </a:rPr>
                <a:t>Ju</a:t>
              </a:r>
              <a:r>
                <a:rPr lang="en-US" sz="3600" spc="-38" dirty="0">
                  <a:latin typeface="Calibri"/>
                </a:rPr>
                <a:t>s</a:t>
              </a:r>
              <a:r>
                <a:rPr lang="en-US" sz="3600" dirty="0">
                  <a:latin typeface="Calibri"/>
                </a:rPr>
                <a:t>tifi</a:t>
              </a:r>
              <a:r>
                <a:rPr lang="en-US" sz="3600" spc="-30" dirty="0">
                  <a:latin typeface="Calibri"/>
                </a:rPr>
                <a:t>c</a:t>
              </a:r>
              <a:r>
                <a:rPr lang="en-US" sz="3600" dirty="0">
                  <a:latin typeface="Calibri"/>
                </a:rPr>
                <a:t>ando</a:t>
              </a:r>
              <a:r>
                <a:rPr lang="en-US" sz="3600" spc="-26" dirty="0">
                  <a:latin typeface="Calibri"/>
                </a:rPr>
                <a:t> </a:t>
              </a:r>
              <a:r>
                <a:rPr lang="en-US" sz="3600" dirty="0">
                  <a:latin typeface="Calibri"/>
                </a:rPr>
                <a:t>o p</a:t>
              </a:r>
              <a:r>
                <a:rPr lang="en-US" sz="3600" spc="-62" dirty="0">
                  <a:latin typeface="Calibri"/>
                </a:rPr>
                <a:t>r</a:t>
              </a:r>
              <a:r>
                <a:rPr lang="en-US" sz="3600" dirty="0">
                  <a:latin typeface="Calibri"/>
                </a:rPr>
                <a:t>oje</a:t>
              </a:r>
              <a:r>
                <a:rPr lang="en-US" sz="3600" spc="-38" dirty="0">
                  <a:latin typeface="Calibri"/>
                </a:rPr>
                <a:t>t</a:t>
              </a:r>
              <a:r>
                <a:rPr lang="en-US" sz="3600" dirty="0">
                  <a:latin typeface="Calibri"/>
                </a:rPr>
                <a:t>o ao lon</a:t>
              </a:r>
              <a:r>
                <a:rPr lang="en-US" sz="3600" spc="-23" dirty="0">
                  <a:latin typeface="Calibri"/>
                </a:rPr>
                <a:t>g</a:t>
              </a:r>
              <a:r>
                <a:rPr lang="en-US" sz="3600" dirty="0">
                  <a:latin typeface="Calibri"/>
                </a:rPr>
                <a:t>o</a:t>
              </a:r>
              <a:r>
                <a:rPr lang="en-US" sz="3600" spc="-30" dirty="0">
                  <a:latin typeface="Calibri"/>
                </a:rPr>
                <a:t> </a:t>
              </a:r>
              <a:r>
                <a:rPr lang="en-US" sz="3600" dirty="0">
                  <a:latin typeface="Calibri"/>
                </a:rPr>
                <a:t>de seu ciclo</a:t>
              </a:r>
              <a:r>
                <a:rPr lang="en-US" sz="3600" spc="-48" dirty="0">
                  <a:latin typeface="Calibri"/>
                </a:rPr>
                <a:t> </a:t>
              </a:r>
              <a:r>
                <a:rPr lang="en-US" sz="3600" dirty="0">
                  <a:latin typeface="Calibri"/>
                </a:rPr>
                <a:t>de vida </a:t>
              </a:r>
            </a:p>
          </p:txBody>
        </p:sp>
      </p:grpSp>
      <p:sp>
        <p:nvSpPr>
          <p:cNvPr id="74" name="CaixaDeTexto 73">
            <a:extLst>
              <a:ext uri="{FF2B5EF4-FFF2-40B4-BE49-F238E27FC236}">
                <a16:creationId xmlns:a16="http://schemas.microsoft.com/office/drawing/2014/main" id="{2419581A-AE06-4E4C-9709-B32519B34027}"/>
              </a:ext>
            </a:extLst>
          </p:cNvPr>
          <p:cNvSpPr txBox="1"/>
          <p:nvPr/>
        </p:nvSpPr>
        <p:spPr>
          <a:xfrm>
            <a:off x="3312048" y="9667378"/>
            <a:ext cx="7571792" cy="334707"/>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r>
              <a:rPr lang="pt-BR" sz="1575" dirty="0"/>
              <a:t>*AHP é um método para auxiliar as pessoas na tomada de decisões complexas. </a:t>
            </a:r>
          </a:p>
        </p:txBody>
      </p:sp>
      <p:sp>
        <p:nvSpPr>
          <p:cNvPr id="69" name="Rectangle 2">
            <a:extLst>
              <a:ext uri="{FF2B5EF4-FFF2-40B4-BE49-F238E27FC236}">
                <a16:creationId xmlns:a16="http://schemas.microsoft.com/office/drawing/2014/main" id="{6CBE99A9-788A-4225-91BC-7E7E8193EB9E}"/>
              </a:ext>
            </a:extLst>
          </p:cNvPr>
          <p:cNvSpPr>
            <a:spLocks noChangeArrowheads="1"/>
          </p:cNvSpPr>
          <p:nvPr/>
        </p:nvSpPr>
        <p:spPr bwMode="auto">
          <a:xfrm>
            <a:off x="288419" y="208019"/>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
        <p:nvSpPr>
          <p:cNvPr id="3" name="CaixaDeTexto 2">
            <a:extLst>
              <a:ext uri="{FF2B5EF4-FFF2-40B4-BE49-F238E27FC236}">
                <a16:creationId xmlns:a16="http://schemas.microsoft.com/office/drawing/2014/main" id="{6DD10ED4-25B4-4F65-81B0-EFD477CC535D}"/>
              </a:ext>
            </a:extLst>
          </p:cNvPr>
          <p:cNvSpPr txBox="1"/>
          <p:nvPr/>
        </p:nvSpPr>
        <p:spPr>
          <a:xfrm>
            <a:off x="288419" y="9344212"/>
            <a:ext cx="2941831" cy="646331"/>
          </a:xfrm>
          <a:prstGeom prst="rect">
            <a:avLst/>
          </a:prstGeom>
          <a:noFill/>
        </p:spPr>
        <p:txBody>
          <a:bodyPr wrap="none" rtlCol="0">
            <a:spAutoFit/>
          </a:bodyPr>
          <a:lstStyle/>
          <a:p>
            <a:pPr algn="l"/>
            <a:br>
              <a:rPr lang="pt-BR" b="0" i="0" u="sng" dirty="0">
                <a:solidFill>
                  <a:srgbClr val="1A0DAB"/>
                </a:solidFill>
                <a:effectLst/>
                <a:latin typeface="arial" panose="020B0604020202020204" pitchFamily="34" charset="0"/>
                <a:hlinkClick r:id="rId18"/>
              </a:rPr>
            </a:br>
            <a:r>
              <a:rPr lang="pt-BR" b="1" i="0" u="sng" dirty="0" err="1">
                <a:solidFill>
                  <a:srgbClr val="1A0DAB"/>
                </a:solidFill>
                <a:effectLst/>
                <a:latin typeface="arial" panose="020B0604020202020204" pitchFamily="34" charset="0"/>
              </a:rPr>
              <a:t>A</a:t>
            </a:r>
            <a:r>
              <a:rPr lang="pt-BR" b="0" i="0" u="sng" dirty="0" err="1">
                <a:solidFill>
                  <a:srgbClr val="1A0DAB"/>
                </a:solidFill>
                <a:effectLst/>
                <a:latin typeface="arial" panose="020B0604020202020204" pitchFamily="34" charset="0"/>
              </a:rPr>
              <a:t>nalytic</a:t>
            </a:r>
            <a:r>
              <a:rPr lang="pt-BR" b="0" i="0" u="sng" dirty="0">
                <a:solidFill>
                  <a:srgbClr val="1A0DAB"/>
                </a:solidFill>
                <a:effectLst/>
                <a:latin typeface="arial" panose="020B0604020202020204" pitchFamily="34" charset="0"/>
              </a:rPr>
              <a:t> </a:t>
            </a:r>
            <a:r>
              <a:rPr lang="pt-BR" b="1" i="0" u="sng" dirty="0" err="1">
                <a:solidFill>
                  <a:srgbClr val="1A0DAB"/>
                </a:solidFill>
                <a:effectLst/>
                <a:latin typeface="arial" panose="020B0604020202020204" pitchFamily="34" charset="0"/>
              </a:rPr>
              <a:t>H</a:t>
            </a:r>
            <a:r>
              <a:rPr lang="pt-BR" b="0" i="0" u="sng" dirty="0" err="1">
                <a:solidFill>
                  <a:srgbClr val="1A0DAB"/>
                </a:solidFill>
                <a:effectLst/>
                <a:latin typeface="arial" panose="020B0604020202020204" pitchFamily="34" charset="0"/>
              </a:rPr>
              <a:t>ierarchy</a:t>
            </a:r>
            <a:r>
              <a:rPr lang="pt-BR" b="0" i="0" u="sng" dirty="0">
                <a:solidFill>
                  <a:srgbClr val="1A0DAB"/>
                </a:solidFill>
                <a:effectLst/>
                <a:latin typeface="arial" panose="020B0604020202020204" pitchFamily="34" charset="0"/>
              </a:rPr>
              <a:t> </a:t>
            </a:r>
            <a:r>
              <a:rPr lang="pt-BR" b="1" i="0" u="sng" dirty="0" err="1">
                <a:solidFill>
                  <a:srgbClr val="1A0DAB"/>
                </a:solidFill>
                <a:effectLst/>
                <a:latin typeface="arial" panose="020B0604020202020204" pitchFamily="34" charset="0"/>
              </a:rPr>
              <a:t>P</a:t>
            </a:r>
            <a:r>
              <a:rPr lang="pt-BR" b="0" i="0" u="sng" dirty="0" err="1">
                <a:solidFill>
                  <a:srgbClr val="1A0DAB"/>
                </a:solidFill>
                <a:effectLst/>
                <a:latin typeface="arial" panose="020B0604020202020204" pitchFamily="34" charset="0"/>
              </a:rPr>
              <a:t>rocess</a:t>
            </a:r>
            <a:endParaRPr lang="pt-BR" b="0" i="0" u="sng" dirty="0">
              <a:solidFill>
                <a:srgbClr val="1A0DAB"/>
              </a:solidFill>
              <a:effectLst/>
              <a:latin typeface="arial" panose="020B0604020202020204" pitchFamily="34" charset="0"/>
              <a:hlinkClick r:id="rId18"/>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 name="Freeform 282"/>
          <p:cNvSpPr/>
          <p:nvPr/>
        </p:nvSpPr>
        <p:spPr>
          <a:xfrm>
            <a:off x="2788919" y="3928683"/>
            <a:ext cx="794387" cy="577023"/>
          </a:xfrm>
          <a:custGeom>
            <a:avLst/>
            <a:gdLst/>
            <a:ahLst/>
            <a:cxnLst/>
            <a:rect l="0" t="0" r="0" b="0"/>
            <a:pathLst>
              <a:path w="529591" h="384682">
                <a:moveTo>
                  <a:pt x="0" y="0"/>
                </a:moveTo>
                <a:lnTo>
                  <a:pt x="529591" y="0"/>
                </a:lnTo>
                <a:lnTo>
                  <a:pt x="529591" y="153924"/>
                </a:lnTo>
                <a:lnTo>
                  <a:pt x="0" y="153924"/>
                </a:lnTo>
                <a:close/>
                <a:moveTo>
                  <a:pt x="2379599" y="4238878"/>
                </a:moveTo>
                <a:moveTo>
                  <a:pt x="0" y="230758"/>
                </a:moveTo>
                <a:lnTo>
                  <a:pt x="529591" y="230758"/>
                </a:lnTo>
                <a:lnTo>
                  <a:pt x="529591" y="384682"/>
                </a:lnTo>
                <a:lnTo>
                  <a:pt x="0" y="384682"/>
                </a:lnTo>
                <a:close/>
                <a:moveTo>
                  <a:pt x="2148841" y="4238878"/>
                </a:moveTo>
              </a:path>
            </a:pathLst>
          </a:custGeom>
          <a:solidFill>
            <a:srgbClr val="4F81BD">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83" name="Freeform 283"/>
          <p:cNvSpPr/>
          <p:nvPr/>
        </p:nvSpPr>
        <p:spPr>
          <a:xfrm>
            <a:off x="2788919" y="3928683"/>
            <a:ext cx="794387" cy="577023"/>
          </a:xfrm>
          <a:custGeom>
            <a:avLst/>
            <a:gdLst/>
            <a:ahLst/>
            <a:cxnLst/>
            <a:rect l="0" t="0" r="0" b="0"/>
            <a:pathLst>
              <a:path w="529591" h="384682">
                <a:moveTo>
                  <a:pt x="0" y="0"/>
                </a:moveTo>
                <a:lnTo>
                  <a:pt x="529591" y="0"/>
                </a:lnTo>
                <a:lnTo>
                  <a:pt x="529591" y="153924"/>
                </a:lnTo>
                <a:lnTo>
                  <a:pt x="0" y="153924"/>
                </a:lnTo>
                <a:close/>
                <a:moveTo>
                  <a:pt x="2379599" y="4238878"/>
                </a:moveTo>
                <a:moveTo>
                  <a:pt x="0" y="230758"/>
                </a:moveTo>
                <a:lnTo>
                  <a:pt x="529591" y="230758"/>
                </a:lnTo>
                <a:lnTo>
                  <a:pt x="529591" y="384682"/>
                </a:lnTo>
                <a:lnTo>
                  <a:pt x="0" y="384682"/>
                </a:lnTo>
                <a:close/>
                <a:moveTo>
                  <a:pt x="2148841" y="4238878"/>
                </a:moveTo>
              </a:path>
            </a:pathLst>
          </a:custGeom>
          <a:noFill/>
          <a:ln w="25400" cap="flat" cmpd="sng">
            <a:solidFill>
              <a:srgbClr val="385D8A">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284" name="Freeform 284"/>
          <p:cNvSpPr/>
          <p:nvPr/>
        </p:nvSpPr>
        <p:spPr>
          <a:xfrm>
            <a:off x="3746374" y="4059938"/>
            <a:ext cx="8492681" cy="204978"/>
          </a:xfrm>
          <a:custGeom>
            <a:avLst/>
            <a:gdLst/>
            <a:ahLst/>
            <a:cxnLst/>
            <a:rect l="0" t="0" r="0" b="0"/>
            <a:pathLst>
              <a:path w="5661787" h="136652">
                <a:moveTo>
                  <a:pt x="0" y="136652"/>
                </a:moveTo>
                <a:lnTo>
                  <a:pt x="5661787" y="136652"/>
                </a:lnTo>
                <a:lnTo>
                  <a:pt x="5661787" y="0"/>
                </a:lnTo>
                <a:lnTo>
                  <a:pt x="0" y="0"/>
                </a:lnTo>
                <a:lnTo>
                  <a:pt x="0" y="136652"/>
                </a:lnTo>
                <a:close/>
              </a:path>
            </a:pathLst>
          </a:custGeom>
          <a:solidFill>
            <a:srgbClr val="4F81BD">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285" name="Freeform 285"/>
          <p:cNvSpPr/>
          <p:nvPr/>
        </p:nvSpPr>
        <p:spPr>
          <a:xfrm>
            <a:off x="3746374" y="4059938"/>
            <a:ext cx="8492681" cy="204978"/>
          </a:xfrm>
          <a:custGeom>
            <a:avLst/>
            <a:gdLst/>
            <a:ahLst/>
            <a:cxnLst/>
            <a:rect l="0" t="0" r="0" b="0"/>
            <a:pathLst>
              <a:path w="5661787" h="136652">
                <a:moveTo>
                  <a:pt x="0" y="136652"/>
                </a:moveTo>
                <a:lnTo>
                  <a:pt x="5661787" y="136652"/>
                </a:lnTo>
                <a:lnTo>
                  <a:pt x="5661787" y="0"/>
                </a:lnTo>
                <a:lnTo>
                  <a:pt x="0" y="0"/>
                </a:lnTo>
                <a:lnTo>
                  <a:pt x="0" y="136652"/>
                </a:lnTo>
                <a:close/>
              </a:path>
            </a:pathLst>
          </a:custGeom>
          <a:noFill/>
          <a:ln w="25400" cap="flat" cmpd="sng">
            <a:solidFill>
              <a:srgbClr val="385D8A">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287" name="Rectangle 287"/>
          <p:cNvSpPr/>
          <p:nvPr/>
        </p:nvSpPr>
        <p:spPr>
          <a:xfrm>
            <a:off x="3178877" y="1724498"/>
            <a:ext cx="5791201" cy="922240"/>
          </a:xfrm>
          <a:prstGeom prst="rect">
            <a:avLst/>
          </a:prstGeom>
        </p:spPr>
        <p:txBody>
          <a:bodyPr wrap="none" lIns="0" tIns="0" rIns="0" bIns="0">
            <a:spAutoFit/>
          </a:bodyPr>
          <a:lstStyle/>
          <a:p>
            <a:r>
              <a:rPr lang="en-US" sz="5993" dirty="0">
                <a:latin typeface="Calibri"/>
              </a:rPr>
              <a:t>D</a:t>
            </a:r>
            <a:r>
              <a:rPr lang="en-US" sz="5993" spc="-48" dirty="0">
                <a:latin typeface="Calibri"/>
              </a:rPr>
              <a:t>e</a:t>
            </a:r>
            <a:r>
              <a:rPr lang="en-US" sz="5993" dirty="0">
                <a:latin typeface="Calibri"/>
              </a:rPr>
              <a:t>fini</a:t>
            </a:r>
            <a:r>
              <a:rPr lang="en-US" sz="5993" spc="-60" dirty="0">
                <a:latin typeface="Calibri"/>
              </a:rPr>
              <a:t>ç</a:t>
            </a:r>
            <a:r>
              <a:rPr lang="en-US" sz="5993" dirty="0">
                <a:latin typeface="Calibri"/>
              </a:rPr>
              <a:t>ão</a:t>
            </a:r>
            <a:r>
              <a:rPr lang="en-US" sz="5993" spc="-24" dirty="0">
                <a:latin typeface="Calibri"/>
              </a:rPr>
              <a:t> </a:t>
            </a:r>
            <a:r>
              <a:rPr lang="en-US" sz="5993" dirty="0">
                <a:latin typeface="Calibri"/>
              </a:rPr>
              <a:t>de </a:t>
            </a:r>
            <a:r>
              <a:rPr lang="en-US" sz="5993" spc="-336" dirty="0">
                <a:latin typeface="Calibri"/>
              </a:rPr>
              <a:t>V</a:t>
            </a:r>
            <a:r>
              <a:rPr lang="en-US" sz="5993" dirty="0">
                <a:latin typeface="Calibri"/>
              </a:rPr>
              <a:t>alor </a:t>
            </a:r>
          </a:p>
        </p:txBody>
      </p:sp>
      <p:sp>
        <p:nvSpPr>
          <p:cNvPr id="288" name="Rectangle 288"/>
          <p:cNvSpPr/>
          <p:nvPr/>
        </p:nvSpPr>
        <p:spPr>
          <a:xfrm>
            <a:off x="678027" y="6227942"/>
            <a:ext cx="11804578" cy="415498"/>
          </a:xfrm>
          <a:prstGeom prst="rect">
            <a:avLst/>
          </a:prstGeom>
        </p:spPr>
        <p:txBody>
          <a:bodyPr wrap="none" lIns="0" tIns="0" rIns="0" bIns="0">
            <a:spAutoFit/>
          </a:bodyPr>
          <a:lstStyle/>
          <a:p>
            <a:pPr>
              <a:tabLst>
                <a:tab pos="514350" algn="l"/>
              </a:tabLst>
            </a:pPr>
            <a:r>
              <a:rPr lang="en-US" sz="2700" dirty="0">
                <a:latin typeface="Arial"/>
              </a:rPr>
              <a:t>•	</a:t>
            </a:r>
            <a:r>
              <a:rPr lang="en-US" sz="2700" dirty="0">
                <a:latin typeface="Calibri"/>
              </a:rPr>
              <a:t>O </a:t>
            </a:r>
            <a:r>
              <a:rPr lang="en-US" sz="2700" spc="-44" dirty="0">
                <a:latin typeface="Calibri"/>
              </a:rPr>
              <a:t>t</a:t>
            </a:r>
            <a:r>
              <a:rPr lang="en-US" sz="2700" dirty="0">
                <a:latin typeface="Calibri"/>
              </a:rPr>
              <a:t>ermo </a:t>
            </a:r>
            <a:r>
              <a:rPr lang="en-US" sz="2700" b="1" dirty="0">
                <a:latin typeface="Calibri"/>
              </a:rPr>
              <a:t>“necessidade”</a:t>
            </a:r>
            <a:r>
              <a:rPr lang="en-US" sz="2700" b="1" spc="-17" dirty="0">
                <a:latin typeface="Calibri"/>
              </a:rPr>
              <a:t> </a:t>
            </a:r>
            <a:r>
              <a:rPr lang="en-US" sz="2700" dirty="0">
                <a:latin typeface="Calibri"/>
              </a:rPr>
              <a:t>engloba </a:t>
            </a:r>
            <a:r>
              <a:rPr lang="en-US" sz="2700" spc="-42" dirty="0">
                <a:latin typeface="Calibri"/>
              </a:rPr>
              <a:t>t</a:t>
            </a:r>
            <a:r>
              <a:rPr lang="en-US" sz="2700" dirty="0">
                <a:latin typeface="Calibri"/>
              </a:rPr>
              <a:t>ambém </a:t>
            </a:r>
            <a:r>
              <a:rPr lang="en-US" sz="2700" b="1" spc="-30" dirty="0">
                <a:latin typeface="Calibri"/>
              </a:rPr>
              <a:t>e</a:t>
            </a:r>
            <a:r>
              <a:rPr lang="en-US" sz="2700" b="1" dirty="0">
                <a:latin typeface="Calibri"/>
              </a:rPr>
              <a:t>xpec</a:t>
            </a:r>
            <a:r>
              <a:rPr lang="en-US" sz="2700" b="1" spc="-42" dirty="0">
                <a:latin typeface="Calibri"/>
              </a:rPr>
              <a:t>t</a:t>
            </a:r>
            <a:r>
              <a:rPr lang="en-US" sz="2700" b="1" spc="-17" dirty="0">
                <a:latin typeface="Calibri"/>
              </a:rPr>
              <a:t>a</a:t>
            </a:r>
            <a:r>
              <a:rPr lang="en-US" sz="2700" b="1" dirty="0">
                <a:latin typeface="Calibri"/>
              </a:rPr>
              <a:t>ti</a:t>
            </a:r>
            <a:r>
              <a:rPr lang="en-US" sz="2700" b="1" spc="-33" dirty="0">
                <a:latin typeface="Calibri"/>
              </a:rPr>
              <a:t>v</a:t>
            </a:r>
            <a:r>
              <a:rPr lang="en-US" sz="2700" b="1" dirty="0">
                <a:latin typeface="Calibri"/>
              </a:rPr>
              <a:t>as</a:t>
            </a:r>
            <a:r>
              <a:rPr lang="en-US" sz="2700" b="1" spc="-17" dirty="0">
                <a:latin typeface="Calibri"/>
              </a:rPr>
              <a:t> </a:t>
            </a:r>
            <a:r>
              <a:rPr lang="en-US" sz="2700" b="1" dirty="0">
                <a:latin typeface="Calibri"/>
              </a:rPr>
              <a:t>e desejos </a:t>
            </a:r>
            <a:r>
              <a:rPr lang="en-US" sz="2700" dirty="0">
                <a:latin typeface="Calibri"/>
              </a:rPr>
              <a:t>pelos usuários. </a:t>
            </a:r>
          </a:p>
        </p:txBody>
      </p:sp>
      <p:sp>
        <p:nvSpPr>
          <p:cNvPr id="289" name="Rectangle 289"/>
          <p:cNvSpPr/>
          <p:nvPr/>
        </p:nvSpPr>
        <p:spPr>
          <a:xfrm>
            <a:off x="678027" y="6721718"/>
            <a:ext cx="12588383" cy="415498"/>
          </a:xfrm>
          <a:prstGeom prst="rect">
            <a:avLst/>
          </a:prstGeom>
        </p:spPr>
        <p:txBody>
          <a:bodyPr wrap="none" lIns="0" tIns="0" rIns="0" bIns="0">
            <a:spAutoFit/>
          </a:bodyPr>
          <a:lstStyle/>
          <a:p>
            <a:pPr>
              <a:tabLst>
                <a:tab pos="514350" algn="l"/>
              </a:tabLst>
            </a:pPr>
            <a:r>
              <a:rPr lang="en-US" sz="2700" dirty="0">
                <a:latin typeface="Arial"/>
              </a:rPr>
              <a:t>•	</a:t>
            </a:r>
            <a:r>
              <a:rPr lang="en-US" sz="2700" dirty="0">
                <a:latin typeface="Calibri"/>
              </a:rPr>
              <a:t>O </a:t>
            </a:r>
            <a:r>
              <a:rPr lang="en-US" sz="2700" b="1" dirty="0">
                <a:latin typeface="Calibri"/>
              </a:rPr>
              <a:t>objetivo é semp</a:t>
            </a:r>
            <a:r>
              <a:rPr lang="en-US" sz="2700" b="1" spc="-44" dirty="0">
                <a:latin typeface="Calibri"/>
              </a:rPr>
              <a:t>r</a:t>
            </a:r>
            <a:r>
              <a:rPr lang="en-US" sz="2700" b="1" dirty="0">
                <a:latin typeface="Calibri"/>
              </a:rPr>
              <a:t>e ob</a:t>
            </a:r>
            <a:r>
              <a:rPr lang="en-US" sz="2700" b="1" spc="-50" dirty="0">
                <a:latin typeface="Calibri"/>
              </a:rPr>
              <a:t>t</a:t>
            </a:r>
            <a:r>
              <a:rPr lang="en-US" sz="2700" b="1" dirty="0">
                <a:latin typeface="Calibri"/>
              </a:rPr>
              <a:t>er maior </a:t>
            </a:r>
            <a:r>
              <a:rPr lang="en-US" sz="2700" b="1" spc="-33" dirty="0">
                <a:latin typeface="Calibri"/>
              </a:rPr>
              <a:t>v</a:t>
            </a:r>
            <a:r>
              <a:rPr lang="en-US" sz="2700" b="1" dirty="0">
                <a:latin typeface="Calibri"/>
              </a:rPr>
              <a:t>alor possí</a:t>
            </a:r>
            <a:r>
              <a:rPr lang="en-US" sz="2700" b="1" spc="-17" dirty="0">
                <a:latin typeface="Calibri"/>
              </a:rPr>
              <a:t>v</a:t>
            </a:r>
            <a:r>
              <a:rPr lang="en-US" sz="2700" b="1" dirty="0">
                <a:latin typeface="Calibri"/>
              </a:rPr>
              <a:t>el </a:t>
            </a:r>
            <a:r>
              <a:rPr lang="en-US" sz="2700" dirty="0">
                <a:latin typeface="Calibri"/>
              </a:rPr>
              <a:t>pelo sacr</a:t>
            </a:r>
            <a:r>
              <a:rPr lang="en-US" sz="2700" spc="-17" dirty="0">
                <a:latin typeface="Calibri"/>
              </a:rPr>
              <a:t>i</a:t>
            </a:r>
            <a:r>
              <a:rPr lang="en-US" sz="2700" dirty="0">
                <a:latin typeface="Calibri"/>
              </a:rPr>
              <a:t>fício de </a:t>
            </a:r>
            <a:r>
              <a:rPr lang="en-US" sz="2700" spc="-41" dirty="0">
                <a:latin typeface="Calibri"/>
              </a:rPr>
              <a:t>r</a:t>
            </a:r>
            <a:r>
              <a:rPr lang="en-US" sz="2700" dirty="0">
                <a:latin typeface="Calibri"/>
              </a:rPr>
              <a:t>ecu</a:t>
            </a:r>
            <a:r>
              <a:rPr lang="en-US" sz="2700" spc="-60" dirty="0">
                <a:latin typeface="Calibri"/>
              </a:rPr>
              <a:t>r</a:t>
            </a:r>
            <a:r>
              <a:rPr lang="en-US" sz="2700" dirty="0">
                <a:latin typeface="Calibri"/>
              </a:rPr>
              <a:t>sos e ris</a:t>
            </a:r>
            <a:r>
              <a:rPr lang="en-US" sz="2700" spc="-27" dirty="0">
                <a:latin typeface="Calibri"/>
              </a:rPr>
              <a:t>c</a:t>
            </a:r>
            <a:r>
              <a:rPr lang="en-US" sz="2700" dirty="0">
                <a:latin typeface="Calibri"/>
              </a:rPr>
              <a:t>o que </a:t>
            </a:r>
          </a:p>
        </p:txBody>
      </p:sp>
      <p:sp>
        <p:nvSpPr>
          <p:cNvPr id="290" name="Rectangle 290"/>
          <p:cNvSpPr/>
          <p:nvPr/>
        </p:nvSpPr>
        <p:spPr>
          <a:xfrm>
            <a:off x="678027" y="7194233"/>
            <a:ext cx="10086223" cy="879280"/>
          </a:xfrm>
          <a:prstGeom prst="rect">
            <a:avLst/>
          </a:prstGeom>
        </p:spPr>
        <p:txBody>
          <a:bodyPr wrap="none" lIns="0" tIns="0" rIns="0" bIns="0">
            <a:spAutoFit/>
          </a:bodyPr>
          <a:lstStyle/>
          <a:p>
            <a:pPr marL="514350"/>
            <a:r>
              <a:rPr lang="en-US" sz="2700" spc="-27" dirty="0">
                <a:latin typeface="Calibri"/>
              </a:rPr>
              <a:t>c</a:t>
            </a:r>
            <a:r>
              <a:rPr lang="en-US" sz="2700" dirty="0">
                <a:latin typeface="Calibri"/>
              </a:rPr>
              <a:t>or</a:t>
            </a:r>
            <a:r>
              <a:rPr lang="en-US" sz="2700" spc="-50" dirty="0">
                <a:latin typeface="Calibri"/>
              </a:rPr>
              <a:t>r</a:t>
            </a:r>
            <a:r>
              <a:rPr lang="en-US" sz="2700" dirty="0">
                <a:latin typeface="Calibri"/>
              </a:rPr>
              <a:t>emos pa</a:t>
            </a:r>
            <a:r>
              <a:rPr lang="en-US" sz="2700" spc="-60" dirty="0">
                <a:latin typeface="Calibri"/>
              </a:rPr>
              <a:t>r</a:t>
            </a:r>
            <a:r>
              <a:rPr lang="en-US" sz="2700" dirty="0">
                <a:latin typeface="Calibri"/>
              </a:rPr>
              <a:t>a </a:t>
            </a:r>
            <a:r>
              <a:rPr lang="en-US" sz="2700" spc="-50" dirty="0">
                <a:latin typeface="Calibri"/>
              </a:rPr>
              <a:t>f</a:t>
            </a:r>
            <a:r>
              <a:rPr lang="en-US" sz="2700" dirty="0">
                <a:latin typeface="Calibri"/>
              </a:rPr>
              <a:t>a</a:t>
            </a:r>
            <a:r>
              <a:rPr lang="en-US" sz="2700" spc="-57" dirty="0">
                <a:latin typeface="Calibri"/>
              </a:rPr>
              <a:t>z</a:t>
            </a:r>
            <a:r>
              <a:rPr lang="en-US" sz="2700" dirty="0">
                <a:latin typeface="Calibri"/>
              </a:rPr>
              <a:t>er al</a:t>
            </a:r>
            <a:r>
              <a:rPr lang="en-US" sz="2700" spc="-17" dirty="0">
                <a:latin typeface="Calibri"/>
              </a:rPr>
              <a:t>g</a:t>
            </a:r>
            <a:r>
              <a:rPr lang="en-US" sz="2700" dirty="0">
                <a:latin typeface="Calibri"/>
              </a:rPr>
              <a:t>o. </a:t>
            </a:r>
          </a:p>
          <a:p>
            <a:pPr>
              <a:lnSpc>
                <a:spcPts val="3891"/>
              </a:lnSpc>
              <a:tabLst>
                <a:tab pos="514350" algn="l"/>
              </a:tabLst>
            </a:pPr>
            <a:r>
              <a:rPr lang="en-US" sz="2700" dirty="0">
                <a:latin typeface="Arial"/>
              </a:rPr>
              <a:t>•	</a:t>
            </a:r>
            <a:r>
              <a:rPr lang="en-US" sz="2700" spc="-63" dirty="0">
                <a:latin typeface="Calibri"/>
              </a:rPr>
              <a:t>R</a:t>
            </a:r>
            <a:r>
              <a:rPr lang="en-US" sz="2700" dirty="0">
                <a:latin typeface="Calibri"/>
              </a:rPr>
              <a:t>esumidamen</a:t>
            </a:r>
            <a:r>
              <a:rPr lang="en-US" sz="2700" spc="-42" dirty="0">
                <a:latin typeface="Calibri"/>
              </a:rPr>
              <a:t>t</a:t>
            </a:r>
            <a:r>
              <a:rPr lang="en-US" sz="2700" dirty="0">
                <a:latin typeface="Calibri"/>
              </a:rPr>
              <a:t>e, bus</a:t>
            </a:r>
            <a:r>
              <a:rPr lang="en-US" sz="2700" spc="-20" dirty="0">
                <a:latin typeface="Calibri"/>
              </a:rPr>
              <a:t>c</a:t>
            </a:r>
            <a:r>
              <a:rPr lang="en-US" sz="2700" dirty="0">
                <a:latin typeface="Calibri"/>
              </a:rPr>
              <a:t>ar </a:t>
            </a:r>
            <a:r>
              <a:rPr lang="en-US" sz="2700" b="1" dirty="0">
                <a:latin typeface="Calibri"/>
              </a:rPr>
              <a:t>“</a:t>
            </a:r>
            <a:r>
              <a:rPr lang="en-US" sz="2700" b="1" i="1" spc="-127" dirty="0">
                <a:latin typeface="Calibri,Italic"/>
              </a:rPr>
              <a:t>V</a:t>
            </a:r>
            <a:r>
              <a:rPr lang="en-US" sz="2700" b="1" i="1" dirty="0">
                <a:latin typeface="Calibri,Italic"/>
              </a:rPr>
              <a:t>alue </a:t>
            </a:r>
            <a:r>
              <a:rPr lang="en-US" sz="2700" b="1" i="1" spc="-33" dirty="0">
                <a:latin typeface="Calibri,Italic"/>
              </a:rPr>
              <a:t>f</a:t>
            </a:r>
            <a:r>
              <a:rPr lang="en-US" sz="2700" b="1" i="1" dirty="0">
                <a:latin typeface="Calibri,Italic"/>
              </a:rPr>
              <a:t>or Money</a:t>
            </a:r>
            <a:r>
              <a:rPr lang="en-US" sz="2700" b="1" dirty="0">
                <a:latin typeface="Calibri"/>
              </a:rPr>
              <a:t>”!  </a:t>
            </a:r>
            <a:r>
              <a:rPr lang="en-US" sz="2700" b="1" dirty="0">
                <a:latin typeface="Calibri"/>
                <a:sym typeface="Wingdings" panose="05000000000000000000" pitchFamily="2" charset="2"/>
              </a:rPr>
              <a:t> </a:t>
            </a:r>
            <a:r>
              <a:rPr lang="en-US" sz="2700" b="1" dirty="0">
                <a:latin typeface="Calibri"/>
              </a:rPr>
              <a:t>(</a:t>
            </a:r>
            <a:r>
              <a:rPr lang="en-US" sz="2700" b="1" dirty="0" err="1">
                <a:latin typeface="Calibri"/>
              </a:rPr>
              <a:t>Custo</a:t>
            </a:r>
            <a:r>
              <a:rPr lang="en-US" sz="2700" b="1" dirty="0">
                <a:latin typeface="Calibri"/>
              </a:rPr>
              <a:t> x </a:t>
            </a:r>
            <a:r>
              <a:rPr lang="en-US" sz="2700" b="1" dirty="0" err="1">
                <a:latin typeface="Calibri"/>
              </a:rPr>
              <a:t>Benefício</a:t>
            </a:r>
            <a:r>
              <a:rPr lang="en-US" sz="2700" b="1" dirty="0">
                <a:latin typeface="Calibri"/>
              </a:rPr>
              <a:t>).</a:t>
            </a:r>
          </a:p>
        </p:txBody>
      </p:sp>
      <p:sp>
        <p:nvSpPr>
          <p:cNvPr id="291" name="Rectangle 291"/>
          <p:cNvSpPr/>
          <p:nvPr/>
        </p:nvSpPr>
        <p:spPr>
          <a:xfrm>
            <a:off x="1336395" y="3692819"/>
            <a:ext cx="1420710" cy="739561"/>
          </a:xfrm>
          <a:prstGeom prst="rect">
            <a:avLst/>
          </a:prstGeom>
        </p:spPr>
        <p:txBody>
          <a:bodyPr wrap="none" lIns="0" tIns="0" rIns="0" bIns="0">
            <a:spAutoFit/>
          </a:bodyPr>
          <a:lstStyle/>
          <a:p>
            <a:r>
              <a:rPr lang="en-US" sz="4806" spc="-539" dirty="0">
                <a:latin typeface="Times New Roman"/>
              </a:rPr>
              <a:t>V</a:t>
            </a:r>
            <a:r>
              <a:rPr lang="en-US" sz="4806" dirty="0">
                <a:latin typeface="Times New Roman"/>
              </a:rPr>
              <a:t>alor </a:t>
            </a:r>
          </a:p>
        </p:txBody>
      </p:sp>
      <p:sp>
        <p:nvSpPr>
          <p:cNvPr id="292" name="Rectangle 292"/>
          <p:cNvSpPr/>
          <p:nvPr/>
        </p:nvSpPr>
        <p:spPr>
          <a:xfrm>
            <a:off x="3782073" y="2836572"/>
            <a:ext cx="8321637" cy="1105880"/>
          </a:xfrm>
          <a:prstGeom prst="rect">
            <a:avLst/>
          </a:prstGeom>
        </p:spPr>
        <p:txBody>
          <a:bodyPr wrap="none" lIns="0" tIns="0" rIns="0" bIns="0">
            <a:spAutoFit/>
          </a:bodyPr>
          <a:lstStyle/>
          <a:p>
            <a:r>
              <a:rPr lang="en-US" sz="3603" dirty="0">
                <a:latin typeface="Times New Roman"/>
              </a:rPr>
              <a:t>Satisfação</a:t>
            </a:r>
            <a:r>
              <a:rPr lang="en-US" sz="3603" spc="-33" dirty="0">
                <a:latin typeface="Times New Roman"/>
              </a:rPr>
              <a:t> </a:t>
            </a:r>
            <a:r>
              <a:rPr lang="en-US" sz="3603" dirty="0">
                <a:latin typeface="Times New Roman"/>
              </a:rPr>
              <a:t>das necessidades</a:t>
            </a:r>
            <a:r>
              <a:rPr lang="en-US" sz="3603" spc="-56" dirty="0">
                <a:latin typeface="Times New Roman"/>
              </a:rPr>
              <a:t> </a:t>
            </a:r>
            <a:r>
              <a:rPr lang="en-US" sz="3603" dirty="0">
                <a:latin typeface="Times New Roman"/>
              </a:rPr>
              <a:t>(BE</a:t>
            </a:r>
            <a:r>
              <a:rPr lang="en-US" sz="3603" spc="-20" dirty="0">
                <a:latin typeface="Times New Roman"/>
              </a:rPr>
              <a:t>N</a:t>
            </a:r>
            <a:r>
              <a:rPr lang="en-US" sz="3603" dirty="0">
                <a:latin typeface="Times New Roman"/>
              </a:rPr>
              <a:t>EFÍCIOS) </a:t>
            </a:r>
          </a:p>
          <a:p>
            <a:pPr marL="1216533">
              <a:lnSpc>
                <a:spcPts val="4319"/>
              </a:lnSpc>
            </a:pPr>
            <a:r>
              <a:rPr lang="en-US" sz="3600" i="1" dirty="0">
                <a:solidFill>
                  <a:srgbClr val="FF0000"/>
                </a:solidFill>
                <a:latin typeface="Times New Roman"/>
              </a:rPr>
              <a:t>(Monetários e não monetários) </a:t>
            </a:r>
          </a:p>
        </p:txBody>
      </p:sp>
      <p:sp>
        <p:nvSpPr>
          <p:cNvPr id="293" name="Rectangle 293"/>
          <p:cNvSpPr/>
          <p:nvPr/>
        </p:nvSpPr>
        <p:spPr>
          <a:xfrm>
            <a:off x="5298949" y="4395834"/>
            <a:ext cx="4898777" cy="553998"/>
          </a:xfrm>
          <a:prstGeom prst="rect">
            <a:avLst/>
          </a:prstGeom>
        </p:spPr>
        <p:txBody>
          <a:bodyPr wrap="none" lIns="0" tIns="0" rIns="0" bIns="0">
            <a:spAutoFit/>
          </a:bodyPr>
          <a:lstStyle/>
          <a:p>
            <a:r>
              <a:rPr lang="en-US" sz="3600" dirty="0">
                <a:latin typeface="Times New Roman"/>
              </a:rPr>
              <a:t>Uso de Recursos (Gastos) </a:t>
            </a:r>
          </a:p>
        </p:txBody>
      </p:sp>
      <p:sp>
        <p:nvSpPr>
          <p:cNvPr id="294" name="Rectangle 294"/>
          <p:cNvSpPr/>
          <p:nvPr/>
        </p:nvSpPr>
        <p:spPr>
          <a:xfrm>
            <a:off x="4089653" y="4955240"/>
            <a:ext cx="7297895" cy="462563"/>
          </a:xfrm>
          <a:prstGeom prst="rect">
            <a:avLst/>
          </a:prstGeom>
        </p:spPr>
        <p:txBody>
          <a:bodyPr wrap="none" lIns="0" tIns="0" rIns="0" bIns="0">
            <a:spAutoFit/>
          </a:bodyPr>
          <a:lstStyle/>
          <a:p>
            <a:r>
              <a:rPr lang="en-US" sz="3006" i="1" dirty="0">
                <a:solidFill>
                  <a:srgbClr val="FF0000"/>
                </a:solidFill>
                <a:latin typeface="Times New Roman"/>
              </a:rPr>
              <a:t>(dinhei</a:t>
            </a:r>
            <a:r>
              <a:rPr lang="en-US" sz="3006" i="1" spc="-110" dirty="0">
                <a:solidFill>
                  <a:srgbClr val="FF0000"/>
                </a:solidFill>
                <a:latin typeface="Times New Roman"/>
              </a:rPr>
              <a:t>r</a:t>
            </a:r>
            <a:r>
              <a:rPr lang="en-US" sz="3006" i="1" dirty="0">
                <a:solidFill>
                  <a:srgbClr val="FF0000"/>
                </a:solidFill>
                <a:latin typeface="Times New Roman"/>
              </a:rPr>
              <a:t>o,</a:t>
            </a:r>
            <a:r>
              <a:rPr lang="en-US" sz="3006" i="1" spc="-56" dirty="0">
                <a:solidFill>
                  <a:srgbClr val="FF0000"/>
                </a:solidFill>
                <a:latin typeface="Times New Roman"/>
              </a:rPr>
              <a:t> </a:t>
            </a:r>
            <a:r>
              <a:rPr lang="en-US" sz="3006" i="1" dirty="0">
                <a:solidFill>
                  <a:srgbClr val="FF0000"/>
                </a:solidFill>
                <a:latin typeface="Times New Roman"/>
              </a:rPr>
              <a:t>pessoas,</a:t>
            </a:r>
            <a:r>
              <a:rPr lang="en-US" sz="3006" i="1" spc="-50" dirty="0">
                <a:solidFill>
                  <a:srgbClr val="FF0000"/>
                </a:solidFill>
                <a:latin typeface="Times New Roman"/>
              </a:rPr>
              <a:t> </a:t>
            </a:r>
            <a:r>
              <a:rPr lang="en-US" sz="3006" i="1" dirty="0">
                <a:solidFill>
                  <a:srgbClr val="FF0000"/>
                </a:solidFill>
                <a:latin typeface="Times New Roman"/>
              </a:rPr>
              <a:t>tempo,</a:t>
            </a:r>
            <a:r>
              <a:rPr lang="en-US" sz="3006" i="1" spc="-32" dirty="0">
                <a:solidFill>
                  <a:srgbClr val="FF0000"/>
                </a:solidFill>
                <a:latin typeface="Times New Roman"/>
              </a:rPr>
              <a:t> </a:t>
            </a:r>
            <a:r>
              <a:rPr lang="en-US" sz="3006" i="1" dirty="0">
                <a:solidFill>
                  <a:srgbClr val="FF0000"/>
                </a:solidFill>
                <a:latin typeface="Times New Roman"/>
              </a:rPr>
              <a:t>ene</a:t>
            </a:r>
            <a:r>
              <a:rPr lang="en-US" sz="3006" i="1" spc="-103" dirty="0">
                <a:solidFill>
                  <a:srgbClr val="FF0000"/>
                </a:solidFill>
                <a:latin typeface="Times New Roman"/>
              </a:rPr>
              <a:t>r</a:t>
            </a:r>
            <a:r>
              <a:rPr lang="en-US" sz="3006" i="1" dirty="0">
                <a:solidFill>
                  <a:srgbClr val="FF0000"/>
                </a:solidFill>
                <a:latin typeface="Times New Roman"/>
              </a:rPr>
              <a:t>gia</a:t>
            </a:r>
            <a:r>
              <a:rPr lang="en-US" sz="3006" i="1" spc="-68" dirty="0">
                <a:solidFill>
                  <a:srgbClr val="FF0000"/>
                </a:solidFill>
                <a:latin typeface="Times New Roman"/>
              </a:rPr>
              <a:t> </a:t>
            </a:r>
            <a:r>
              <a:rPr lang="en-US" sz="3006" i="1" dirty="0">
                <a:solidFill>
                  <a:srgbClr val="FF0000"/>
                </a:solidFill>
                <a:latin typeface="Times New Roman"/>
              </a:rPr>
              <a:t>e materiais) </a:t>
            </a:r>
          </a:p>
        </p:txBody>
      </p:sp>
      <p:sp>
        <p:nvSpPr>
          <p:cNvPr id="15" name="CaixaDeTexto 14">
            <a:extLst>
              <a:ext uri="{FF2B5EF4-FFF2-40B4-BE49-F238E27FC236}">
                <a16:creationId xmlns:a16="http://schemas.microsoft.com/office/drawing/2014/main" id="{7A4FD285-60F2-4878-9EA4-377D5E4EFAA9}"/>
              </a:ext>
            </a:extLst>
          </p:cNvPr>
          <p:cNvSpPr txBox="1"/>
          <p:nvPr/>
        </p:nvSpPr>
        <p:spPr>
          <a:xfrm>
            <a:off x="678027" y="1046093"/>
            <a:ext cx="10506212" cy="561244"/>
          </a:xfrm>
          <a:prstGeom prst="rect">
            <a:avLst/>
          </a:prstGeom>
          <a:noFill/>
        </p:spPr>
        <p:txBody>
          <a:bodyPr wrap="square">
            <a:spAutoFit/>
          </a:bodyPr>
          <a:lstStyle/>
          <a:p>
            <a:pPr algn="ctr"/>
            <a:r>
              <a:rPr lang="en-US" sz="3047" b="1" dirty="0">
                <a:solidFill>
                  <a:srgbClr val="FF0000"/>
                </a:solidFill>
                <a:latin typeface="Helvetica" panose="020B0604020202020204" pitchFamily="34" charset="0"/>
              </a:rPr>
              <a:t>Value Management Office – VMO </a:t>
            </a:r>
            <a:endParaRPr lang="pt-BR" sz="3047" b="1" dirty="0">
              <a:solidFill>
                <a:srgbClr val="FF0000"/>
              </a:solidFill>
              <a:latin typeface="Helvetica" panose="020B0604020202020204" pitchFamily="34" charset="0"/>
            </a:endParaRPr>
          </a:p>
        </p:txBody>
      </p:sp>
      <p:sp>
        <p:nvSpPr>
          <p:cNvPr id="16" name="Rectangle 2">
            <a:extLst>
              <a:ext uri="{FF2B5EF4-FFF2-40B4-BE49-F238E27FC236}">
                <a16:creationId xmlns:a16="http://schemas.microsoft.com/office/drawing/2014/main" id="{5E427913-F3F5-4BFC-BCE4-C476A917A843}"/>
              </a:ext>
            </a:extLst>
          </p:cNvPr>
          <p:cNvSpPr>
            <a:spLocks noChangeArrowheads="1"/>
          </p:cNvSpPr>
          <p:nvPr/>
        </p:nvSpPr>
        <p:spPr bwMode="auto">
          <a:xfrm>
            <a:off x="657225" y="164307"/>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12" name="AutoShape 8" descr="data:image/jpeg;base64,/9j/4AAQSkZJRgABAQAAAQABAAD/2wCEAAkGBxQSERUUEhQVFRQUFxYaGBgXFxQUFRgXFxQWFxUUGBgYHCggGB0lHBcUITEhJSkrLi4uFx8zODMsNygtLiwBCgoKDg0OGhAQFy4cHCQsLCwsLCwsLCwsLCwsLCwsLCwsLCwsLCwsLCwsLCwsLCwsLCwsLCwsLCwsLCwsLCwsLP/AABEIAMIBAwMBIgACEQEDEQH/xAAcAAABBQEBAQAAAAAAAAAAAAADAAECBAYFBwj/xABFEAABAwIDBAcFBQcCBQUBAAABAAIRAyEEEjEFQVFxBiJhgZGhsRMyQsHwB1Ji0eEUcoKSorLxwtIVM0NUYyMkg7PiFv/EABkBAQEBAQEBAAAAAAAAAAAAAAABAgMEBf/EACIRAQEBAAEEAwEAAwAAAAAAAAABEQIDEjFBBCFRFBMiMv/aAAwDAQACEQMRAD8AzdItDX5mknL1YMAHieKlTai0y0MfLcxIGUyRF7ntTtavqT/qvBb/AKmDUoU4ShdGEITQiQmhVEITQiQmhBCE0IkJoQQhKFOEoREITQiQmhUDhKESE0IBwlCJCaEUOEoRITQgHCUIkJoQDhNCLCbKgHCaEWE0IBwmyokJQgFCUIkJoUAi1CcxWYUXNUVTLElYLUlMXXUDVMN1+tydzbKQCntfSEJQiQmhaZQhKFOEoVQOEoRITQgHCUIkJQqBwmyosJoQDhKETKmyoBwlCJlSyogUJQiZUsqAUJQi5U2VAOE0IuVNlQDhNCLlSyoBQmhFypoQDypsqJCUIBZU2VFypsqihZUxajZU76cCeAJKxy6nHj5rXHhy5eIq5UkbKktI6BHy9U4br9bgpOFu8eoUmhY9tekIShEypZVpkKEoRcqaFdA4SyouVNlRA8qaEXKllVAoSyouVLKgFCUImVLKgFCWVFypsqoHlShEypZUAsqUIuVNlUAoShFypsqAeVNlRcqcUzwUvKTzVkt8A5U2VTqPa33nNHNzR81WdtCiP+o3ul3oFi9bhPbX+Pl+C5U2VVztaleC50CTDYt3kKjV6UUG/C6eBc0egKxfk9NqdDm62VNlXKwO3vbuLaNNswTcvO+OAnULmnpNWPusbzDGgeLiZWL8rj6jf8991qaI6w5hXsVTOR9vhd6FZDY21cRUxFNryQ0uHxMPKzIXoVUS1w7CvH1+p32fWPT0eHbLNYxu1aJEh48x6hMs1RFrgb9w4lJdv6ef45fz8f16Lkgd49VINXlLcY6S5r3MO8tc5voVbpdI67Xh3tXOA3OuCN4K1Pkz3Gb0L+vTISyrI0emhME0hG8h2nCxHJHo9M2SQ9hbpEGTG+3FdZ1+H65/4uX40+VNC5GG6UYd4JLgxwJGV3VkTZwJtor+F2pRqOysqNcYmxHly+a3Opxvis3hZ6WQEoTyJiRPCe/8lOFvWcChLKiQol4G8KXnxnmrOFviI5Usqi/EsHxN7iEKptGmBObTsK535HTntudHnfQ+VMSJib8N9tVWG02n3WuJ4R+RKo9KqtSiKFRnVcQ43E2LWyCCL671z5fLkv1G58e5912ITimToCsXs/a+LrVWNzwxzgDlAFpv7oCo4t1R1VzPaPLQSBLpm9vekdyX5V8SL/PPNrfVHtb7zmt5uA9Sq79oUR/1Wn92Xf2hZTaWCFPD0gQRVHtM8kZwMwIzQBFjKlsTZrGn9ocZZTMEkkzmbFg4yfeG5c78nnfDU6HCO1V6SYdvxEiNwAM8nEEIZ6RsNP2jKbnMzZSS4AAwDeAeKzNGkDUd1SXG7YANtTc6LvbZa2lRGHkmSKhd25SIFuX5LN63U/Wp0+H4FU6WuPuUf6Xn1IT7Y2viKLwwZZcARAaIB7XAqPRym2q5oc1sXFs5MgTcmWiVz9t7RNSqXkAOBhuhhoJ42JiFi8uVv3WpJJ4Xdn43EVazGvqdUkyGufOhMCAAufjGVXVKjA90Mc4E5c5gOIEkrRbHcW06znOdIpgtksESDfK1xjnAKzlMOq1mtDHOJJJAa95Mm7oYCSs5Na9Ov0c2Yc7zVJc0MIIJYACSIkC4+LzWfoYZr59oQL/E5wtoIDd3ctTisO+jg6ohzAdOrUpyMzQffubLK7OxP/qy6YEiQGG2737BJZpZcabo3hadJlaoMmQ03NtmmZaQeuJK4GBptHVLXOdrDYFucG/dvC0VCnnwr8od1oyzlJPWA0a0QCee9S6MdAsVWcajgxrPhNRjnZ+QDhYcZUlm0suQ2wg1maqWvaaYNiZlsTPuiNDxWTwjgDAyGZMvJaBc2s4cF6Ptnoq7B4dznOb1w5oDWBlgwmdST3leY4MVGFtQdUHMW6TwOqd01e241/RhgdWGYU7SW5RJDmzfMZkd602wtoe3Y8nVtR7TyDjl/phZfonXc55fUc85R1ZcYGaZMaTbzUeh+0w2tUY42fLu8H5g+QWeV1qTIzjqrQSJFnO/uKS0lPo0x0udJLi51pjrOJA14EBJO6HbWBDk7ipNZexHondSid0dqrKLSP8ACnE6IYCIxhQTa697eV9yk9o1t5eijkI/NMBzQW6GIcDLXlscCReI3HsCPTx9Ua1aoHZUqCO6VTc3l3fWqTWzuJTR027ZrgCK74BBgls2IN4E6hdbFdJWYh9D2zC0MkVMh97NF26kaaFZsAC0d6C+x0+ai69vw3RzCdV2UEWMue49ugKuPwuEa0gNoyRA6rSZIgXIleV9GtruMUXuLpPVOp5HzutjQpwFi66TGubtKgwf8yw+60DTdZeWdKNqurvLnDqy7K25sSCTc9guI0C721sRkpHLdzuq0DWTYQtX9nXQlmUYjEND/uAjqkttmg7gbAdhKvH9Z5/jy3B0alHB1HPY6majm5HOaWvLRclpImPrnztkPJxNJxBjO0TYyZ1F7wSLr0/7TKrcTifZC1OiBmi0zmJbO6QWdxXB6K7E/acWJEU6cOcBYBoPUpt4SY7pW+6s9sxzcTsDFYytUGHpudLtTIbExJO4du/cCj9Jtg1cBhBTruaS7K62bSTxJ3g6AL6CwGEbSpgQBvNo3adwsvG+nmNGIxji8FzKbmNA3dSSSBvgvj+FZt+ieXnmy9nv9q2bPdfKWtdlblmXZpAtJiLcyvQcD9n9TaDw9zgynkEGCTEkTFrmLDhfeFT6J7K/aMQ4u0eTmPBgu4AnjYdy9w2RQy0haM144DRo7gArtW5Hnm1+huG2fhc9Oc4LA0uc50uc4AmCYuJ3LyEYCGio+5cSWNIBAbcZnc9Ry7l7F9rGLLnUaIO8vdyYP9xb4Lz79kLzJ+6B3AW8oUu6TwL0F2Sa7nMg+zcIdoOq0HfxJLR3r2fYXRPD4VvUYM7gM7jcn8PY0bgs99n+yRTosEXqOmd5a2D5kFegvV8JXkf2txUeMOwtb1GDt61USe4AnuXm+0MG1stYIa3qjk3eTvJMnvW26VVfabRqv3MAA5w4x/UuBXwJNo3j11WbPtueGm6C4DM+R7tOm1reBc8ZAf7z3r15tAAQBYC3yWJ6DYHJTZ+OpPcxtvUreQkmMW7XmH2wAH2DZIAbU0MXcA0SvKMbTBNNrRZlNoPMT+i9R+1h01WjgF56KYLzyb6SpfLc8DdG2Qx54f5Wf6MD/wB2f3XerQtNsZsUKh+vclZ3og2cU/8Add/e1We0vpuGRAuElKTxTrDbyVgHH0Ucn0EGVILs4jCjwVinTjQlVWmEVrjxPigk5/miezMSL8pULnuRgTH6BQMBO4nvt5qLjB08kQO4+hRIkXi3MIAF4Pu+n5FKq0Hv5qzTfG768FItB3W4SCgl0e6mJpE6Zo/maQPMhemU2rzKkcrmmD1XA9wOkr0d1YNYXWiNx71nk3xPszBHE4pobZrXBre17h1nfwsk/wAQXsONe3D4eB1WsbA7GtF/ILHfZxsyHZ3D3Gz/AB1DJ8G2XQ+0TGRR9mNahDe73n/0iO9akZv3XmdV7qlQvd8cvdzcc2XuEDuXon2f7JDKbXEQ6qc7rXyj3AfX+JY3ZuD9rUaz77oJ/CLvPgCvXNjUYBdECwHdr8h3It/Etu4sUqL3HcCe4CSvFXN6pc7UyT+84yfMlenfaBiYo5Bq6B3Tfyt3rz408xDZsPooRpOg+zclDP8AFUOQcpEnxXo0BrY3Aei4exMFlNNloptk8z+p8l2NovimeSuMvJulhNXF1D91rWDsLjmd5ZFTZh5qBo7B4lXTQLqhcfje9xns6jfJrVZ6M4cVcVfQX8CI9E9tem82LhQx4aNKbYXR2g/LTcTwKHsmmIc7iY7h+pKht8xRd2/NPbLxXEvzYmrvmoT/ACiP9KlRbcc03sYq1HDQB573OH/6V3AUC6oxo3mPBZ9t+npGxcNkdSZ91hPif1WgIsubsmiDUe77oDR2bz8l1KuitjDyL7S6J9s10+8DblafMLFbPpTVvoXgR2ZYW6+0akJpOPxCp4MLY88yxGyx1gf/ACE/1ALN8uk8O27BNAysaADqNx3eiBR2aGZiymxhO9rQDuN4F7rruhO59t3kojm/sx7PAJLoZ+0eSSYPDg1FYEwajhi6MIFWKYsoMoqzTpII5FIUxuRchRBTJQDw9ITcK3kbfqkcJ5qdCkdFdo0X6XhQct9IKbaHYV1v2Cbwuhhtm9iDPDBdi02yQXspMOgJntDSfkjDZi0XRbY81mgjqj0Fz6eaLHpHRnB+xwzZ953Xdzd+kLBdOcUX1wOAtzcf0C9HrVuoY5LzXHYb2td1TdNuQs0eEKkXehmAmoX/AHWho5u1I7rL0mkzK0Dh9FZ3orgvZ0wTrcnmbD5rtYitAQrFdOK2ao0W3u7hYeebwXL6PYH2ldodYXnuuupttgfWdaQIb3DXzzeK6WwMAM2bTd4oemk2ayGl33j5DT5qrtl/V7PkLnyBXQzgCNy4u3fddyAHaXGPSURjsV1WOMyYt4forXQrBxmedcsDmSo7RoudAAWh6N4QspiePkEi1pMNTDWgDd9FcrpKZpG8QCfAEq+2suZtlocx062jvcB80R5vtCgxrYbN3AXEWFyrvRDC567T90z6qO2qTnOa209Y27bBdroVs9zHPJ+7HfOqk8t3w2WzGQwn7znH5fJHxB6pU6bIAHAKttCnmpvbJbLXCRqLajtVYedfapSA9g3WKdXneF59smlZnMn+r9Ftto7ML7vqueY1LJPqvLNtsdTxFRorVQGugZXFgjkNNVmfdb3I9PxOEgA5hc/JU6jCO1eajF1AM3t6+ZslpdVc4SDwNit1sem/EUm1BiD1tRlFiPeGvFSxNXbpJf8ACH/9w7wCSivHQEam1d9tPDjRh01IH0fqyKzE091I/wAv5Fa1zcihg3nRjj/CfyXUwWyKnxU3juj1Vg48TamRws4T2+8VcoYxxklruVm8tVdNCbsZ50YfEfmrLOj9X7n9TfzURjKt8rbA3j9CFKni6zos4DsLgOQuoa6WH6PPi+Uc3BWqewt2emP4v0XHc94Nw48i4kqFQVBqCB2698aIa1FLYrQJNRiv4fZ9Mavb4hYU1iD7zR4H0RG4k3JJHIfrZU16HTwlIXkd5C6GFeymZaW+IXmtLHN3l2g3A/qp08S68EAG3HX0Q16pU2k0ggvaJEa8QqlI0R8bT3hedMe7UOJ3WJ+SQYdbu0469/qoa9Vp7XYBGZscx5JztVmudtvxBeU1C6SZdO+8+KLRe4XEFu+35BU16I2rSknO079QrmH2qxtmuaeRBXmrsY5vC/Yw6c0MbWePdPgQNOVkNeqf8aBtB81DF4n2jQ2wgz9eK84G1H5ZdMC8lxDfEiD4pDbTxdrv6i4Edmqaa9CZRbOoMK/SrwLLy53Savx+vBCb0jrH4yO8hNNerjFEINepmELzZvSKuPiN+3imrberffva0iE1dbxmzhnzucCe4LoYZwZpvXk7ukNYGQ+SO8eim3pHiHGC68THVHyCmmvXxtgcRPMSh19sNg2FwRqvKKe1qrtXExz/AEhO/a7wevEHjYptNa2vStviPrcvEumJjF1h2j5LfVOlBDA0O0EX62/tusFtmkK1Z1Rzic0TFgbfos8djXLlHBrVSWgDWDK0PQ+tiaYdFN7qZvILQAYubkaiPBBw2AY24E8103YkmJ3cAB6BarHc1zNpW9zxdRB/+xJYw1RxPgUlMXvHe+lfKKjgOQE8jMjkk+uxsEMI0JBAA/NcJrp+Md5P5qYbJgGT2BxVxjXXbig53VpmeAP6yijaoDYbSAPFzi49w8Fxg+N0nkD/AHFIvPB0cCYHkFcNdYbQqkagD9z5wonGVJ9+e6B6KhTxEG2ccnX9ApuxJm4dPa4q4mr1etVnrOk9hzfogmqS7r9Y75knx1VTrOuGnuk+ZRKUkxI+t1t/YmGr0g+41zTv1I7obbvJRDQc2Jjjv8yqBrFvVNt5BB80Y1mQDYE6gA5o49aw5DgmGr4rFoLTa0xBv5J2vJHvWEWJHKwGq5jqn3ZPCSCfAaKyyu8xmMxxkHQDXuCYa6ecNALiQPwga8LiQmBBPVkdz/WQgMeRaGlxvOR5d/NYKRa4i73EcJyj+/5JijmnItx/CfMknzUnGmIBc8E36rXHzkBUaJAmSwxvzT3QulhquUznoCdxdlvbQZSD3pghWePhBMaEiCeUuKA2o4GTBHiPNXMXiw9sF1MBugDmOHmAuJiMQJBtG4TZMHcpYoN47tx/06jRKrjCZ6hNhobnhZxtuXNo1m2Lg9o7CYPYLx5FXKjabGSAWzvLDm4+8YamAFTFkmGskHlNt15+ioYYE2LQYvBc1p77THYqVd9+q4x+9fwBT4MnNo182IjKfEBBoMJhYF3UxwPtBv3dced5SxbSBBf1Ykj2oJPZoJ7kHDsAb1WuG+GtdUj+IPEeC6FQsLQcjiT90VGjvBBKKzFSvIgZtTaxHimbVJIA04Q2fHL80XG1GuzFwfYkCMw83v8AkqNBwF8ubk5v+1EdP2VVwsHX5egCs09i13t0DY3kRbWZO/kr+xtqiAKgyvGkGn1uBJy6jwXUr4hj2guIfG7NRYO2YZJHeouMdiMC8alvPOL9sSuFXrQ+MpPafr5rQbSxALzam0aQ1hgc73PJZ/EROs/XBD6GY7jv7PyRG5Dr8yVWoqw0xaPrwUVaGTgP5UlVLxw9PySUFWkfh9o3mQ2f5ihPa0G1Rx/mVWU8rpjGjZWfiJ7bJZxNgPVDa/sHf/mEX2UCTI7I/VMQVmJPBs8SJ9bJnYl0zIB/CA30AQAAnHNVBTiHnVzjzcVNlRvxBzj+8AP7SeG9V0pQECmSN0jv/QIUpweSCxTdxPqrdGsBqbdq5YqcvVFp1DNrdxUXWjo7SY0EmBbUCT4jL801THtIAJEbrvt3Brj5rnUGujce59/AXUnh5+Fv8tQ+oCLolJ0kjKXD/wCRo77eq7eEdTpizGtLrHOI7pAPjZZY5tPMMk91lPDxM53EjUFjneiYa0W0ccG9UtaI0hwdbssPMrlVMUCYDQeZaO7q/moiscxApNk6k+1HkbhDzOggW5ZnC2sSAouuphKx0DGibXNS8/uugq+6k53vUaGZtwCHC3H/AJYWdYy8ktFvip04VhrXuEAZwTMWyi3wxJAHNUWdpYp43U2E7m5RPjc+CoUa1WS3ObjcWz4hwIUsRTqCxZlb+GzZ53JPegyWnMYEz93wvJUNaLAU21GtJxNQnc0e0tFjoZB7O1WatMg9VznW+JzgY7Qdd403Lh0qYMGMoN5EkH5Dmjf8NkEtLxvlz4ZziboKW1Wycw36khoEiIA/x3qs8jdOmoDfKFcxIAdGebSS0QSN/WcJI8VzW1wZ4DiSRwuJA1+aiupgqzQBLXG86t10kdTMO4rqtdScbsjgXVQ3XfFyeVln8LiQP+3I7WZrcJf32XSZi6ZBPs2zEAAEAecHfxVQTE4ikKmWWC1rPqHuAas9iK2aYB/egCY0gWAHiVYx+KBEBkburlB5aT3ELnlxygHcIi8a7oETqpi6k1/aEUO5KoOSQB4eCYauBo+ikqmc/RKSmCkCpZkOD2J5K2yJKk1xG8+KEJ4BTaT2eCInKRKjP1okYVEpUgfqyFKcFEEzKYKGE4aEBe435FFpVQP8KuGjh5qYd2u+u9B1KRbw8JJ/lj5oNZtMm7XdzC0eMlUwWn4j3iB4ynDm8TzzellFW216egaR2yX+WYI1OvOuUDiWuE7vvdbkqX7Ubhtgec95CI3FP0MkcC90eBKos1KjIuZHBpd/qHogvrssGU4O85wZ8rItad7ASRB6wETwhxkdpQ8h+7lt+GI5mQf1UUzYBBaQDwjN/qIKu08Ud/sSdw9lLvKIVBzQJhzGneYd/sjwUoMAe2BB3ZiPQGB4oEWyZc6O50DucQAhAs3untIJ+cKVQtFjUieBzDs0AieKDTqQeq+CJuC71iyC80sHu1PmOUE28VYe8g3zC09X2rh4SGjxKosLh1g/xkAnmCJSq1nb2tPGzifAOjyQNVY4+9OW8Tc94ERuTYZoEGZExEC436goVfFTAiAOd+Z3qAeCTfKOZPqbqDp0jRMCKgnXKB+nkpuGHAs8a/8AkDuybWXJLWxAAJ5+J1TwwGDB7BJ+aC1VfTbdpaSJ3vG63eqtTGTwGgta3NKqyQYEcB1h6yFTe0A6/LyRRHPHH1+abP2oRjin9qO3yQT9o5JBdiD2eSSAYKkCgtRADuVROU4UYslPaiJJ5TApyCEDhSDuxQBSlUEnsUmiUMOUs1vr0UBG1VPNP1+qCH3UhUHb28UFoVNxa0j+Aeim2oYiGD+UKi543X8kxrj6J+SC77UAe63+mfRSGKA+Bv1wIIVBtTgPn6BTJJ+HLyt80Fl2KPwy3+Nx3KLqn4Y7TJv48lXkfiPKPrySFRvaPAn+1AXO46CeQc0+QUDU0sJHaT6lRztH3jw+H5lIVxNmkjgboCOf+Fndm/wm9p2NHj6qDcSR8I8L+GiY1XO0HhA9FAambWc0cZJHgRCUSYzjtnh2EgSota9wgzb8raFM1rgbujy+SKm6xkZbdlz23JQZnU3B4fOVJwH3vn80IxvPkPzQFcw9pHd8goDhEHldMwtm4d2QQPNE/aWaCm483214BqB8o3ujx9IQqr2wAJUamIuYaG9lj5uEqBzEA7tJsLouFKgT2IzMK93u3HZJ9FfGxoZnklul+oSZGgO65v2LPdGpxrkzy8kloP8A+eabj2hB0hpSU7412VmUX4QkktuRM95ESSSFRabqR+vBJJVDhSP5JJIGdqohOkgnSOv1wUTokkoJhHoX1umSRRnMHAeCZ7BlNgkkqimXH65o7RLTP1dJJABvu96jKSSqL4sGxblyQ8Y4gW4BJJZaVj8vmmc0WtuSSVA3KQHokkooRUXFJJCLmBaCRPELUGmP2mkIEde0CN6SS53y68fDp7XOSkcvV6w0tudw5BcrB1nOpUi5xJLZMkmTOpSSRtfyA6geCZJJIr//2Q=="/>
          <p:cNvSpPr>
            <a:spLocks noChangeAspect="1" noChangeArrowheads="1"/>
          </p:cNvSpPr>
          <p:nvPr/>
        </p:nvSpPr>
        <p:spPr bwMode="auto">
          <a:xfrm>
            <a:off x="0" y="-20478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9" name="Rectangle 2">
            <a:extLst>
              <a:ext uri="{FF2B5EF4-FFF2-40B4-BE49-F238E27FC236}">
                <a16:creationId xmlns:a16="http://schemas.microsoft.com/office/drawing/2014/main" id="{9FD60736-D933-4353-8220-4CE5F0B10442}"/>
              </a:ext>
            </a:extLst>
          </p:cNvPr>
          <p:cNvSpPr>
            <a:spLocks noChangeArrowheads="1"/>
          </p:cNvSpPr>
          <p:nvPr/>
        </p:nvSpPr>
        <p:spPr bwMode="auto">
          <a:xfrm>
            <a:off x="233363" y="288132"/>
            <a:ext cx="1056322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dirty="0">
                <a:solidFill>
                  <a:schemeClr val="tx1"/>
                </a:solidFill>
                <a:latin typeface="Arial" panose="020B0604020202020204" pitchFamily="34" charset="0"/>
              </a:rPr>
              <a:t>Metodologia</a:t>
            </a:r>
            <a:endParaRPr lang="en-GB" altLang="pt-BR" sz="3600" dirty="0">
              <a:solidFill>
                <a:schemeClr val="tx1"/>
              </a:solidFill>
              <a:latin typeface="Arial" panose="020B0604020202020204" pitchFamily="34" charset="0"/>
            </a:endParaRPr>
          </a:p>
        </p:txBody>
      </p:sp>
      <p:cxnSp>
        <p:nvCxnSpPr>
          <p:cNvPr id="5" name="Conector de Seta Reta 4">
            <a:extLst>
              <a:ext uri="{FF2B5EF4-FFF2-40B4-BE49-F238E27FC236}">
                <a16:creationId xmlns:a16="http://schemas.microsoft.com/office/drawing/2014/main" id="{C6FCC40B-46D6-473D-8D04-B527CD9CD26E}"/>
              </a:ext>
            </a:extLst>
          </p:cNvPr>
          <p:cNvCxnSpPr>
            <a:cxnSpLocks/>
          </p:cNvCxnSpPr>
          <p:nvPr/>
        </p:nvCxnSpPr>
        <p:spPr>
          <a:xfrm>
            <a:off x="10314384" y="6943700"/>
            <a:ext cx="0" cy="6480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Conector de Seta Reta 9">
            <a:extLst>
              <a:ext uri="{FF2B5EF4-FFF2-40B4-BE49-F238E27FC236}">
                <a16:creationId xmlns:a16="http://schemas.microsoft.com/office/drawing/2014/main" id="{BD95D803-94F9-4BA9-AE63-F66CDCF4556F}"/>
              </a:ext>
            </a:extLst>
          </p:cNvPr>
          <p:cNvCxnSpPr/>
          <p:nvPr/>
        </p:nvCxnSpPr>
        <p:spPr>
          <a:xfrm flipV="1">
            <a:off x="1673424" y="6655668"/>
            <a:ext cx="0" cy="740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ector de Seta Reta 15">
            <a:extLst>
              <a:ext uri="{FF2B5EF4-FFF2-40B4-BE49-F238E27FC236}">
                <a16:creationId xmlns:a16="http://schemas.microsoft.com/office/drawing/2014/main" id="{B6ACD5E6-AC0E-4A07-A3BB-2F2CE8727E60}"/>
              </a:ext>
            </a:extLst>
          </p:cNvPr>
          <p:cNvCxnSpPr/>
          <p:nvPr/>
        </p:nvCxnSpPr>
        <p:spPr>
          <a:xfrm>
            <a:off x="6400800" y="4581727"/>
            <a:ext cx="9144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2" name="Agrupar 21">
            <a:extLst>
              <a:ext uri="{FF2B5EF4-FFF2-40B4-BE49-F238E27FC236}">
                <a16:creationId xmlns:a16="http://schemas.microsoft.com/office/drawing/2014/main" id="{18F02139-7501-41E9-907C-675FC6B6BB37}"/>
              </a:ext>
            </a:extLst>
          </p:cNvPr>
          <p:cNvGrpSpPr/>
          <p:nvPr/>
        </p:nvGrpSpPr>
        <p:grpSpPr>
          <a:xfrm>
            <a:off x="485664" y="1831132"/>
            <a:ext cx="11305256" cy="7200800"/>
            <a:chOff x="485664" y="1831132"/>
            <a:chExt cx="11305256" cy="7200800"/>
          </a:xfrm>
        </p:grpSpPr>
        <p:grpSp>
          <p:nvGrpSpPr>
            <p:cNvPr id="19" name="Agrupar 18">
              <a:extLst>
                <a:ext uri="{FF2B5EF4-FFF2-40B4-BE49-F238E27FC236}">
                  <a16:creationId xmlns:a16="http://schemas.microsoft.com/office/drawing/2014/main" id="{DA10110A-AD0B-4932-86EF-9EAD343D0C4D}"/>
                </a:ext>
              </a:extLst>
            </p:cNvPr>
            <p:cNvGrpSpPr/>
            <p:nvPr/>
          </p:nvGrpSpPr>
          <p:grpSpPr>
            <a:xfrm>
              <a:off x="485664" y="1831132"/>
              <a:ext cx="11305256" cy="7200800"/>
              <a:chOff x="485664" y="1831132"/>
              <a:chExt cx="11305256" cy="7200800"/>
            </a:xfrm>
          </p:grpSpPr>
          <p:grpSp>
            <p:nvGrpSpPr>
              <p:cNvPr id="11" name="Agrupar 10">
                <a:extLst>
                  <a:ext uri="{FF2B5EF4-FFF2-40B4-BE49-F238E27FC236}">
                    <a16:creationId xmlns:a16="http://schemas.microsoft.com/office/drawing/2014/main" id="{470479DF-F04E-487B-9264-1F5AA069B404}"/>
                  </a:ext>
                </a:extLst>
              </p:cNvPr>
              <p:cNvGrpSpPr/>
              <p:nvPr/>
            </p:nvGrpSpPr>
            <p:grpSpPr>
              <a:xfrm>
                <a:off x="485664" y="1831132"/>
                <a:ext cx="11305256" cy="7200800"/>
                <a:chOff x="485664" y="1831132"/>
                <a:chExt cx="11305256" cy="7200800"/>
              </a:xfrm>
            </p:grpSpPr>
            <p:pic>
              <p:nvPicPr>
                <p:cNvPr id="8" name="Picture 480">
                  <a:extLst>
                    <a:ext uri="{FF2B5EF4-FFF2-40B4-BE49-F238E27FC236}">
                      <a16:creationId xmlns:a16="http://schemas.microsoft.com/office/drawing/2014/main" id="{B699926A-E2D2-4C2F-B8CC-ADBD94205CE8}"/>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485664" y="1831132"/>
                  <a:ext cx="11305256" cy="7200800"/>
                </a:xfrm>
                <a:prstGeom prst="rect">
                  <a:avLst/>
                </a:prstGeom>
                <a:noFill/>
              </p:spPr>
            </p:pic>
            <p:sp>
              <p:nvSpPr>
                <p:cNvPr id="3" name="Retângulo 2">
                  <a:extLst>
                    <a:ext uri="{FF2B5EF4-FFF2-40B4-BE49-F238E27FC236}">
                      <a16:creationId xmlns:a16="http://schemas.microsoft.com/office/drawing/2014/main" id="{40EA19A8-FF2D-4829-9B0D-4D76088CADC6}"/>
                    </a:ext>
                  </a:extLst>
                </p:cNvPr>
                <p:cNvSpPr/>
                <p:nvPr/>
              </p:nvSpPr>
              <p:spPr>
                <a:xfrm>
                  <a:off x="9234264" y="7591772"/>
                  <a:ext cx="2016224" cy="1080120"/>
                </a:xfrm>
                <a:prstGeom prst="rect">
                  <a:avLst/>
                </a:prstGeom>
                <a:solidFill>
                  <a:srgbClr val="002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Valor Agregado</a:t>
                  </a:r>
                </a:p>
              </p:txBody>
            </p:sp>
            <p:sp>
              <p:nvSpPr>
                <p:cNvPr id="14" name="Retângulo 13">
                  <a:extLst>
                    <a:ext uri="{FF2B5EF4-FFF2-40B4-BE49-F238E27FC236}">
                      <a16:creationId xmlns:a16="http://schemas.microsoft.com/office/drawing/2014/main" id="{103D1851-8B59-40B9-84DF-2115911E2958}"/>
                    </a:ext>
                  </a:extLst>
                </p:cNvPr>
                <p:cNvSpPr/>
                <p:nvPr/>
              </p:nvSpPr>
              <p:spPr>
                <a:xfrm>
                  <a:off x="665312" y="7396158"/>
                  <a:ext cx="2016224" cy="1080120"/>
                </a:xfrm>
                <a:prstGeom prst="rect">
                  <a:avLst/>
                </a:prstGeom>
                <a:solidFill>
                  <a:srgbClr val="002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lanejamento Estratégico</a:t>
                  </a:r>
                </a:p>
              </p:txBody>
            </p:sp>
          </p:grpSp>
          <p:cxnSp>
            <p:nvCxnSpPr>
              <p:cNvPr id="18" name="Conector de Seta Reta 17">
                <a:extLst>
                  <a:ext uri="{FF2B5EF4-FFF2-40B4-BE49-F238E27FC236}">
                    <a16:creationId xmlns:a16="http://schemas.microsoft.com/office/drawing/2014/main" id="{55A0CFEB-123C-4A06-8CBB-D97FF48E9B24}"/>
                  </a:ext>
                </a:extLst>
              </p:cNvPr>
              <p:cNvCxnSpPr>
                <a:stCxn id="14" idx="0"/>
              </p:cNvCxnSpPr>
              <p:nvPr/>
            </p:nvCxnSpPr>
            <p:spPr>
              <a:xfrm flipV="1">
                <a:off x="1673424" y="6655668"/>
                <a:ext cx="0" cy="740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21" name="Conector de Seta Reta 20">
              <a:extLst>
                <a:ext uri="{FF2B5EF4-FFF2-40B4-BE49-F238E27FC236}">
                  <a16:creationId xmlns:a16="http://schemas.microsoft.com/office/drawing/2014/main" id="{F27C8A8F-423F-4273-81F9-DCC014121A83}"/>
                </a:ext>
              </a:extLst>
            </p:cNvPr>
            <p:cNvCxnSpPr>
              <a:endCxn id="3" idx="0"/>
            </p:cNvCxnSpPr>
            <p:nvPr/>
          </p:nvCxnSpPr>
          <p:spPr>
            <a:xfrm>
              <a:off x="10242376" y="6943700"/>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791304579"/>
      </p:ext>
    </p:extLst>
  </p:cSld>
  <p:clrMapOvr>
    <a:masterClrMapping/>
  </p:clrMapOvr>
  <p:transition>
    <p:strips dir="rd"/>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Agrupar 1">
            <a:extLst>
              <a:ext uri="{FF2B5EF4-FFF2-40B4-BE49-F238E27FC236}">
                <a16:creationId xmlns:a16="http://schemas.microsoft.com/office/drawing/2014/main" id="{377C0528-D18F-4744-A368-CA0524BF44C6}"/>
              </a:ext>
            </a:extLst>
          </p:cNvPr>
          <p:cNvGrpSpPr/>
          <p:nvPr/>
        </p:nvGrpSpPr>
        <p:grpSpPr>
          <a:xfrm>
            <a:off x="0" y="2061956"/>
            <a:ext cx="13324333" cy="5797324"/>
            <a:chOff x="138683" y="2087852"/>
            <a:chExt cx="13324333" cy="5797324"/>
          </a:xfrm>
        </p:grpSpPr>
        <p:pic>
          <p:nvPicPr>
            <p:cNvPr id="565" name="Picture 56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38683" y="4168902"/>
              <a:ext cx="1894332" cy="1322832"/>
            </a:xfrm>
            <a:prstGeom prst="rect">
              <a:avLst/>
            </a:prstGeom>
            <a:noFill/>
          </p:spPr>
        </p:pic>
        <p:pic>
          <p:nvPicPr>
            <p:cNvPr id="566" name="Picture 56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11835" y="4395218"/>
              <a:ext cx="1711451" cy="1046225"/>
            </a:xfrm>
            <a:prstGeom prst="rect">
              <a:avLst/>
            </a:prstGeom>
            <a:noFill/>
          </p:spPr>
        </p:pic>
        <p:pic>
          <p:nvPicPr>
            <p:cNvPr id="567" name="Picture 56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9550" y="4210050"/>
              <a:ext cx="1752600" cy="1181100"/>
            </a:xfrm>
            <a:prstGeom prst="rect">
              <a:avLst/>
            </a:prstGeom>
            <a:noFill/>
          </p:spPr>
        </p:pic>
        <p:sp>
          <p:nvSpPr>
            <p:cNvPr id="568" name="Freeform 568"/>
            <p:cNvSpPr/>
            <p:nvPr/>
          </p:nvSpPr>
          <p:spPr>
            <a:xfrm>
              <a:off x="228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38862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69" name="Picture 569"/>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424683" y="4168902"/>
              <a:ext cx="1894332" cy="1322832"/>
            </a:xfrm>
            <a:prstGeom prst="rect">
              <a:avLst/>
            </a:prstGeom>
            <a:noFill/>
          </p:spPr>
        </p:pic>
        <p:pic>
          <p:nvPicPr>
            <p:cNvPr id="570" name="Picture 57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484119" y="4395218"/>
              <a:ext cx="1738883" cy="1046225"/>
            </a:xfrm>
            <a:prstGeom prst="rect">
              <a:avLst/>
            </a:prstGeom>
            <a:noFill/>
          </p:spPr>
        </p:pic>
        <p:pic>
          <p:nvPicPr>
            <p:cNvPr id="571" name="Picture 57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495550" y="4210050"/>
              <a:ext cx="1752600" cy="1181100"/>
            </a:xfrm>
            <a:prstGeom prst="rect">
              <a:avLst/>
            </a:prstGeom>
            <a:noFill/>
          </p:spPr>
        </p:pic>
        <p:sp>
          <p:nvSpPr>
            <p:cNvPr id="572" name="Freeform 572"/>
            <p:cNvSpPr/>
            <p:nvPr/>
          </p:nvSpPr>
          <p:spPr>
            <a:xfrm>
              <a:off x="2514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23622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73" name="Picture 57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4710683" y="4168902"/>
              <a:ext cx="1894332" cy="1322832"/>
            </a:xfrm>
            <a:prstGeom prst="rect">
              <a:avLst/>
            </a:prstGeom>
            <a:noFill/>
          </p:spPr>
        </p:pic>
        <p:pic>
          <p:nvPicPr>
            <p:cNvPr id="574" name="Picture 57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827269" y="4555237"/>
              <a:ext cx="1622298" cy="726185"/>
            </a:xfrm>
            <a:prstGeom prst="rect">
              <a:avLst/>
            </a:prstGeom>
            <a:noFill/>
          </p:spPr>
        </p:pic>
        <p:pic>
          <p:nvPicPr>
            <p:cNvPr id="575" name="Picture 57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4781550" y="4210050"/>
              <a:ext cx="1752600" cy="1181100"/>
            </a:xfrm>
            <a:prstGeom prst="rect">
              <a:avLst/>
            </a:prstGeom>
            <a:noFill/>
          </p:spPr>
        </p:pic>
        <p:sp>
          <p:nvSpPr>
            <p:cNvPr id="576" name="Freeform 576"/>
            <p:cNvSpPr/>
            <p:nvPr/>
          </p:nvSpPr>
          <p:spPr>
            <a:xfrm>
              <a:off x="4800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8382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77" name="Picture 57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996683" y="4168902"/>
              <a:ext cx="1894332" cy="1322832"/>
            </a:xfrm>
            <a:prstGeom prst="rect">
              <a:avLst/>
            </a:prstGeom>
            <a:noFill/>
          </p:spPr>
        </p:pic>
        <p:pic>
          <p:nvPicPr>
            <p:cNvPr id="578" name="Picture 57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7037832" y="4454652"/>
              <a:ext cx="1766316" cy="920496"/>
            </a:xfrm>
            <a:prstGeom prst="rect">
              <a:avLst/>
            </a:prstGeom>
            <a:noFill/>
          </p:spPr>
        </p:pic>
        <p:pic>
          <p:nvPicPr>
            <p:cNvPr id="579" name="Picture 57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7067550" y="4210050"/>
              <a:ext cx="1752600" cy="1181100"/>
            </a:xfrm>
            <a:prstGeom prst="rect">
              <a:avLst/>
            </a:prstGeom>
            <a:noFill/>
          </p:spPr>
        </p:pic>
        <p:sp>
          <p:nvSpPr>
            <p:cNvPr id="580" name="Freeform 580"/>
            <p:cNvSpPr/>
            <p:nvPr/>
          </p:nvSpPr>
          <p:spPr>
            <a:xfrm>
              <a:off x="7086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6858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81" name="Picture 58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9282683" y="4168902"/>
              <a:ext cx="1894331" cy="1322832"/>
            </a:xfrm>
            <a:prstGeom prst="rect">
              <a:avLst/>
            </a:prstGeom>
            <a:noFill/>
          </p:spPr>
        </p:pic>
        <p:pic>
          <p:nvPicPr>
            <p:cNvPr id="582" name="Picture 58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342119" y="4338068"/>
              <a:ext cx="1750313" cy="1171956"/>
            </a:xfrm>
            <a:prstGeom prst="rect">
              <a:avLst/>
            </a:prstGeom>
            <a:noFill/>
          </p:spPr>
        </p:pic>
        <p:pic>
          <p:nvPicPr>
            <p:cNvPr id="583" name="Picture 58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9353550" y="4210050"/>
              <a:ext cx="1752600" cy="1181100"/>
            </a:xfrm>
            <a:prstGeom prst="rect">
              <a:avLst/>
            </a:prstGeom>
            <a:noFill/>
          </p:spPr>
        </p:pic>
        <p:sp>
          <p:nvSpPr>
            <p:cNvPr id="584" name="Freeform 584"/>
            <p:cNvSpPr/>
            <p:nvPr/>
          </p:nvSpPr>
          <p:spPr>
            <a:xfrm>
              <a:off x="9372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22098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85" name="Picture 58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568684" y="4168902"/>
              <a:ext cx="1894332" cy="1322832"/>
            </a:xfrm>
            <a:prstGeom prst="rect">
              <a:avLst/>
            </a:prstGeom>
            <a:noFill/>
          </p:spPr>
        </p:pic>
        <p:pic>
          <p:nvPicPr>
            <p:cNvPr id="586" name="Picture 58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1625834" y="4395218"/>
              <a:ext cx="1743456" cy="1046225"/>
            </a:xfrm>
            <a:prstGeom prst="rect">
              <a:avLst/>
            </a:prstGeom>
            <a:noFill/>
          </p:spPr>
        </p:pic>
        <p:pic>
          <p:nvPicPr>
            <p:cNvPr id="587" name="Picture 58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1639550" y="4210050"/>
              <a:ext cx="1752600" cy="1181100"/>
            </a:xfrm>
            <a:prstGeom prst="rect">
              <a:avLst/>
            </a:prstGeom>
            <a:noFill/>
          </p:spPr>
        </p:pic>
        <p:sp>
          <p:nvSpPr>
            <p:cNvPr id="588" name="Freeform 588"/>
            <p:cNvSpPr/>
            <p:nvPr/>
          </p:nvSpPr>
          <p:spPr>
            <a:xfrm>
              <a:off x="11658600" y="4229100"/>
              <a:ext cx="1714500" cy="1143000"/>
            </a:xfrm>
            <a:custGeom>
              <a:avLst/>
              <a:gdLst/>
              <a:ahLst/>
              <a:cxnLst/>
              <a:rect l="0" t="0" r="0" b="0"/>
              <a:pathLst>
                <a:path w="1143000" h="762000">
                  <a:moveTo>
                    <a:pt x="0" y="0"/>
                  </a:moveTo>
                  <a:lnTo>
                    <a:pt x="1016000" y="0"/>
                  </a:lnTo>
                  <a:lnTo>
                    <a:pt x="1143000" y="127000"/>
                  </a:lnTo>
                  <a:lnTo>
                    <a:pt x="1143000" y="762000"/>
                  </a:lnTo>
                  <a:lnTo>
                    <a:pt x="0" y="762000"/>
                  </a:lnTo>
                  <a:close/>
                  <a:moveTo>
                    <a:pt x="-3733800" y="4038600"/>
                  </a:move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89" name="Picture 589"/>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841755" y="4616960"/>
              <a:ext cx="765047" cy="543305"/>
            </a:xfrm>
            <a:prstGeom prst="rect">
              <a:avLst/>
            </a:prstGeom>
            <a:noFill/>
          </p:spPr>
        </p:pic>
        <p:sp>
          <p:nvSpPr>
            <p:cNvPr id="590" name="Freeform 590"/>
            <p:cNvSpPr/>
            <p:nvPr/>
          </p:nvSpPr>
          <p:spPr>
            <a:xfrm>
              <a:off x="1943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2381250" y="3733800"/>
                  </a:moveTo>
                </a:path>
              </a:pathLst>
            </a:custGeom>
            <a:solidFill>
              <a:srgbClr val="00B0F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1" name="Freeform 591"/>
            <p:cNvSpPr/>
            <p:nvPr/>
          </p:nvSpPr>
          <p:spPr>
            <a:xfrm>
              <a:off x="1943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2381250" y="3733800"/>
                  </a:moveTo>
                </a:path>
              </a:pathLst>
            </a:custGeom>
            <a:noFill/>
            <a:ln w="9525" cap="flat" cmpd="sng">
              <a:solidFill>
                <a:srgbClr val="4A7EBB">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592" name="Picture 59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4127753" y="4616960"/>
              <a:ext cx="765048" cy="543305"/>
            </a:xfrm>
            <a:prstGeom prst="rect">
              <a:avLst/>
            </a:prstGeom>
            <a:noFill/>
          </p:spPr>
        </p:pic>
        <p:sp>
          <p:nvSpPr>
            <p:cNvPr id="593" name="Freeform 593"/>
            <p:cNvSpPr/>
            <p:nvPr/>
          </p:nvSpPr>
          <p:spPr>
            <a:xfrm>
              <a:off x="4229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857250" y="3733800"/>
                  </a:moveTo>
                </a:path>
              </a:pathLst>
            </a:custGeom>
            <a:solidFill>
              <a:srgbClr val="00B0F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4" name="Freeform 594"/>
            <p:cNvSpPr/>
            <p:nvPr/>
          </p:nvSpPr>
          <p:spPr>
            <a:xfrm>
              <a:off x="4229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857250" y="3733800"/>
                  </a:moveTo>
                </a:path>
              </a:pathLst>
            </a:custGeom>
            <a:noFill/>
            <a:ln w="9525" cap="flat" cmpd="sng">
              <a:solidFill>
                <a:srgbClr val="4A7EBB">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595" name="Picture 59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413753" y="4616960"/>
              <a:ext cx="765048" cy="543305"/>
            </a:xfrm>
            <a:prstGeom prst="rect">
              <a:avLst/>
            </a:prstGeom>
            <a:noFill/>
          </p:spPr>
        </p:pic>
        <p:sp>
          <p:nvSpPr>
            <p:cNvPr id="596" name="Freeform 596"/>
            <p:cNvSpPr/>
            <p:nvPr/>
          </p:nvSpPr>
          <p:spPr>
            <a:xfrm>
              <a:off x="6515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666750" y="3733800"/>
                  </a:moveTo>
                </a:path>
              </a:pathLst>
            </a:custGeom>
            <a:solidFill>
              <a:srgbClr val="00B0F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7" name="Freeform 597"/>
            <p:cNvSpPr/>
            <p:nvPr/>
          </p:nvSpPr>
          <p:spPr>
            <a:xfrm>
              <a:off x="6515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666750" y="3733800"/>
                  </a:moveTo>
                </a:path>
              </a:pathLst>
            </a:custGeom>
            <a:noFill/>
            <a:ln w="9525" cap="flat" cmpd="sng">
              <a:solidFill>
                <a:srgbClr val="4A7EBB">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598" name="Picture 598"/>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699753" y="4616960"/>
              <a:ext cx="765048" cy="543305"/>
            </a:xfrm>
            <a:prstGeom prst="rect">
              <a:avLst/>
            </a:prstGeom>
            <a:noFill/>
          </p:spPr>
        </p:pic>
        <p:sp>
          <p:nvSpPr>
            <p:cNvPr id="599" name="Freeform 599"/>
            <p:cNvSpPr/>
            <p:nvPr/>
          </p:nvSpPr>
          <p:spPr>
            <a:xfrm>
              <a:off x="8801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2190750" y="3733800"/>
                  </a:moveTo>
                </a:path>
              </a:pathLst>
            </a:custGeom>
            <a:solidFill>
              <a:srgbClr val="00B0F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0" name="Freeform 600"/>
            <p:cNvSpPr/>
            <p:nvPr/>
          </p:nvSpPr>
          <p:spPr>
            <a:xfrm>
              <a:off x="8801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2190750" y="3733800"/>
                  </a:moveTo>
                </a:path>
              </a:pathLst>
            </a:custGeom>
            <a:noFill/>
            <a:ln w="9525" cap="flat" cmpd="sng">
              <a:solidFill>
                <a:srgbClr val="4A7EBB">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601" name="Picture 60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985753" y="4616960"/>
              <a:ext cx="765047" cy="543305"/>
            </a:xfrm>
            <a:prstGeom prst="rect">
              <a:avLst/>
            </a:prstGeom>
            <a:noFill/>
          </p:spPr>
        </p:pic>
        <p:sp>
          <p:nvSpPr>
            <p:cNvPr id="602" name="Freeform 602"/>
            <p:cNvSpPr/>
            <p:nvPr/>
          </p:nvSpPr>
          <p:spPr>
            <a:xfrm>
              <a:off x="11087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3714750" y="3733800"/>
                  </a:moveTo>
                </a:path>
              </a:pathLst>
            </a:custGeom>
            <a:solidFill>
              <a:srgbClr val="00B0F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3" name="Freeform 603"/>
            <p:cNvSpPr/>
            <p:nvPr/>
          </p:nvSpPr>
          <p:spPr>
            <a:xfrm>
              <a:off x="11087100" y="4686300"/>
              <a:ext cx="571500" cy="342900"/>
            </a:xfrm>
            <a:custGeom>
              <a:avLst/>
              <a:gdLst/>
              <a:ahLst/>
              <a:cxnLst/>
              <a:rect l="0" t="0" r="0" b="0"/>
              <a:pathLst>
                <a:path w="381000" h="228600">
                  <a:moveTo>
                    <a:pt x="0" y="57150"/>
                  </a:moveTo>
                  <a:lnTo>
                    <a:pt x="266700" y="57150"/>
                  </a:lnTo>
                  <a:lnTo>
                    <a:pt x="266700" y="0"/>
                  </a:lnTo>
                  <a:lnTo>
                    <a:pt x="381000" y="114300"/>
                  </a:lnTo>
                  <a:lnTo>
                    <a:pt x="266700" y="228600"/>
                  </a:lnTo>
                  <a:lnTo>
                    <a:pt x="266700" y="171450"/>
                  </a:lnTo>
                  <a:lnTo>
                    <a:pt x="0" y="171450"/>
                  </a:lnTo>
                  <a:lnTo>
                    <a:pt x="57150" y="114300"/>
                  </a:lnTo>
                  <a:close/>
                  <a:moveTo>
                    <a:pt x="-3714750" y="3733800"/>
                  </a:moveTo>
                </a:path>
              </a:pathLst>
            </a:custGeom>
            <a:noFill/>
            <a:ln w="9525" cap="flat" cmpd="sng">
              <a:solidFill>
                <a:srgbClr val="4A7EBB">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604" name="Picture 60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07315" y="5362194"/>
              <a:ext cx="2676143" cy="1608582"/>
            </a:xfrm>
            <a:prstGeom prst="rect">
              <a:avLst/>
            </a:prstGeom>
            <a:noFill/>
          </p:spPr>
        </p:pic>
        <p:pic>
          <p:nvPicPr>
            <p:cNvPr id="605" name="Picture 605"/>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42772" y="6148580"/>
              <a:ext cx="2173224" cy="856487"/>
            </a:xfrm>
            <a:prstGeom prst="rect">
              <a:avLst/>
            </a:prstGeom>
            <a:noFill/>
          </p:spPr>
        </p:pic>
        <p:sp>
          <p:nvSpPr>
            <p:cNvPr id="606" name="Freeform 606"/>
            <p:cNvSpPr/>
            <p:nvPr/>
          </p:nvSpPr>
          <p:spPr>
            <a:xfrm>
              <a:off x="914400" y="6172200"/>
              <a:ext cx="2286000" cy="685800"/>
            </a:xfrm>
            <a:custGeom>
              <a:avLst/>
              <a:gdLst/>
              <a:ahLst/>
              <a:cxnLst/>
              <a:rect l="0" t="0" r="0" b="0"/>
              <a:pathLst>
                <a:path w="1524000" h="457200">
                  <a:moveTo>
                    <a:pt x="0" y="457200"/>
                  </a:moveTo>
                  <a:lnTo>
                    <a:pt x="1524000" y="457200"/>
                  </a:lnTo>
                  <a:lnTo>
                    <a:pt x="1524000" y="0"/>
                  </a:lnTo>
                  <a:lnTo>
                    <a:pt x="0" y="0"/>
                  </a:lnTo>
                  <a:lnTo>
                    <a:pt x="0" y="457200"/>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7" name="Freeform 607"/>
            <p:cNvSpPr/>
            <p:nvPr/>
          </p:nvSpPr>
          <p:spPr>
            <a:xfrm>
              <a:off x="723900" y="6172200"/>
              <a:ext cx="0" cy="685800"/>
            </a:xfrm>
            <a:custGeom>
              <a:avLst/>
              <a:gdLst/>
              <a:ahLst/>
              <a:cxnLst/>
              <a:rect l="0" t="0" r="0" b="0"/>
              <a:pathLst>
                <a:path h="457200">
                  <a:moveTo>
                    <a:pt x="0" y="0"/>
                  </a:moveTo>
                  <a:lnTo>
                    <a:pt x="0" y="45720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08" name="Freeform 608"/>
            <p:cNvSpPr/>
            <p:nvPr/>
          </p:nvSpPr>
          <p:spPr>
            <a:xfrm>
              <a:off x="697668" y="5414774"/>
              <a:ext cx="26232" cy="886014"/>
            </a:xfrm>
            <a:custGeom>
              <a:avLst/>
              <a:gdLst/>
              <a:ahLst/>
              <a:cxnLst/>
              <a:rect l="0" t="0" r="0" b="0"/>
              <a:pathLst>
                <a:path w="17488" h="590676">
                  <a:moveTo>
                    <a:pt x="17488" y="590676"/>
                  </a:moveTo>
                  <a:lnTo>
                    <a:pt x="0" y="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09" name="Picture 609"/>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3062477" y="5307332"/>
              <a:ext cx="2792729" cy="2452116"/>
            </a:xfrm>
            <a:prstGeom prst="rect">
              <a:avLst/>
            </a:prstGeom>
            <a:noFill/>
          </p:spPr>
        </p:pic>
        <p:pic>
          <p:nvPicPr>
            <p:cNvPr id="610" name="Picture 610"/>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4029456" y="6880100"/>
              <a:ext cx="1583436" cy="856487"/>
            </a:xfrm>
            <a:prstGeom prst="rect">
              <a:avLst/>
            </a:prstGeom>
            <a:noFill/>
          </p:spPr>
        </p:pic>
        <p:sp>
          <p:nvSpPr>
            <p:cNvPr id="611" name="Freeform 611"/>
            <p:cNvSpPr/>
            <p:nvPr/>
          </p:nvSpPr>
          <p:spPr>
            <a:xfrm>
              <a:off x="3829050" y="6846191"/>
              <a:ext cx="1943100" cy="800100"/>
            </a:xfrm>
            <a:custGeom>
              <a:avLst/>
              <a:gdLst/>
              <a:ahLst/>
              <a:cxnLst/>
              <a:rect l="0" t="0" r="0" b="0"/>
              <a:pathLst>
                <a:path w="1295400" h="533400">
                  <a:moveTo>
                    <a:pt x="0" y="533400"/>
                  </a:moveTo>
                  <a:lnTo>
                    <a:pt x="1295400" y="533400"/>
                  </a:lnTo>
                  <a:lnTo>
                    <a:pt x="1295400" y="0"/>
                  </a:lnTo>
                  <a:lnTo>
                    <a:pt x="0" y="0"/>
                  </a:lnTo>
                  <a:lnTo>
                    <a:pt x="0" y="533400"/>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2" name="Freeform 612"/>
            <p:cNvSpPr/>
            <p:nvPr/>
          </p:nvSpPr>
          <p:spPr>
            <a:xfrm>
              <a:off x="3667125" y="6846191"/>
              <a:ext cx="0" cy="800100"/>
            </a:xfrm>
            <a:custGeom>
              <a:avLst/>
              <a:gdLst/>
              <a:ahLst/>
              <a:cxnLst/>
              <a:rect l="0" t="0" r="0" b="0"/>
              <a:pathLst>
                <a:path h="533400">
                  <a:moveTo>
                    <a:pt x="0" y="0"/>
                  </a:moveTo>
                  <a:lnTo>
                    <a:pt x="0" y="53340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13" name="Freeform 613"/>
            <p:cNvSpPr/>
            <p:nvPr/>
          </p:nvSpPr>
          <p:spPr>
            <a:xfrm>
              <a:off x="3151632" y="5362768"/>
              <a:ext cx="515493" cy="1633346"/>
            </a:xfrm>
            <a:custGeom>
              <a:avLst/>
              <a:gdLst/>
              <a:ahLst/>
              <a:cxnLst/>
              <a:rect l="0" t="0" r="0" b="0"/>
              <a:pathLst>
                <a:path w="343662" h="1088897">
                  <a:moveTo>
                    <a:pt x="343662" y="1088897"/>
                  </a:moveTo>
                  <a:lnTo>
                    <a:pt x="0" y="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14" name="Picture 614"/>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5001005" y="4998720"/>
              <a:ext cx="2968751" cy="1828038"/>
            </a:xfrm>
            <a:prstGeom prst="rect">
              <a:avLst/>
            </a:prstGeom>
            <a:noFill/>
          </p:spPr>
        </p:pic>
        <p:pic>
          <p:nvPicPr>
            <p:cNvPr id="615" name="Picture 615"/>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5682233" y="5707380"/>
              <a:ext cx="2052066" cy="1107948"/>
            </a:xfrm>
            <a:prstGeom prst="rect">
              <a:avLst/>
            </a:prstGeom>
            <a:noFill/>
          </p:spPr>
        </p:pic>
        <p:sp>
          <p:nvSpPr>
            <p:cNvPr id="616" name="Freeform 616"/>
            <p:cNvSpPr/>
            <p:nvPr/>
          </p:nvSpPr>
          <p:spPr>
            <a:xfrm>
              <a:off x="5486400" y="5684141"/>
              <a:ext cx="2400300" cy="1028700"/>
            </a:xfrm>
            <a:custGeom>
              <a:avLst/>
              <a:gdLst/>
              <a:ahLst/>
              <a:cxnLst/>
              <a:rect l="0" t="0" r="0" b="0"/>
              <a:pathLst>
                <a:path w="1600200" h="685800">
                  <a:moveTo>
                    <a:pt x="0" y="685800"/>
                  </a:moveTo>
                  <a:lnTo>
                    <a:pt x="1600200" y="685800"/>
                  </a:lnTo>
                  <a:lnTo>
                    <a:pt x="1600200" y="0"/>
                  </a:lnTo>
                  <a:lnTo>
                    <a:pt x="0" y="0"/>
                  </a:lnTo>
                  <a:lnTo>
                    <a:pt x="0" y="685800"/>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7" name="Freeform 617"/>
            <p:cNvSpPr/>
            <p:nvPr/>
          </p:nvSpPr>
          <p:spPr>
            <a:xfrm>
              <a:off x="5286375" y="5684141"/>
              <a:ext cx="0" cy="1028700"/>
            </a:xfrm>
            <a:custGeom>
              <a:avLst/>
              <a:gdLst/>
              <a:ahLst/>
              <a:cxnLst/>
              <a:rect l="0" t="0" r="0" b="0"/>
              <a:pathLst>
                <a:path h="685800">
                  <a:moveTo>
                    <a:pt x="0" y="0"/>
                  </a:moveTo>
                  <a:lnTo>
                    <a:pt x="0" y="68580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18" name="Freeform 618"/>
            <p:cNvSpPr/>
            <p:nvPr/>
          </p:nvSpPr>
          <p:spPr>
            <a:xfrm>
              <a:off x="5090160" y="5053776"/>
              <a:ext cx="196215" cy="823149"/>
            </a:xfrm>
            <a:custGeom>
              <a:avLst/>
              <a:gdLst/>
              <a:ahLst/>
              <a:cxnLst/>
              <a:rect l="0" t="0" r="0" b="0"/>
              <a:pathLst>
                <a:path w="130810" h="548766">
                  <a:moveTo>
                    <a:pt x="130810" y="548766"/>
                  </a:moveTo>
                  <a:lnTo>
                    <a:pt x="0" y="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19" name="Picture 619"/>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7543037" y="2804160"/>
              <a:ext cx="2369819" cy="1478280"/>
            </a:xfrm>
            <a:prstGeom prst="rect">
              <a:avLst/>
            </a:prstGeom>
            <a:noFill/>
          </p:spPr>
        </p:pic>
        <p:pic>
          <p:nvPicPr>
            <p:cNvPr id="620" name="Picture 620"/>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7858505" y="2943608"/>
              <a:ext cx="2042922" cy="856487"/>
            </a:xfrm>
            <a:prstGeom prst="rect">
              <a:avLst/>
            </a:prstGeom>
            <a:noFill/>
          </p:spPr>
        </p:pic>
        <p:sp>
          <p:nvSpPr>
            <p:cNvPr id="621" name="Freeform 621"/>
            <p:cNvSpPr/>
            <p:nvPr/>
          </p:nvSpPr>
          <p:spPr>
            <a:xfrm>
              <a:off x="7886700" y="2857597"/>
              <a:ext cx="1943100" cy="902495"/>
            </a:xfrm>
            <a:custGeom>
              <a:avLst/>
              <a:gdLst/>
              <a:ahLst/>
              <a:cxnLst/>
              <a:rect l="0" t="0" r="0" b="0"/>
              <a:pathLst>
                <a:path w="1295400" h="601663">
                  <a:moveTo>
                    <a:pt x="0" y="601663"/>
                  </a:moveTo>
                  <a:lnTo>
                    <a:pt x="1295400" y="601663"/>
                  </a:lnTo>
                  <a:lnTo>
                    <a:pt x="1295400" y="0"/>
                  </a:lnTo>
                  <a:lnTo>
                    <a:pt x="0" y="0"/>
                  </a:lnTo>
                  <a:lnTo>
                    <a:pt x="0" y="601663"/>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22" name="Freeform 622"/>
            <p:cNvSpPr/>
            <p:nvPr/>
          </p:nvSpPr>
          <p:spPr>
            <a:xfrm>
              <a:off x="7859648" y="2857501"/>
              <a:ext cx="0" cy="902399"/>
            </a:xfrm>
            <a:custGeom>
              <a:avLst/>
              <a:gdLst/>
              <a:ahLst/>
              <a:cxnLst/>
              <a:rect l="0" t="0" r="0" b="0"/>
              <a:pathLst>
                <a:path h="601599">
                  <a:moveTo>
                    <a:pt x="0" y="0"/>
                  </a:moveTo>
                  <a:lnTo>
                    <a:pt x="0" y="601599"/>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23" name="Freeform 623"/>
            <p:cNvSpPr/>
            <p:nvPr/>
          </p:nvSpPr>
          <p:spPr>
            <a:xfrm>
              <a:off x="7633336" y="3386138"/>
              <a:ext cx="226313" cy="781431"/>
            </a:xfrm>
            <a:custGeom>
              <a:avLst/>
              <a:gdLst/>
              <a:ahLst/>
              <a:cxnLst/>
              <a:rect l="0" t="0" r="0" b="0"/>
              <a:pathLst>
                <a:path w="150875" h="520954">
                  <a:moveTo>
                    <a:pt x="150875" y="0"/>
                  </a:moveTo>
                  <a:lnTo>
                    <a:pt x="0" y="520954"/>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24" name="Picture 624"/>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9863329" y="5433060"/>
              <a:ext cx="2792729" cy="2452116"/>
            </a:xfrm>
            <a:prstGeom prst="rect">
              <a:avLst/>
            </a:prstGeom>
            <a:noFill/>
          </p:spPr>
        </p:pic>
        <p:pic>
          <p:nvPicPr>
            <p:cNvPr id="625" name="Picture 625"/>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0727435" y="7005830"/>
              <a:ext cx="1793748" cy="856487"/>
            </a:xfrm>
            <a:prstGeom prst="rect">
              <a:avLst/>
            </a:prstGeom>
            <a:noFill/>
          </p:spPr>
        </p:pic>
        <p:sp>
          <p:nvSpPr>
            <p:cNvPr id="626" name="Freeform 626"/>
            <p:cNvSpPr/>
            <p:nvPr/>
          </p:nvSpPr>
          <p:spPr>
            <a:xfrm>
              <a:off x="10629900" y="6972300"/>
              <a:ext cx="1943100" cy="800100"/>
            </a:xfrm>
            <a:custGeom>
              <a:avLst/>
              <a:gdLst/>
              <a:ahLst/>
              <a:cxnLst/>
              <a:rect l="0" t="0" r="0" b="0"/>
              <a:pathLst>
                <a:path w="1295400" h="533400">
                  <a:moveTo>
                    <a:pt x="0" y="533400"/>
                  </a:moveTo>
                  <a:lnTo>
                    <a:pt x="1295400" y="533400"/>
                  </a:lnTo>
                  <a:lnTo>
                    <a:pt x="1295400" y="0"/>
                  </a:lnTo>
                  <a:lnTo>
                    <a:pt x="0" y="0"/>
                  </a:lnTo>
                  <a:lnTo>
                    <a:pt x="0" y="533400"/>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27" name="Freeform 627"/>
            <p:cNvSpPr/>
            <p:nvPr/>
          </p:nvSpPr>
          <p:spPr>
            <a:xfrm>
              <a:off x="10467975" y="6972300"/>
              <a:ext cx="0" cy="800100"/>
            </a:xfrm>
            <a:custGeom>
              <a:avLst/>
              <a:gdLst/>
              <a:ahLst/>
              <a:cxnLst/>
              <a:rect l="0" t="0" r="0" b="0"/>
              <a:pathLst>
                <a:path h="533400">
                  <a:moveTo>
                    <a:pt x="0" y="0"/>
                  </a:moveTo>
                  <a:lnTo>
                    <a:pt x="0" y="53340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28" name="Freeform 628"/>
            <p:cNvSpPr/>
            <p:nvPr/>
          </p:nvSpPr>
          <p:spPr>
            <a:xfrm>
              <a:off x="9952482" y="5489068"/>
              <a:ext cx="515493" cy="1633157"/>
            </a:xfrm>
            <a:custGeom>
              <a:avLst/>
              <a:gdLst/>
              <a:ahLst/>
              <a:cxnLst/>
              <a:rect l="0" t="0" r="0" b="0"/>
              <a:pathLst>
                <a:path w="343662" h="1088771">
                  <a:moveTo>
                    <a:pt x="343662" y="1088771"/>
                  </a:moveTo>
                  <a:lnTo>
                    <a:pt x="0" y="0"/>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29" name="Picture 629"/>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1198352" y="2804160"/>
              <a:ext cx="2143506" cy="1549146"/>
            </a:xfrm>
            <a:prstGeom prst="rect">
              <a:avLst/>
            </a:prstGeom>
            <a:noFill/>
          </p:spPr>
        </p:pic>
        <p:pic>
          <p:nvPicPr>
            <p:cNvPr id="630" name="Picture 630"/>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11506961" y="2943608"/>
              <a:ext cx="1604010" cy="856487"/>
            </a:xfrm>
            <a:prstGeom prst="rect">
              <a:avLst/>
            </a:prstGeom>
            <a:noFill/>
          </p:spPr>
        </p:pic>
        <p:sp>
          <p:nvSpPr>
            <p:cNvPr id="631" name="Freeform 631"/>
            <p:cNvSpPr/>
            <p:nvPr/>
          </p:nvSpPr>
          <p:spPr>
            <a:xfrm>
              <a:off x="11315700" y="2857597"/>
              <a:ext cx="1943100" cy="902495"/>
            </a:xfrm>
            <a:custGeom>
              <a:avLst/>
              <a:gdLst/>
              <a:ahLst/>
              <a:cxnLst/>
              <a:rect l="0" t="0" r="0" b="0"/>
              <a:pathLst>
                <a:path w="1295400" h="601663">
                  <a:moveTo>
                    <a:pt x="0" y="601663"/>
                  </a:moveTo>
                  <a:lnTo>
                    <a:pt x="1295400" y="601663"/>
                  </a:lnTo>
                  <a:lnTo>
                    <a:pt x="1295400" y="0"/>
                  </a:lnTo>
                  <a:lnTo>
                    <a:pt x="0" y="0"/>
                  </a:lnTo>
                  <a:lnTo>
                    <a:pt x="0" y="601663"/>
                  </a:lnTo>
                  <a:close/>
                </a:path>
              </a:pathLst>
            </a:custGeom>
            <a:solidFill>
              <a:srgbClr val="FFFF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32" name="Freeform 632"/>
            <p:cNvSpPr/>
            <p:nvPr/>
          </p:nvSpPr>
          <p:spPr>
            <a:xfrm>
              <a:off x="11288649" y="2857501"/>
              <a:ext cx="0" cy="902399"/>
            </a:xfrm>
            <a:custGeom>
              <a:avLst/>
              <a:gdLst/>
              <a:ahLst/>
              <a:cxnLst/>
              <a:rect l="0" t="0" r="0" b="0"/>
              <a:pathLst>
                <a:path h="601599">
                  <a:moveTo>
                    <a:pt x="0" y="0"/>
                  </a:moveTo>
                  <a:lnTo>
                    <a:pt x="0" y="601599"/>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33" name="Freeform 633"/>
            <p:cNvSpPr/>
            <p:nvPr/>
          </p:nvSpPr>
          <p:spPr>
            <a:xfrm>
              <a:off x="11288650" y="3678365"/>
              <a:ext cx="1055369" cy="556641"/>
            </a:xfrm>
            <a:custGeom>
              <a:avLst/>
              <a:gdLst/>
              <a:ahLst/>
              <a:cxnLst/>
              <a:rect l="0" t="0" r="0" b="0"/>
              <a:pathLst>
                <a:path w="703579" h="371094">
                  <a:moveTo>
                    <a:pt x="0" y="0"/>
                  </a:moveTo>
                  <a:lnTo>
                    <a:pt x="703579" y="371094"/>
                  </a:lnTo>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35" name="Rectangle 635"/>
            <p:cNvSpPr/>
            <p:nvPr/>
          </p:nvSpPr>
          <p:spPr>
            <a:xfrm>
              <a:off x="1485265" y="2087852"/>
              <a:ext cx="10766602" cy="462563"/>
            </a:xfrm>
            <a:prstGeom prst="rect">
              <a:avLst/>
            </a:prstGeom>
          </p:spPr>
          <p:txBody>
            <a:bodyPr wrap="none" lIns="0" tIns="0" rIns="0" bIns="0">
              <a:spAutoFit/>
            </a:bodyPr>
            <a:lstStyle/>
            <a:p>
              <a:r>
                <a:rPr lang="en-US" sz="3006" b="1" spc="-50" dirty="0">
                  <a:latin typeface="Calibri"/>
                </a:rPr>
                <a:t>R</a:t>
              </a:r>
              <a:r>
                <a:rPr lang="en-US" sz="3006" b="1" dirty="0">
                  <a:latin typeface="Calibri"/>
                </a:rPr>
                <a:t>elação causa e </a:t>
              </a:r>
              <a:r>
                <a:rPr lang="en-US" sz="3006" b="1" spc="-17" dirty="0">
                  <a:latin typeface="Calibri"/>
                </a:rPr>
                <a:t>e</a:t>
              </a:r>
              <a:r>
                <a:rPr lang="en-US" sz="3006" b="1" spc="-74" dirty="0">
                  <a:latin typeface="Calibri"/>
                </a:rPr>
                <a:t>f</a:t>
              </a:r>
              <a:r>
                <a:rPr lang="en-US" sz="3006" b="1" dirty="0">
                  <a:latin typeface="Calibri"/>
                </a:rPr>
                <a:t>ei</a:t>
              </a:r>
              <a:r>
                <a:rPr lang="en-US" sz="3006" b="1" spc="-38" dirty="0">
                  <a:latin typeface="Calibri"/>
                </a:rPr>
                <a:t>t</a:t>
              </a:r>
              <a:r>
                <a:rPr lang="en-US" sz="3006" b="1" dirty="0">
                  <a:latin typeface="Calibri"/>
                </a:rPr>
                <a:t>o e</a:t>
              </a:r>
              <a:r>
                <a:rPr lang="en-US" sz="3006" b="1" spc="-32" dirty="0">
                  <a:latin typeface="Calibri"/>
                </a:rPr>
                <a:t>n</a:t>
              </a:r>
              <a:r>
                <a:rPr lang="en-US" sz="3006" b="1" dirty="0">
                  <a:latin typeface="Calibri"/>
                </a:rPr>
                <a:t>t</a:t>
              </a:r>
              <a:r>
                <a:rPr lang="en-US" sz="3006" b="1" spc="-41" dirty="0">
                  <a:latin typeface="Calibri"/>
                </a:rPr>
                <a:t>r</a:t>
              </a:r>
              <a:r>
                <a:rPr lang="en-US" sz="3006" b="1" dirty="0">
                  <a:latin typeface="Calibri"/>
                </a:rPr>
                <a:t>e</a:t>
              </a:r>
              <a:r>
                <a:rPr lang="en-US" sz="3006" b="1" spc="-53" dirty="0">
                  <a:latin typeface="Calibri"/>
                </a:rPr>
                <a:t>g</a:t>
              </a:r>
              <a:r>
                <a:rPr lang="en-US" sz="3006" b="1" dirty="0">
                  <a:latin typeface="Calibri"/>
                </a:rPr>
                <a:t>as, ben</a:t>
              </a:r>
              <a:r>
                <a:rPr lang="en-US" sz="3006" b="1" spc="-20" dirty="0">
                  <a:latin typeface="Calibri"/>
                </a:rPr>
                <a:t>e</a:t>
              </a:r>
              <a:r>
                <a:rPr lang="en-US" sz="3006" b="1" dirty="0">
                  <a:latin typeface="Calibri"/>
                </a:rPr>
                <a:t>fícios e </a:t>
              </a:r>
              <a:r>
                <a:rPr lang="en-US" sz="3006" b="1" dirty="0" err="1">
                  <a:latin typeface="Calibri"/>
                </a:rPr>
                <a:t>obj</a:t>
              </a:r>
              <a:r>
                <a:rPr lang="en-US" sz="3006" b="1" spc="-20" dirty="0" err="1">
                  <a:latin typeface="Calibri"/>
                </a:rPr>
                <a:t>e</a:t>
              </a:r>
              <a:r>
                <a:rPr lang="en-US" sz="3006" b="1" dirty="0" err="1">
                  <a:latin typeface="Calibri"/>
                </a:rPr>
                <a:t>ti</a:t>
              </a:r>
              <a:r>
                <a:rPr lang="en-US" sz="3006" b="1" spc="-53" dirty="0" err="1">
                  <a:latin typeface="Calibri"/>
                </a:rPr>
                <a:t>v</a:t>
              </a:r>
              <a:r>
                <a:rPr lang="en-US" sz="3006" b="1" dirty="0" err="1">
                  <a:latin typeface="Calibri"/>
                </a:rPr>
                <a:t>os</a:t>
              </a:r>
              <a:r>
                <a:rPr lang="en-US" sz="3006" b="1" dirty="0">
                  <a:latin typeface="Calibri"/>
                </a:rPr>
                <a:t> </a:t>
              </a:r>
              <a:r>
                <a:rPr lang="en-US" sz="3006" b="1" dirty="0" err="1">
                  <a:latin typeface="Calibri"/>
                </a:rPr>
                <a:t>e</a:t>
              </a:r>
              <a:r>
                <a:rPr lang="en-US" sz="3006" b="1" spc="-47" dirty="0" err="1">
                  <a:latin typeface="Calibri"/>
                </a:rPr>
                <a:t>s</a:t>
              </a:r>
              <a:r>
                <a:rPr lang="en-US" sz="3006" b="1" dirty="0" err="1">
                  <a:latin typeface="Calibri"/>
                </a:rPr>
                <a:t>t</a:t>
              </a:r>
              <a:r>
                <a:rPr lang="en-US" sz="3006" b="1" spc="-59" dirty="0" err="1">
                  <a:latin typeface="Calibri"/>
                </a:rPr>
                <a:t>r</a:t>
              </a:r>
              <a:r>
                <a:rPr lang="en-US" sz="3006" b="1" spc="-38" dirty="0" err="1">
                  <a:latin typeface="Calibri"/>
                </a:rPr>
                <a:t>at</a:t>
              </a:r>
              <a:r>
                <a:rPr lang="en-US" sz="3006" b="1" dirty="0" err="1">
                  <a:latin typeface="Calibri"/>
                </a:rPr>
                <a:t>égi</a:t>
              </a:r>
              <a:r>
                <a:rPr lang="en-US" sz="3006" b="1" spc="-17" dirty="0" err="1">
                  <a:latin typeface="Calibri"/>
                </a:rPr>
                <a:t>c</a:t>
              </a:r>
              <a:r>
                <a:rPr lang="en-US" sz="3006" b="1" dirty="0" err="1">
                  <a:latin typeface="Calibri"/>
                </a:rPr>
                <a:t>os</a:t>
              </a:r>
              <a:r>
                <a:rPr lang="en-US" sz="3006" b="1" dirty="0">
                  <a:latin typeface="Calibri"/>
                </a:rPr>
                <a:t>: </a:t>
              </a:r>
            </a:p>
          </p:txBody>
        </p:sp>
        <p:sp>
          <p:nvSpPr>
            <p:cNvPr id="636" name="Rectangle 636"/>
            <p:cNvSpPr/>
            <p:nvPr/>
          </p:nvSpPr>
          <p:spPr>
            <a:xfrm>
              <a:off x="455828" y="4523599"/>
              <a:ext cx="1224759" cy="645177"/>
            </a:xfrm>
            <a:prstGeom prst="rect">
              <a:avLst/>
            </a:prstGeom>
          </p:spPr>
          <p:txBody>
            <a:bodyPr wrap="none" lIns="0" tIns="0" rIns="0" bIns="0">
              <a:spAutoFit/>
            </a:bodyPr>
            <a:lstStyle/>
            <a:p>
              <a:r>
                <a:rPr lang="en-US" sz="2109" dirty="0">
                  <a:latin typeface="Calibri"/>
                </a:rPr>
                <a:t>E</a:t>
              </a:r>
              <a:r>
                <a:rPr lang="en-US" sz="2109" spc="-33" dirty="0">
                  <a:latin typeface="Calibri"/>
                </a:rPr>
                <a:t>n</a:t>
              </a:r>
              <a:r>
                <a:rPr lang="en-US" sz="2109" dirty="0">
                  <a:latin typeface="Calibri"/>
                </a:rPr>
                <a:t>t</a:t>
              </a:r>
              <a:r>
                <a:rPr lang="en-US" sz="2109" spc="-39" dirty="0">
                  <a:latin typeface="Calibri"/>
                </a:rPr>
                <a:t>r</a:t>
              </a:r>
              <a:r>
                <a:rPr lang="en-US" sz="2109" dirty="0">
                  <a:latin typeface="Calibri"/>
                </a:rPr>
                <a:t>e</a:t>
              </a:r>
              <a:r>
                <a:rPr lang="en-US" sz="2109" spc="-41" dirty="0">
                  <a:latin typeface="Calibri"/>
                </a:rPr>
                <a:t>g</a:t>
              </a:r>
              <a:r>
                <a:rPr lang="en-US" sz="2109" dirty="0">
                  <a:latin typeface="Calibri"/>
                </a:rPr>
                <a:t>a de </a:t>
              </a:r>
            </a:p>
            <a:p>
              <a:pPr marL="187452">
                <a:lnSpc>
                  <a:spcPts val="2523"/>
                </a:lnSpc>
              </a:pPr>
              <a:r>
                <a:rPr lang="en-US" sz="2105" dirty="0">
                  <a:latin typeface="Calibri"/>
                </a:rPr>
                <a:t>P</a:t>
              </a:r>
              <a:r>
                <a:rPr lang="en-US" sz="2105" spc="-35" dirty="0">
                  <a:latin typeface="Calibri"/>
                </a:rPr>
                <a:t>r</a:t>
              </a:r>
              <a:r>
                <a:rPr lang="en-US" sz="2105" dirty="0">
                  <a:latin typeface="Calibri"/>
                </a:rPr>
                <a:t>oj</a:t>
              </a:r>
              <a:r>
                <a:rPr lang="en-US" sz="2105" spc="-24" dirty="0">
                  <a:latin typeface="Calibri"/>
                </a:rPr>
                <a:t>e</a:t>
              </a:r>
              <a:r>
                <a:rPr lang="en-US" sz="2105" spc="-23" dirty="0">
                  <a:latin typeface="Calibri"/>
                </a:rPr>
                <a:t>t</a:t>
              </a:r>
              <a:r>
                <a:rPr lang="en-US" sz="2105" dirty="0">
                  <a:latin typeface="Calibri"/>
                </a:rPr>
                <a:t>o </a:t>
              </a:r>
            </a:p>
          </p:txBody>
        </p:sp>
        <p:sp>
          <p:nvSpPr>
            <p:cNvPr id="637" name="Rectangle 637"/>
            <p:cNvSpPr/>
            <p:nvPr/>
          </p:nvSpPr>
          <p:spPr>
            <a:xfrm>
              <a:off x="2728531" y="4523599"/>
              <a:ext cx="1264385" cy="645177"/>
            </a:xfrm>
            <a:prstGeom prst="rect">
              <a:avLst/>
            </a:prstGeom>
          </p:spPr>
          <p:txBody>
            <a:bodyPr wrap="none" lIns="0" tIns="0" rIns="0" bIns="0">
              <a:spAutoFit/>
            </a:bodyPr>
            <a:lstStyle/>
            <a:p>
              <a:pPr marL="89154"/>
              <a:r>
                <a:rPr lang="en-US" sz="2109" dirty="0">
                  <a:latin typeface="Calibri"/>
                </a:rPr>
                <a:t>Mudan</a:t>
              </a:r>
              <a:r>
                <a:rPr lang="en-US" sz="2109" spc="-28" dirty="0">
                  <a:latin typeface="Calibri"/>
                </a:rPr>
                <a:t>ç</a:t>
              </a:r>
              <a:r>
                <a:rPr lang="en-US" sz="2109" dirty="0">
                  <a:latin typeface="Calibri"/>
                </a:rPr>
                <a:t>a </a:t>
              </a:r>
            </a:p>
            <a:p>
              <a:pPr>
                <a:lnSpc>
                  <a:spcPts val="2523"/>
                </a:lnSpc>
              </a:pPr>
              <a:r>
                <a:rPr lang="en-US" sz="2105" dirty="0">
                  <a:latin typeface="Calibri"/>
                </a:rPr>
                <a:t>do ne</a:t>
              </a:r>
              <a:r>
                <a:rPr lang="en-US" sz="2105" spc="-26" dirty="0">
                  <a:latin typeface="Calibri"/>
                </a:rPr>
                <a:t>g</a:t>
              </a:r>
              <a:r>
                <a:rPr lang="en-US" sz="2105" dirty="0">
                  <a:latin typeface="Calibri"/>
                </a:rPr>
                <a:t>ócio </a:t>
              </a:r>
            </a:p>
          </p:txBody>
        </p:sp>
        <p:sp>
          <p:nvSpPr>
            <p:cNvPr id="638" name="Rectangle 638"/>
            <p:cNvSpPr/>
            <p:nvPr/>
          </p:nvSpPr>
          <p:spPr>
            <a:xfrm>
              <a:off x="5072254" y="4684190"/>
              <a:ext cx="1145763" cy="324576"/>
            </a:xfrm>
            <a:prstGeom prst="rect">
              <a:avLst/>
            </a:prstGeom>
          </p:spPr>
          <p:txBody>
            <a:bodyPr wrap="none" lIns="0" tIns="0" rIns="0" bIns="0">
              <a:spAutoFit/>
            </a:bodyPr>
            <a:lstStyle/>
            <a:p>
              <a:r>
                <a:rPr lang="en-US" sz="2109" spc="-30" dirty="0">
                  <a:latin typeface="Calibri"/>
                </a:rPr>
                <a:t>R</a:t>
              </a:r>
              <a:r>
                <a:rPr lang="en-US" sz="2109" dirty="0">
                  <a:latin typeface="Calibri"/>
                </a:rPr>
                <a:t>esul</a:t>
              </a:r>
              <a:r>
                <a:rPr lang="en-US" sz="2109" spc="-23" dirty="0">
                  <a:latin typeface="Calibri"/>
                </a:rPr>
                <a:t>t</a:t>
              </a:r>
              <a:r>
                <a:rPr lang="en-US" sz="2109" dirty="0">
                  <a:latin typeface="Calibri"/>
                </a:rPr>
                <a:t>ado </a:t>
              </a:r>
            </a:p>
          </p:txBody>
        </p:sp>
        <p:sp>
          <p:nvSpPr>
            <p:cNvPr id="639" name="Rectangle 639"/>
            <p:cNvSpPr/>
            <p:nvPr/>
          </p:nvSpPr>
          <p:spPr>
            <a:xfrm>
              <a:off x="7260335" y="4572383"/>
              <a:ext cx="1335494" cy="549509"/>
            </a:xfrm>
            <a:prstGeom prst="rect">
              <a:avLst/>
            </a:prstGeom>
          </p:spPr>
          <p:txBody>
            <a:bodyPr wrap="none" lIns="0" tIns="0" rIns="0" bIns="0">
              <a:spAutoFit/>
            </a:bodyPr>
            <a:lstStyle/>
            <a:p>
              <a:pPr marL="205740"/>
              <a:r>
                <a:rPr lang="en-US" dirty="0">
                  <a:latin typeface="Calibri"/>
                </a:rPr>
                <a:t>Benefício </a:t>
              </a:r>
            </a:p>
            <a:p>
              <a:pPr>
                <a:lnSpc>
                  <a:spcPts val="2163"/>
                </a:lnSpc>
              </a:pPr>
              <a:r>
                <a:rPr lang="en-US" dirty="0">
                  <a:latin typeface="Calibri"/>
                </a:rPr>
                <a:t>intermediário </a:t>
              </a:r>
            </a:p>
          </p:txBody>
        </p:sp>
        <p:sp>
          <p:nvSpPr>
            <p:cNvPr id="640" name="Rectangle 640"/>
            <p:cNvSpPr/>
            <p:nvPr/>
          </p:nvSpPr>
          <p:spPr>
            <a:xfrm>
              <a:off x="9610344" y="4480278"/>
              <a:ext cx="1222964" cy="728854"/>
            </a:xfrm>
            <a:prstGeom prst="rect">
              <a:avLst/>
            </a:prstGeom>
          </p:spPr>
          <p:txBody>
            <a:bodyPr wrap="none" lIns="0" tIns="0" rIns="0" bIns="0">
              <a:spAutoFit/>
            </a:bodyPr>
            <a:lstStyle/>
            <a:p>
              <a:r>
                <a:rPr lang="en-US" sz="2397" dirty="0">
                  <a:latin typeface="Calibri"/>
                </a:rPr>
                <a:t>Ben</a:t>
              </a:r>
              <a:r>
                <a:rPr lang="en-US" sz="2397" spc="-30" dirty="0">
                  <a:latin typeface="Calibri"/>
                </a:rPr>
                <a:t>e</a:t>
              </a:r>
              <a:r>
                <a:rPr lang="en-US" sz="2397" dirty="0">
                  <a:latin typeface="Calibri"/>
                </a:rPr>
                <a:t>fício </a:t>
              </a:r>
            </a:p>
            <a:p>
              <a:pPr marL="302133">
                <a:lnSpc>
                  <a:spcPts val="2879"/>
                </a:lnSpc>
              </a:pPr>
              <a:r>
                <a:rPr lang="en-US" sz="2394" dirty="0">
                  <a:latin typeface="Calibri"/>
                </a:rPr>
                <a:t>final </a:t>
              </a:r>
            </a:p>
          </p:txBody>
        </p:sp>
        <p:sp>
          <p:nvSpPr>
            <p:cNvPr id="641" name="Rectangle 641"/>
            <p:cNvSpPr/>
            <p:nvPr/>
          </p:nvSpPr>
          <p:spPr>
            <a:xfrm>
              <a:off x="11871578" y="4523599"/>
              <a:ext cx="1253420" cy="645177"/>
            </a:xfrm>
            <a:prstGeom prst="rect">
              <a:avLst/>
            </a:prstGeom>
          </p:spPr>
          <p:txBody>
            <a:bodyPr wrap="none" lIns="0" tIns="0" rIns="0" bIns="0">
              <a:spAutoFit/>
            </a:bodyPr>
            <a:lstStyle/>
            <a:p>
              <a:pPr marL="137160"/>
              <a:r>
                <a:rPr lang="en-US" sz="2109" dirty="0">
                  <a:latin typeface="Calibri"/>
                </a:rPr>
                <a:t>Obj</a:t>
              </a:r>
              <a:r>
                <a:rPr lang="en-US" sz="2109" spc="-26" dirty="0">
                  <a:latin typeface="Calibri"/>
                </a:rPr>
                <a:t>e</a:t>
              </a:r>
              <a:r>
                <a:rPr lang="en-US" sz="2109" dirty="0">
                  <a:latin typeface="Calibri"/>
                </a:rPr>
                <a:t>ti</a:t>
              </a:r>
              <a:r>
                <a:rPr lang="en-US" sz="2109" spc="-23" dirty="0">
                  <a:latin typeface="Calibri"/>
                </a:rPr>
                <a:t>v</a:t>
              </a:r>
              <a:r>
                <a:rPr lang="en-US" sz="2109" dirty="0">
                  <a:latin typeface="Calibri"/>
                </a:rPr>
                <a:t>o </a:t>
              </a:r>
            </a:p>
            <a:p>
              <a:pPr>
                <a:lnSpc>
                  <a:spcPts val="2523"/>
                </a:lnSpc>
              </a:pPr>
              <a:r>
                <a:rPr lang="en-US" sz="2105" dirty="0">
                  <a:latin typeface="Calibri"/>
                </a:rPr>
                <a:t>e</a:t>
              </a:r>
              <a:r>
                <a:rPr lang="en-US" sz="2105" spc="-20" dirty="0">
                  <a:latin typeface="Calibri"/>
                </a:rPr>
                <a:t>s</a:t>
              </a:r>
              <a:r>
                <a:rPr lang="en-US" sz="2105" dirty="0">
                  <a:latin typeface="Calibri"/>
                </a:rPr>
                <a:t>t</a:t>
              </a:r>
              <a:r>
                <a:rPr lang="en-US" sz="2105" spc="-36" dirty="0">
                  <a:latin typeface="Calibri"/>
                </a:rPr>
                <a:t>r</a:t>
              </a:r>
              <a:r>
                <a:rPr lang="en-US" sz="2105" spc="-20" dirty="0">
                  <a:latin typeface="Calibri"/>
                </a:rPr>
                <a:t>a</a:t>
              </a:r>
              <a:r>
                <a:rPr lang="en-US" sz="2105" spc="-23" dirty="0">
                  <a:latin typeface="Calibri"/>
                </a:rPr>
                <a:t>t</a:t>
              </a:r>
              <a:r>
                <a:rPr lang="en-US" sz="2105" dirty="0">
                  <a:latin typeface="Calibri"/>
                </a:rPr>
                <a:t>égi</a:t>
              </a:r>
              <a:r>
                <a:rPr lang="en-US" sz="2105" spc="-26" dirty="0">
                  <a:latin typeface="Calibri"/>
                </a:rPr>
                <a:t>c</a:t>
              </a:r>
              <a:r>
                <a:rPr lang="en-US" sz="2105" dirty="0">
                  <a:latin typeface="Calibri"/>
                </a:rPr>
                <a:t>o </a:t>
              </a:r>
            </a:p>
          </p:txBody>
        </p:sp>
        <p:sp>
          <p:nvSpPr>
            <p:cNvPr id="642" name="Rectangle 642"/>
            <p:cNvSpPr/>
            <p:nvPr/>
          </p:nvSpPr>
          <p:spPr>
            <a:xfrm>
              <a:off x="1051561" y="6261774"/>
              <a:ext cx="1758495" cy="503086"/>
            </a:xfrm>
            <a:prstGeom prst="rect">
              <a:avLst/>
            </a:prstGeom>
          </p:spPr>
          <p:txBody>
            <a:bodyPr wrap="none" lIns="0" tIns="0" rIns="0" bIns="0">
              <a:spAutoFit/>
            </a:bodyPr>
            <a:lstStyle/>
            <a:p>
              <a:r>
                <a:rPr lang="en-US" sz="1655" dirty="0">
                  <a:latin typeface="Calibri"/>
                </a:rPr>
                <a:t>Ex. sistem</a:t>
              </a:r>
              <a:r>
                <a:rPr lang="en-US" sz="1655" spc="-21" dirty="0">
                  <a:latin typeface="Calibri"/>
                </a:rPr>
                <a:t>a</a:t>
              </a:r>
              <a:r>
                <a:rPr lang="en-US" sz="1655" spc="-51" dirty="0">
                  <a:latin typeface="Calibri"/>
                </a:rPr>
                <a:t> </a:t>
              </a:r>
              <a:r>
                <a:rPr lang="en-US" sz="1655" dirty="0">
                  <a:latin typeface="Calibri"/>
                </a:rPr>
                <a:t>de </a:t>
              </a:r>
            </a:p>
            <a:p>
              <a:pPr>
                <a:lnSpc>
                  <a:spcPts val="1979"/>
                </a:lnSpc>
              </a:pPr>
              <a:r>
                <a:rPr lang="en-US" sz="1655" dirty="0">
                  <a:latin typeface="Calibri"/>
                </a:rPr>
                <a:t>comércio</a:t>
              </a:r>
              <a:r>
                <a:rPr lang="en-US" sz="1655" spc="-51" dirty="0">
                  <a:latin typeface="Calibri"/>
                </a:rPr>
                <a:t> </a:t>
              </a:r>
              <a:r>
                <a:rPr lang="en-US" sz="1655" dirty="0">
                  <a:latin typeface="Calibri"/>
                </a:rPr>
                <a:t>eletrônico </a:t>
              </a:r>
            </a:p>
          </p:txBody>
        </p:sp>
        <p:sp>
          <p:nvSpPr>
            <p:cNvPr id="643" name="Rectangle 643"/>
            <p:cNvSpPr/>
            <p:nvPr/>
          </p:nvSpPr>
          <p:spPr>
            <a:xfrm>
              <a:off x="4240149" y="6992913"/>
              <a:ext cx="1165960" cy="503086"/>
            </a:xfrm>
            <a:prstGeom prst="rect">
              <a:avLst/>
            </a:prstGeom>
          </p:spPr>
          <p:txBody>
            <a:bodyPr wrap="none" lIns="0" tIns="0" rIns="0" bIns="0">
              <a:spAutoFit/>
            </a:bodyPr>
            <a:lstStyle/>
            <a:p>
              <a:r>
                <a:rPr lang="en-US" sz="1655" dirty="0">
                  <a:latin typeface="Calibri"/>
                </a:rPr>
                <a:t>Preparação</a:t>
              </a:r>
              <a:r>
                <a:rPr lang="en-US" sz="1655" spc="-51" dirty="0">
                  <a:latin typeface="Calibri"/>
                </a:rPr>
                <a:t> </a:t>
              </a:r>
              <a:r>
                <a:rPr lang="en-US" sz="1655" dirty="0">
                  <a:latin typeface="Calibri"/>
                </a:rPr>
                <a:t>e </a:t>
              </a:r>
            </a:p>
            <a:p>
              <a:pPr marL="25145">
                <a:lnSpc>
                  <a:spcPts val="1982"/>
                </a:lnSpc>
              </a:pPr>
              <a:r>
                <a:rPr lang="en-US" sz="1655" dirty="0">
                  <a:latin typeface="Calibri"/>
                </a:rPr>
                <a:t>treinamento </a:t>
              </a:r>
            </a:p>
          </p:txBody>
        </p:sp>
        <p:sp>
          <p:nvSpPr>
            <p:cNvPr id="644" name="Rectangle 644"/>
            <p:cNvSpPr/>
            <p:nvPr/>
          </p:nvSpPr>
          <p:spPr>
            <a:xfrm>
              <a:off x="5892926" y="5819243"/>
              <a:ext cx="1772601" cy="759567"/>
            </a:xfrm>
            <a:prstGeom prst="rect">
              <a:avLst/>
            </a:prstGeom>
          </p:spPr>
          <p:txBody>
            <a:bodyPr wrap="none" lIns="0" tIns="0" rIns="0" bIns="0">
              <a:spAutoFit/>
            </a:bodyPr>
            <a:lstStyle/>
            <a:p>
              <a:r>
                <a:rPr lang="en-US" sz="1655" dirty="0" err="1">
                  <a:latin typeface="Calibri"/>
                </a:rPr>
                <a:t>Transição</a:t>
              </a:r>
              <a:r>
                <a:rPr lang="en-US" sz="1655" spc="-33" dirty="0">
                  <a:latin typeface="Calibri"/>
                </a:rPr>
                <a:t> </a:t>
              </a:r>
              <a:r>
                <a:rPr lang="en-US" sz="1655" dirty="0">
                  <a:latin typeface="Calibri"/>
                </a:rPr>
                <a:t>e início</a:t>
              </a:r>
              <a:r>
                <a:rPr lang="en-US" sz="1655" spc="-32" dirty="0">
                  <a:latin typeface="Calibri"/>
                </a:rPr>
                <a:t> </a:t>
              </a:r>
              <a:r>
                <a:rPr lang="en-US" sz="1655" dirty="0">
                  <a:latin typeface="Calibri"/>
                </a:rPr>
                <a:t>de </a:t>
              </a:r>
            </a:p>
            <a:p>
              <a:pPr marL="9144">
                <a:lnSpc>
                  <a:spcPts val="1979"/>
                </a:lnSpc>
              </a:pPr>
              <a:r>
                <a:rPr lang="en-US" sz="1655" dirty="0">
                  <a:latin typeface="Calibri"/>
                </a:rPr>
                <a:t>processamen</a:t>
              </a:r>
              <a:r>
                <a:rPr lang="en-US" sz="1655" spc="-18" dirty="0">
                  <a:latin typeface="Calibri"/>
                </a:rPr>
                <a:t>t</a:t>
              </a:r>
              <a:r>
                <a:rPr lang="en-US" sz="1655" dirty="0">
                  <a:latin typeface="Calibri"/>
                </a:rPr>
                <a:t>o</a:t>
              </a:r>
              <a:r>
                <a:rPr lang="en-US" sz="1655" spc="-51" dirty="0">
                  <a:latin typeface="Calibri"/>
                </a:rPr>
                <a:t> </a:t>
              </a:r>
              <a:r>
                <a:rPr lang="en-US" sz="1655" dirty="0">
                  <a:latin typeface="Calibri"/>
                </a:rPr>
                <a:t>de </a:t>
              </a:r>
            </a:p>
            <a:p>
              <a:pPr marL="498348">
                <a:lnSpc>
                  <a:spcPts val="1979"/>
                </a:lnSpc>
              </a:pPr>
              <a:r>
                <a:rPr lang="en-US" sz="1655" dirty="0">
                  <a:latin typeface="Calibri"/>
                </a:rPr>
                <a:t>ordens </a:t>
              </a:r>
            </a:p>
          </p:txBody>
        </p:sp>
        <p:sp>
          <p:nvSpPr>
            <p:cNvPr id="645" name="Rectangle 645"/>
            <p:cNvSpPr/>
            <p:nvPr/>
          </p:nvSpPr>
          <p:spPr>
            <a:xfrm>
              <a:off x="8069580" y="3055088"/>
              <a:ext cx="1632626" cy="503086"/>
            </a:xfrm>
            <a:prstGeom prst="rect">
              <a:avLst/>
            </a:prstGeom>
          </p:spPr>
          <p:txBody>
            <a:bodyPr wrap="none" lIns="0" tIns="0" rIns="0" bIns="0">
              <a:spAutoFit/>
            </a:bodyPr>
            <a:lstStyle/>
            <a:p>
              <a:pPr marL="125730"/>
              <a:r>
                <a:rPr lang="en-US" sz="1655" dirty="0">
                  <a:latin typeface="Calibri"/>
                </a:rPr>
                <a:t>Crescimento</a:t>
              </a:r>
              <a:r>
                <a:rPr lang="en-US" sz="1655" spc="-69" dirty="0">
                  <a:latin typeface="Calibri"/>
                </a:rPr>
                <a:t> </a:t>
              </a:r>
              <a:r>
                <a:rPr lang="en-US" sz="1655" dirty="0">
                  <a:latin typeface="Calibri"/>
                </a:rPr>
                <a:t>de </a:t>
              </a:r>
            </a:p>
            <a:p>
              <a:pPr>
                <a:lnSpc>
                  <a:spcPts val="1980"/>
                </a:lnSpc>
              </a:pPr>
              <a:r>
                <a:rPr lang="en-US" sz="1655" dirty="0">
                  <a:latin typeface="Calibri"/>
                </a:rPr>
                <a:t>ordens</a:t>
              </a:r>
              <a:r>
                <a:rPr lang="en-US" sz="1655" spc="-35" dirty="0">
                  <a:latin typeface="Calibri"/>
                </a:rPr>
                <a:t> </a:t>
              </a:r>
              <a:r>
                <a:rPr lang="en-US" sz="1655" dirty="0">
                  <a:latin typeface="Calibri"/>
                </a:rPr>
                <a:t>eletrônicas </a:t>
              </a:r>
            </a:p>
          </p:txBody>
        </p:sp>
        <p:sp>
          <p:nvSpPr>
            <p:cNvPr id="646" name="Rectangle 646"/>
            <p:cNvSpPr/>
            <p:nvPr/>
          </p:nvSpPr>
          <p:spPr>
            <a:xfrm>
              <a:off x="10938890" y="7119596"/>
              <a:ext cx="1383712" cy="503086"/>
            </a:xfrm>
            <a:prstGeom prst="rect">
              <a:avLst/>
            </a:prstGeom>
          </p:spPr>
          <p:txBody>
            <a:bodyPr wrap="none" lIns="0" tIns="0" rIns="0" bIns="0">
              <a:spAutoFit/>
            </a:bodyPr>
            <a:lstStyle/>
            <a:p>
              <a:r>
                <a:rPr lang="en-US" sz="1655" dirty="0">
                  <a:latin typeface="Calibri"/>
                </a:rPr>
                <a:t>Crescimento</a:t>
              </a:r>
              <a:r>
                <a:rPr lang="en-US" sz="1655" spc="-69" dirty="0">
                  <a:latin typeface="Calibri"/>
                </a:rPr>
                <a:t> </a:t>
              </a:r>
              <a:r>
                <a:rPr lang="en-US" sz="1655" dirty="0">
                  <a:latin typeface="Calibri"/>
                </a:rPr>
                <a:t>de </a:t>
              </a:r>
            </a:p>
            <a:p>
              <a:pPr marL="361188">
                <a:lnSpc>
                  <a:spcPts val="1979"/>
                </a:lnSpc>
              </a:pPr>
              <a:r>
                <a:rPr lang="en-US" sz="1655" dirty="0">
                  <a:latin typeface="Calibri"/>
                </a:rPr>
                <a:t>vendas </a:t>
              </a:r>
            </a:p>
          </p:txBody>
        </p:sp>
        <p:sp>
          <p:nvSpPr>
            <p:cNvPr id="647" name="Rectangle 647"/>
            <p:cNvSpPr/>
            <p:nvPr/>
          </p:nvSpPr>
          <p:spPr>
            <a:xfrm>
              <a:off x="11718418" y="3055088"/>
              <a:ext cx="1191673" cy="503086"/>
            </a:xfrm>
            <a:prstGeom prst="rect">
              <a:avLst/>
            </a:prstGeom>
          </p:spPr>
          <p:txBody>
            <a:bodyPr wrap="none" lIns="0" tIns="0" rIns="0" bIns="0">
              <a:spAutoFit/>
            </a:bodyPr>
            <a:lstStyle/>
            <a:p>
              <a:pPr marL="43433"/>
              <a:r>
                <a:rPr lang="en-US" sz="1655" dirty="0">
                  <a:latin typeface="Calibri"/>
                </a:rPr>
                <a:t>Aumento</a:t>
              </a:r>
              <a:r>
                <a:rPr lang="en-US" sz="1655" spc="-51" dirty="0">
                  <a:latin typeface="Calibri"/>
                </a:rPr>
                <a:t> </a:t>
              </a:r>
              <a:r>
                <a:rPr lang="en-US" sz="1655" dirty="0">
                  <a:latin typeface="Calibri"/>
                </a:rPr>
                <a:t>de </a:t>
              </a:r>
            </a:p>
            <a:p>
              <a:pPr>
                <a:lnSpc>
                  <a:spcPts val="1980"/>
                </a:lnSpc>
              </a:pPr>
              <a:r>
                <a:rPr lang="en-US" sz="1655" dirty="0">
                  <a:latin typeface="Calibri"/>
                </a:rPr>
                <a:t>rentabilidade </a:t>
              </a:r>
            </a:p>
          </p:txBody>
        </p:sp>
      </p:grpSp>
      <p:sp>
        <p:nvSpPr>
          <p:cNvPr id="92" name="CaixaDeTexto 91">
            <a:extLst>
              <a:ext uri="{FF2B5EF4-FFF2-40B4-BE49-F238E27FC236}">
                <a16:creationId xmlns:a16="http://schemas.microsoft.com/office/drawing/2014/main" id="{5F762580-509D-4B89-8868-1000787B4043}"/>
              </a:ext>
            </a:extLst>
          </p:cNvPr>
          <p:cNvSpPr txBox="1"/>
          <p:nvPr/>
        </p:nvSpPr>
        <p:spPr>
          <a:xfrm>
            <a:off x="678027" y="1046093"/>
            <a:ext cx="10506212" cy="561244"/>
          </a:xfrm>
          <a:prstGeom prst="rect">
            <a:avLst/>
          </a:prstGeom>
          <a:noFill/>
        </p:spPr>
        <p:txBody>
          <a:bodyPr wrap="square">
            <a:spAutoFit/>
          </a:bodyPr>
          <a:lstStyle/>
          <a:p>
            <a:pPr algn="ctr"/>
            <a:r>
              <a:rPr lang="en-US" sz="3047" b="1" dirty="0">
                <a:solidFill>
                  <a:srgbClr val="FF0000"/>
                </a:solidFill>
                <a:latin typeface="Helvetica" panose="020B0604020202020204" pitchFamily="34" charset="0"/>
              </a:rPr>
              <a:t>Value Management Office – VMO </a:t>
            </a:r>
            <a:endParaRPr lang="pt-BR" sz="3047" b="1" dirty="0">
              <a:solidFill>
                <a:srgbClr val="FF0000"/>
              </a:solidFill>
              <a:latin typeface="Helvetica" panose="020B0604020202020204" pitchFamily="34" charset="0"/>
            </a:endParaRPr>
          </a:p>
        </p:txBody>
      </p:sp>
      <p:sp>
        <p:nvSpPr>
          <p:cNvPr id="93" name="Rectangle 2">
            <a:extLst>
              <a:ext uri="{FF2B5EF4-FFF2-40B4-BE49-F238E27FC236}">
                <a16:creationId xmlns:a16="http://schemas.microsoft.com/office/drawing/2014/main" id="{6A5BCBB5-3FF2-439B-BC23-1F17B9CDF673}"/>
              </a:ext>
            </a:extLst>
          </p:cNvPr>
          <p:cNvSpPr>
            <a:spLocks noChangeArrowheads="1"/>
          </p:cNvSpPr>
          <p:nvPr/>
        </p:nvSpPr>
        <p:spPr bwMode="auto">
          <a:xfrm>
            <a:off x="657225" y="164307"/>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 name="Rectangle 737"/>
          <p:cNvSpPr/>
          <p:nvPr/>
        </p:nvSpPr>
        <p:spPr>
          <a:xfrm>
            <a:off x="9818364" y="561176"/>
            <a:ext cx="1253548" cy="645241"/>
          </a:xfrm>
          <a:prstGeom prst="rect">
            <a:avLst/>
          </a:prstGeom>
        </p:spPr>
        <p:txBody>
          <a:bodyPr wrap="none" lIns="0" tIns="0" rIns="0" bIns="0">
            <a:spAutoFit/>
          </a:bodyPr>
          <a:lstStyle/>
          <a:p>
            <a:r>
              <a:rPr lang="en-US" sz="4193" dirty="0">
                <a:solidFill>
                  <a:srgbClr val="FFFFFF"/>
                </a:solidFill>
                <a:latin typeface="Calibri"/>
              </a:rPr>
              <a:t>fícios </a:t>
            </a:r>
          </a:p>
        </p:txBody>
      </p:sp>
      <p:grpSp>
        <p:nvGrpSpPr>
          <p:cNvPr id="2" name="Agrupar 1">
            <a:extLst>
              <a:ext uri="{FF2B5EF4-FFF2-40B4-BE49-F238E27FC236}">
                <a16:creationId xmlns:a16="http://schemas.microsoft.com/office/drawing/2014/main" id="{5C50FDFB-CD84-4118-A962-F676A5BAB419}"/>
              </a:ext>
            </a:extLst>
          </p:cNvPr>
          <p:cNvGrpSpPr/>
          <p:nvPr/>
        </p:nvGrpSpPr>
        <p:grpSpPr>
          <a:xfrm>
            <a:off x="305272" y="1684874"/>
            <a:ext cx="12880849" cy="8419385"/>
            <a:chOff x="394715" y="1371696"/>
            <a:chExt cx="12880849" cy="8419385"/>
          </a:xfrm>
        </p:grpSpPr>
        <p:pic>
          <p:nvPicPr>
            <p:cNvPr id="654" name="Picture 65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891839" y="1588130"/>
              <a:ext cx="183255" cy="7860932"/>
            </a:xfrm>
            <a:prstGeom prst="rect">
              <a:avLst/>
            </a:prstGeom>
            <a:noFill/>
          </p:spPr>
        </p:pic>
        <p:pic>
          <p:nvPicPr>
            <p:cNvPr id="655" name="Picture 65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679191" y="1465328"/>
              <a:ext cx="249173" cy="7950707"/>
            </a:xfrm>
            <a:prstGeom prst="rect">
              <a:avLst/>
            </a:prstGeom>
            <a:noFill/>
          </p:spPr>
        </p:pic>
        <p:pic>
          <p:nvPicPr>
            <p:cNvPr id="656" name="Picture 65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724245" y="1481041"/>
              <a:ext cx="159447" cy="7860701"/>
            </a:xfrm>
            <a:prstGeom prst="rect">
              <a:avLst/>
            </a:prstGeom>
            <a:noFill/>
          </p:spPr>
        </p:pic>
        <p:pic>
          <p:nvPicPr>
            <p:cNvPr id="657" name="Picture 65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94715" y="2618994"/>
              <a:ext cx="2004059" cy="1144524"/>
            </a:xfrm>
            <a:prstGeom prst="rect">
              <a:avLst/>
            </a:prstGeom>
            <a:noFill/>
          </p:spPr>
        </p:pic>
        <p:pic>
          <p:nvPicPr>
            <p:cNvPr id="658" name="Picture 65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77012" y="2699004"/>
              <a:ext cx="1880616" cy="1007364"/>
            </a:xfrm>
            <a:prstGeom prst="rect">
              <a:avLst/>
            </a:prstGeom>
            <a:noFill/>
          </p:spPr>
        </p:pic>
        <p:pic>
          <p:nvPicPr>
            <p:cNvPr id="659" name="Picture 65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466726" y="2659858"/>
              <a:ext cx="1859756" cy="1002506"/>
            </a:xfrm>
            <a:prstGeom prst="rect">
              <a:avLst/>
            </a:prstGeom>
            <a:noFill/>
          </p:spPr>
        </p:pic>
        <p:sp>
          <p:nvSpPr>
            <p:cNvPr id="660" name="Freeform 660"/>
            <p:cNvSpPr/>
            <p:nvPr/>
          </p:nvSpPr>
          <p:spPr>
            <a:xfrm>
              <a:off x="485776" y="2678908"/>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61" name="Picture 66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94715" y="4866134"/>
              <a:ext cx="2004059" cy="1144524"/>
            </a:xfrm>
            <a:prstGeom prst="rect">
              <a:avLst/>
            </a:prstGeom>
            <a:noFill/>
          </p:spPr>
        </p:pic>
        <p:pic>
          <p:nvPicPr>
            <p:cNvPr id="662" name="Picture 66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463295" y="4916426"/>
              <a:ext cx="1908048" cy="1107947"/>
            </a:xfrm>
            <a:prstGeom prst="rect">
              <a:avLst/>
            </a:prstGeom>
            <a:noFill/>
          </p:spPr>
        </p:pic>
        <p:pic>
          <p:nvPicPr>
            <p:cNvPr id="663" name="Picture 66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466726" y="4907758"/>
              <a:ext cx="1859756" cy="1002506"/>
            </a:xfrm>
            <a:prstGeom prst="rect">
              <a:avLst/>
            </a:prstGeom>
            <a:noFill/>
          </p:spPr>
        </p:pic>
        <p:sp>
          <p:nvSpPr>
            <p:cNvPr id="664" name="Freeform 664"/>
            <p:cNvSpPr/>
            <p:nvPr/>
          </p:nvSpPr>
          <p:spPr>
            <a:xfrm>
              <a:off x="485776" y="4926808"/>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65" name="Picture 665"/>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394715" y="7353300"/>
              <a:ext cx="2004059" cy="1144524"/>
            </a:xfrm>
            <a:prstGeom prst="rect">
              <a:avLst/>
            </a:prstGeom>
            <a:noFill/>
          </p:spPr>
        </p:pic>
        <p:pic>
          <p:nvPicPr>
            <p:cNvPr id="666" name="Picture 666"/>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435863" y="7284720"/>
              <a:ext cx="1985771" cy="1313688"/>
            </a:xfrm>
            <a:prstGeom prst="rect">
              <a:avLst/>
            </a:prstGeom>
            <a:noFill/>
          </p:spPr>
        </p:pic>
        <p:pic>
          <p:nvPicPr>
            <p:cNvPr id="667" name="Picture 66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466726" y="7393783"/>
              <a:ext cx="1859756" cy="1002506"/>
            </a:xfrm>
            <a:prstGeom prst="rect">
              <a:avLst/>
            </a:prstGeom>
            <a:noFill/>
          </p:spPr>
        </p:pic>
        <p:sp>
          <p:nvSpPr>
            <p:cNvPr id="668" name="Freeform 668"/>
            <p:cNvSpPr/>
            <p:nvPr/>
          </p:nvSpPr>
          <p:spPr>
            <a:xfrm>
              <a:off x="485776" y="7412833"/>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69" name="Freeform 669"/>
            <p:cNvSpPr/>
            <p:nvPr/>
          </p:nvSpPr>
          <p:spPr>
            <a:xfrm>
              <a:off x="3179065" y="1714596"/>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solidFill>
              <a:srgbClr val="FFFFFF">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0" name="Freeform 670"/>
            <p:cNvSpPr/>
            <p:nvPr/>
          </p:nvSpPr>
          <p:spPr>
            <a:xfrm>
              <a:off x="3179065" y="1714596"/>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71" name="Freeform 671"/>
            <p:cNvSpPr/>
            <p:nvPr/>
          </p:nvSpPr>
          <p:spPr>
            <a:xfrm>
              <a:off x="4143376" y="2786159"/>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72" name="Freeform 672"/>
            <p:cNvSpPr/>
            <p:nvPr/>
          </p:nvSpPr>
          <p:spPr>
            <a:xfrm>
              <a:off x="4143376" y="2786159"/>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73" name="Freeform 673"/>
            <p:cNvSpPr/>
            <p:nvPr/>
          </p:nvSpPr>
          <p:spPr>
            <a:xfrm>
              <a:off x="5900738" y="4500659"/>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74" name="Freeform 674"/>
            <p:cNvSpPr/>
            <p:nvPr/>
          </p:nvSpPr>
          <p:spPr>
            <a:xfrm>
              <a:off x="5900738" y="4500659"/>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75" name="Freeform 675"/>
            <p:cNvSpPr/>
            <p:nvPr/>
          </p:nvSpPr>
          <p:spPr>
            <a:xfrm>
              <a:off x="3393377" y="3964783"/>
              <a:ext cx="2250186" cy="964406"/>
            </a:xfrm>
            <a:custGeom>
              <a:avLst/>
              <a:gdLst/>
              <a:ahLst/>
              <a:cxnLst/>
              <a:rect l="0" t="0" r="0" b="0"/>
              <a:pathLst>
                <a:path w="1500124" h="642937">
                  <a:moveTo>
                    <a:pt x="0" y="642937"/>
                  </a:moveTo>
                  <a:lnTo>
                    <a:pt x="1500124" y="642937"/>
                  </a:lnTo>
                  <a:lnTo>
                    <a:pt x="1500124" y="0"/>
                  </a:lnTo>
                  <a:lnTo>
                    <a:pt x="0" y="0"/>
                  </a:lnTo>
                  <a:lnTo>
                    <a:pt x="0" y="642937"/>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76" name="Freeform 676"/>
            <p:cNvSpPr/>
            <p:nvPr/>
          </p:nvSpPr>
          <p:spPr>
            <a:xfrm>
              <a:off x="3393377" y="3964783"/>
              <a:ext cx="2250186" cy="964406"/>
            </a:xfrm>
            <a:custGeom>
              <a:avLst/>
              <a:gdLst/>
              <a:ahLst/>
              <a:cxnLst/>
              <a:rect l="0" t="0" r="0" b="0"/>
              <a:pathLst>
                <a:path w="1500124" h="642937">
                  <a:moveTo>
                    <a:pt x="0" y="642937"/>
                  </a:moveTo>
                  <a:lnTo>
                    <a:pt x="1500124" y="642937"/>
                  </a:lnTo>
                  <a:lnTo>
                    <a:pt x="1500124" y="0"/>
                  </a:lnTo>
                  <a:lnTo>
                    <a:pt x="0" y="0"/>
                  </a:lnTo>
                  <a:lnTo>
                    <a:pt x="0" y="642937"/>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77" name="Freeform 677"/>
            <p:cNvSpPr/>
            <p:nvPr/>
          </p:nvSpPr>
          <p:spPr>
            <a:xfrm>
              <a:off x="8277226" y="5357719"/>
              <a:ext cx="2062163" cy="964406"/>
            </a:xfrm>
            <a:custGeom>
              <a:avLst/>
              <a:gdLst/>
              <a:ahLst/>
              <a:cxnLst/>
              <a:rect l="0" t="0" r="0" b="0"/>
              <a:pathLst>
                <a:path w="1374775" h="642937">
                  <a:moveTo>
                    <a:pt x="0" y="642937"/>
                  </a:moveTo>
                  <a:lnTo>
                    <a:pt x="1374775" y="642937"/>
                  </a:lnTo>
                  <a:lnTo>
                    <a:pt x="1374775" y="0"/>
                  </a:lnTo>
                  <a:lnTo>
                    <a:pt x="0" y="0"/>
                  </a:lnTo>
                  <a:lnTo>
                    <a:pt x="0" y="642937"/>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78" name="Freeform 678"/>
            <p:cNvSpPr/>
            <p:nvPr/>
          </p:nvSpPr>
          <p:spPr>
            <a:xfrm>
              <a:off x="8277226" y="5357719"/>
              <a:ext cx="2062163" cy="964406"/>
            </a:xfrm>
            <a:custGeom>
              <a:avLst/>
              <a:gdLst/>
              <a:ahLst/>
              <a:cxnLst/>
              <a:rect l="0" t="0" r="0" b="0"/>
              <a:pathLst>
                <a:path w="1374775" h="642937">
                  <a:moveTo>
                    <a:pt x="0" y="642937"/>
                  </a:moveTo>
                  <a:lnTo>
                    <a:pt x="1374775" y="642937"/>
                  </a:lnTo>
                  <a:lnTo>
                    <a:pt x="1374775" y="0"/>
                  </a:lnTo>
                  <a:lnTo>
                    <a:pt x="0" y="0"/>
                  </a:lnTo>
                  <a:lnTo>
                    <a:pt x="0" y="642937"/>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79" name="Freeform 679"/>
            <p:cNvSpPr/>
            <p:nvPr/>
          </p:nvSpPr>
          <p:spPr>
            <a:xfrm>
              <a:off x="5143501" y="5786344"/>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80" name="Freeform 680"/>
            <p:cNvSpPr/>
            <p:nvPr/>
          </p:nvSpPr>
          <p:spPr>
            <a:xfrm>
              <a:off x="5143501" y="5786344"/>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81" name="Freeform 681"/>
            <p:cNvSpPr/>
            <p:nvPr/>
          </p:nvSpPr>
          <p:spPr>
            <a:xfrm>
              <a:off x="3714750" y="6965158"/>
              <a:ext cx="2143125" cy="964406"/>
            </a:xfrm>
            <a:custGeom>
              <a:avLst/>
              <a:gdLst/>
              <a:ahLst/>
              <a:cxnLst/>
              <a:rect l="0" t="0" r="0" b="0"/>
              <a:pathLst>
                <a:path w="1428750" h="642937">
                  <a:moveTo>
                    <a:pt x="0" y="642937"/>
                  </a:moveTo>
                  <a:lnTo>
                    <a:pt x="1428750" y="642937"/>
                  </a:lnTo>
                  <a:lnTo>
                    <a:pt x="1428750" y="0"/>
                  </a:lnTo>
                  <a:lnTo>
                    <a:pt x="0" y="0"/>
                  </a:lnTo>
                  <a:lnTo>
                    <a:pt x="0" y="642937"/>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82" name="Freeform 682"/>
            <p:cNvSpPr/>
            <p:nvPr/>
          </p:nvSpPr>
          <p:spPr>
            <a:xfrm>
              <a:off x="3714750" y="6965158"/>
              <a:ext cx="2143125" cy="964406"/>
            </a:xfrm>
            <a:custGeom>
              <a:avLst/>
              <a:gdLst/>
              <a:ahLst/>
              <a:cxnLst/>
              <a:rect l="0" t="0" r="0" b="0"/>
              <a:pathLst>
                <a:path w="1428750" h="642937">
                  <a:moveTo>
                    <a:pt x="0" y="642937"/>
                  </a:moveTo>
                  <a:lnTo>
                    <a:pt x="1428750" y="642937"/>
                  </a:lnTo>
                  <a:lnTo>
                    <a:pt x="1428750" y="0"/>
                  </a:lnTo>
                  <a:lnTo>
                    <a:pt x="0" y="0"/>
                  </a:lnTo>
                  <a:lnTo>
                    <a:pt x="0" y="642937"/>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83" name="Freeform 683"/>
            <p:cNvSpPr/>
            <p:nvPr/>
          </p:nvSpPr>
          <p:spPr>
            <a:xfrm>
              <a:off x="7398640" y="8281988"/>
              <a:ext cx="2700338" cy="969170"/>
            </a:xfrm>
            <a:custGeom>
              <a:avLst/>
              <a:gdLst/>
              <a:ahLst/>
              <a:cxnLst/>
              <a:rect l="0" t="0" r="0" b="0"/>
              <a:pathLst>
                <a:path w="1800225" h="646113">
                  <a:moveTo>
                    <a:pt x="0" y="646113"/>
                  </a:moveTo>
                  <a:lnTo>
                    <a:pt x="1800225" y="646113"/>
                  </a:lnTo>
                  <a:lnTo>
                    <a:pt x="1800225" y="0"/>
                  </a:lnTo>
                  <a:lnTo>
                    <a:pt x="0" y="0"/>
                  </a:lnTo>
                  <a:lnTo>
                    <a:pt x="0" y="646113"/>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84" name="Freeform 684"/>
            <p:cNvSpPr/>
            <p:nvPr/>
          </p:nvSpPr>
          <p:spPr>
            <a:xfrm>
              <a:off x="7398640" y="8281988"/>
              <a:ext cx="2700338" cy="969170"/>
            </a:xfrm>
            <a:custGeom>
              <a:avLst/>
              <a:gdLst/>
              <a:ahLst/>
              <a:cxnLst/>
              <a:rect l="0" t="0" r="0" b="0"/>
              <a:pathLst>
                <a:path w="1800225" h="646113">
                  <a:moveTo>
                    <a:pt x="0" y="646113"/>
                  </a:moveTo>
                  <a:lnTo>
                    <a:pt x="1800225" y="646113"/>
                  </a:lnTo>
                  <a:lnTo>
                    <a:pt x="1800225" y="0"/>
                  </a:lnTo>
                  <a:lnTo>
                    <a:pt x="0" y="0"/>
                  </a:lnTo>
                  <a:lnTo>
                    <a:pt x="0" y="646113"/>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85" name="Freeform 685"/>
            <p:cNvSpPr/>
            <p:nvPr/>
          </p:nvSpPr>
          <p:spPr>
            <a:xfrm>
              <a:off x="4283964" y="8391525"/>
              <a:ext cx="2143125" cy="964407"/>
            </a:xfrm>
            <a:custGeom>
              <a:avLst/>
              <a:gdLst/>
              <a:ahLst/>
              <a:cxnLst/>
              <a:rect l="0" t="0" r="0" b="0"/>
              <a:pathLst>
                <a:path w="1428750" h="642938">
                  <a:moveTo>
                    <a:pt x="0" y="642938"/>
                  </a:moveTo>
                  <a:lnTo>
                    <a:pt x="1428750" y="642938"/>
                  </a:lnTo>
                  <a:lnTo>
                    <a:pt x="1428750" y="0"/>
                  </a:lnTo>
                  <a:lnTo>
                    <a:pt x="0" y="0"/>
                  </a:lnTo>
                  <a:lnTo>
                    <a:pt x="0" y="642938"/>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86" name="Freeform 686"/>
            <p:cNvSpPr/>
            <p:nvPr/>
          </p:nvSpPr>
          <p:spPr>
            <a:xfrm>
              <a:off x="4283964" y="8391525"/>
              <a:ext cx="2143125" cy="964407"/>
            </a:xfrm>
            <a:custGeom>
              <a:avLst/>
              <a:gdLst/>
              <a:ahLst/>
              <a:cxnLst/>
              <a:rect l="0" t="0" r="0" b="0"/>
              <a:pathLst>
                <a:path w="1428750" h="642938">
                  <a:moveTo>
                    <a:pt x="0" y="642938"/>
                  </a:moveTo>
                  <a:lnTo>
                    <a:pt x="1428750" y="642938"/>
                  </a:lnTo>
                  <a:lnTo>
                    <a:pt x="1428750" y="0"/>
                  </a:lnTo>
                  <a:lnTo>
                    <a:pt x="0" y="0"/>
                  </a:lnTo>
                  <a:lnTo>
                    <a:pt x="0" y="642938"/>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87" name="Freeform 687"/>
            <p:cNvSpPr/>
            <p:nvPr/>
          </p:nvSpPr>
          <p:spPr>
            <a:xfrm>
              <a:off x="7608190" y="3107533"/>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88" name="Freeform 688"/>
            <p:cNvSpPr/>
            <p:nvPr/>
          </p:nvSpPr>
          <p:spPr>
            <a:xfrm>
              <a:off x="7608190" y="3107533"/>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689" name="Freeform 689"/>
            <p:cNvSpPr/>
            <p:nvPr/>
          </p:nvSpPr>
          <p:spPr>
            <a:xfrm>
              <a:off x="8262938" y="1371696"/>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solidFill>
              <a:srgbClr val="FFFFFF">
                <a:alpha val="100000"/>
              </a:srgbClr>
            </a:solidFill>
            <a:ln w="25400">
              <a:noFill/>
            </a:ln>
          </p:spPr>
          <p:style>
            <a:lnRef idx="2">
              <a:schemeClr val="accent1">
                <a:shade val="50000"/>
              </a:schemeClr>
            </a:lnRef>
            <a:fillRef idx="1">
              <a:schemeClr val="accent1"/>
            </a:fillRef>
            <a:effectRef idx="0">
              <a:schemeClr val="accent1"/>
            </a:effectRef>
            <a:fontRef idx="minor">
              <a:schemeClr val="lt1"/>
            </a:fontRef>
          </p:style>
        </p:sp>
        <p:sp>
          <p:nvSpPr>
            <p:cNvPr id="690" name="Freeform 690"/>
            <p:cNvSpPr/>
            <p:nvPr/>
          </p:nvSpPr>
          <p:spPr>
            <a:xfrm>
              <a:off x="8262938" y="1371696"/>
              <a:ext cx="1821656" cy="964407"/>
            </a:xfrm>
            <a:custGeom>
              <a:avLst/>
              <a:gdLst/>
              <a:ahLst/>
              <a:cxnLst/>
              <a:rect l="0" t="0" r="0" b="0"/>
              <a:pathLst>
                <a:path w="1214437" h="642938">
                  <a:moveTo>
                    <a:pt x="0" y="642938"/>
                  </a:moveTo>
                  <a:lnTo>
                    <a:pt x="1214437" y="642938"/>
                  </a:lnTo>
                  <a:lnTo>
                    <a:pt x="1214437" y="0"/>
                  </a:lnTo>
                  <a:lnTo>
                    <a:pt x="0" y="0"/>
                  </a:lnTo>
                  <a:lnTo>
                    <a:pt x="0" y="642938"/>
                  </a:lnTo>
                  <a:close/>
                </a:path>
              </a:pathLst>
            </a:custGeom>
            <a:noFill/>
            <a:ln w="25400" cap="flat" cmpd="sng">
              <a:solidFill>
                <a:srgbClr val="8064A2">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91" name="Picture 691"/>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1161775" y="1976630"/>
              <a:ext cx="2001774" cy="1144523"/>
            </a:xfrm>
            <a:prstGeom prst="rect">
              <a:avLst/>
            </a:prstGeom>
            <a:noFill/>
          </p:spPr>
        </p:pic>
        <p:pic>
          <p:nvPicPr>
            <p:cNvPr id="692" name="Picture 692"/>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1170920" y="1949198"/>
              <a:ext cx="2058924" cy="1297685"/>
            </a:xfrm>
            <a:prstGeom prst="rect">
              <a:avLst/>
            </a:prstGeom>
            <a:noFill/>
          </p:spPr>
        </p:pic>
        <p:pic>
          <p:nvPicPr>
            <p:cNvPr id="693" name="Picture 693"/>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11232452" y="2016920"/>
              <a:ext cx="1859756" cy="1002506"/>
            </a:xfrm>
            <a:prstGeom prst="rect">
              <a:avLst/>
            </a:prstGeom>
            <a:noFill/>
          </p:spPr>
        </p:pic>
        <p:sp>
          <p:nvSpPr>
            <p:cNvPr id="694" name="Freeform 694"/>
            <p:cNvSpPr/>
            <p:nvPr/>
          </p:nvSpPr>
          <p:spPr>
            <a:xfrm>
              <a:off x="11251502" y="2035970"/>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95" name="Picture 695"/>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1161775" y="3476244"/>
              <a:ext cx="2001774" cy="1144524"/>
            </a:xfrm>
            <a:prstGeom prst="rect">
              <a:avLst/>
            </a:prstGeom>
            <a:noFill/>
          </p:spPr>
        </p:pic>
        <p:pic>
          <p:nvPicPr>
            <p:cNvPr id="696" name="Picture 696"/>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1122914" y="3448814"/>
              <a:ext cx="2152650" cy="1297685"/>
            </a:xfrm>
            <a:prstGeom prst="rect">
              <a:avLst/>
            </a:prstGeom>
            <a:noFill/>
          </p:spPr>
        </p:pic>
        <p:pic>
          <p:nvPicPr>
            <p:cNvPr id="697" name="Picture 697"/>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1232452" y="3517108"/>
              <a:ext cx="1859756" cy="1002506"/>
            </a:xfrm>
            <a:prstGeom prst="rect">
              <a:avLst/>
            </a:prstGeom>
            <a:noFill/>
          </p:spPr>
        </p:pic>
        <p:sp>
          <p:nvSpPr>
            <p:cNvPr id="698" name="Freeform 698"/>
            <p:cNvSpPr/>
            <p:nvPr/>
          </p:nvSpPr>
          <p:spPr>
            <a:xfrm>
              <a:off x="11251502" y="3536158"/>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699" name="Picture 699"/>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1161775" y="4868418"/>
              <a:ext cx="2001774" cy="1144524"/>
            </a:xfrm>
            <a:prstGeom prst="rect">
              <a:avLst/>
            </a:prstGeom>
            <a:noFill/>
          </p:spPr>
        </p:pic>
        <p:pic>
          <p:nvPicPr>
            <p:cNvPr id="700" name="Picture 700"/>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11189207" y="4930140"/>
              <a:ext cx="2006346" cy="1073658"/>
            </a:xfrm>
            <a:prstGeom prst="rect">
              <a:avLst/>
            </a:prstGeom>
            <a:noFill/>
          </p:spPr>
        </p:pic>
        <p:pic>
          <p:nvPicPr>
            <p:cNvPr id="701" name="Picture 701"/>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11232452" y="4910044"/>
              <a:ext cx="1859756" cy="1002506"/>
            </a:xfrm>
            <a:prstGeom prst="rect">
              <a:avLst/>
            </a:prstGeom>
            <a:noFill/>
          </p:spPr>
        </p:pic>
        <p:sp>
          <p:nvSpPr>
            <p:cNvPr id="702" name="Freeform 702"/>
            <p:cNvSpPr/>
            <p:nvPr/>
          </p:nvSpPr>
          <p:spPr>
            <a:xfrm>
              <a:off x="11251502" y="4929094"/>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703" name="Picture 703"/>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1161775" y="6368035"/>
              <a:ext cx="2001774" cy="1146809"/>
            </a:xfrm>
            <a:prstGeom prst="rect">
              <a:avLst/>
            </a:prstGeom>
            <a:noFill/>
          </p:spPr>
        </p:pic>
        <p:pic>
          <p:nvPicPr>
            <p:cNvPr id="704" name="Picture 704"/>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1257789" y="6301740"/>
              <a:ext cx="1871471" cy="1313688"/>
            </a:xfrm>
            <a:prstGeom prst="rect">
              <a:avLst/>
            </a:prstGeom>
            <a:noFill/>
          </p:spPr>
        </p:pic>
        <p:pic>
          <p:nvPicPr>
            <p:cNvPr id="705" name="Picture 705"/>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1232452" y="6410231"/>
              <a:ext cx="1859756" cy="1002506"/>
            </a:xfrm>
            <a:prstGeom prst="rect">
              <a:avLst/>
            </a:prstGeom>
            <a:noFill/>
          </p:spPr>
        </p:pic>
        <p:sp>
          <p:nvSpPr>
            <p:cNvPr id="706" name="Freeform 706"/>
            <p:cNvSpPr/>
            <p:nvPr/>
          </p:nvSpPr>
          <p:spPr>
            <a:xfrm>
              <a:off x="11251502" y="6429281"/>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707" name="Picture 707"/>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1161775" y="7565900"/>
              <a:ext cx="2001774" cy="1146809"/>
            </a:xfrm>
            <a:prstGeom prst="rect">
              <a:avLst/>
            </a:prstGeom>
            <a:noFill/>
          </p:spPr>
        </p:pic>
        <p:pic>
          <p:nvPicPr>
            <p:cNvPr id="708" name="Picture 708"/>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1244071" y="7499604"/>
              <a:ext cx="1894332" cy="1313688"/>
            </a:xfrm>
            <a:prstGeom prst="rect">
              <a:avLst/>
            </a:prstGeom>
            <a:noFill/>
          </p:spPr>
        </p:pic>
        <p:pic>
          <p:nvPicPr>
            <p:cNvPr id="709" name="Picture 709"/>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1232452" y="7608095"/>
              <a:ext cx="1859756" cy="1002506"/>
            </a:xfrm>
            <a:prstGeom prst="rect">
              <a:avLst/>
            </a:prstGeom>
            <a:noFill/>
          </p:spPr>
        </p:pic>
        <p:sp>
          <p:nvSpPr>
            <p:cNvPr id="710" name="Freeform 710"/>
            <p:cNvSpPr/>
            <p:nvPr/>
          </p:nvSpPr>
          <p:spPr>
            <a:xfrm>
              <a:off x="11251502" y="7627145"/>
              <a:ext cx="1821656" cy="964406"/>
            </a:xfrm>
            <a:custGeom>
              <a:avLst/>
              <a:gdLst/>
              <a:ahLst/>
              <a:cxnLst/>
              <a:rect l="0" t="0" r="0" b="0"/>
              <a:pathLst>
                <a:path w="1214437" h="642937">
                  <a:moveTo>
                    <a:pt x="0" y="642937"/>
                  </a:moveTo>
                  <a:lnTo>
                    <a:pt x="1214437" y="642937"/>
                  </a:lnTo>
                  <a:lnTo>
                    <a:pt x="1214437" y="0"/>
                  </a:lnTo>
                  <a:lnTo>
                    <a:pt x="0" y="0"/>
                  </a:lnTo>
                  <a:lnTo>
                    <a:pt x="0" y="642937"/>
                  </a:lnTo>
                  <a:close/>
                </a:path>
              </a:pathLst>
            </a:custGeom>
            <a:noFill/>
            <a:ln w="9525" cap="flat" cmpd="sng">
              <a:solidFill>
                <a:srgbClr val="4A7EB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711" name="Picture 711"/>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363028" y="3610739"/>
              <a:ext cx="3442334" cy="3373563"/>
            </a:xfrm>
            <a:prstGeom prst="rect">
              <a:avLst/>
            </a:prstGeom>
            <a:noFill/>
          </p:spPr>
        </p:pic>
        <p:pic>
          <p:nvPicPr>
            <p:cNvPr id="712" name="Picture 712"/>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2281808" y="3125344"/>
              <a:ext cx="2256854" cy="888428"/>
            </a:xfrm>
            <a:prstGeom prst="rect">
              <a:avLst/>
            </a:prstGeom>
            <a:noFill/>
          </p:spPr>
        </p:pic>
        <p:pic>
          <p:nvPicPr>
            <p:cNvPr id="713" name="Picture 713"/>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2287333" y="3124201"/>
              <a:ext cx="1875092" cy="241133"/>
            </a:xfrm>
            <a:prstGeom prst="rect">
              <a:avLst/>
            </a:prstGeom>
            <a:noFill/>
          </p:spPr>
        </p:pic>
        <p:pic>
          <p:nvPicPr>
            <p:cNvPr id="714" name="Picture 714"/>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371409" y="2134991"/>
              <a:ext cx="1826705" cy="581349"/>
            </a:xfrm>
            <a:prstGeom prst="rect">
              <a:avLst/>
            </a:prstGeom>
            <a:noFill/>
          </p:spPr>
        </p:pic>
        <p:pic>
          <p:nvPicPr>
            <p:cNvPr id="715" name="Picture 715"/>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364171" y="2659762"/>
              <a:ext cx="2745866" cy="2300669"/>
            </a:xfrm>
            <a:prstGeom prst="rect">
              <a:avLst/>
            </a:prstGeom>
            <a:noFill/>
          </p:spPr>
        </p:pic>
        <p:pic>
          <p:nvPicPr>
            <p:cNvPr id="716" name="Picture 716"/>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2275712" y="4429126"/>
              <a:ext cx="1136714" cy="1014413"/>
            </a:xfrm>
            <a:prstGeom prst="rect">
              <a:avLst/>
            </a:prstGeom>
            <a:noFill/>
          </p:spPr>
        </p:pic>
        <p:pic>
          <p:nvPicPr>
            <p:cNvPr id="717" name="Picture 717"/>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2282762" y="5372864"/>
              <a:ext cx="2879787" cy="954753"/>
            </a:xfrm>
            <a:prstGeom prst="rect">
              <a:avLst/>
            </a:prstGeom>
            <a:noFill/>
          </p:spPr>
        </p:pic>
        <p:pic>
          <p:nvPicPr>
            <p:cNvPr id="718" name="Picture 718"/>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2282570" y="7392656"/>
              <a:ext cx="1451229" cy="538431"/>
            </a:xfrm>
            <a:prstGeom prst="rect">
              <a:avLst/>
            </a:prstGeom>
            <a:noFill/>
          </p:spPr>
        </p:pic>
        <p:pic>
          <p:nvPicPr>
            <p:cNvPr id="719" name="Picture 719"/>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2279904" y="7857746"/>
              <a:ext cx="2023110" cy="1047411"/>
            </a:xfrm>
            <a:prstGeom prst="rect">
              <a:avLst/>
            </a:prstGeom>
            <a:noFill/>
          </p:spPr>
        </p:pic>
        <p:pic>
          <p:nvPicPr>
            <p:cNvPr id="720" name="Picture 720"/>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6405943" y="8680052"/>
              <a:ext cx="1011746" cy="232853"/>
            </a:xfrm>
            <a:prstGeom prst="rect">
              <a:avLst/>
            </a:prstGeom>
            <a:noFill/>
          </p:spPr>
        </p:pic>
        <p:pic>
          <p:nvPicPr>
            <p:cNvPr id="721" name="Picture 721"/>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0070402" y="8089775"/>
              <a:ext cx="1200150" cy="713594"/>
            </a:xfrm>
            <a:prstGeom prst="rect">
              <a:avLst/>
            </a:prstGeom>
            <a:noFill/>
          </p:spPr>
        </p:pic>
        <p:pic>
          <p:nvPicPr>
            <p:cNvPr id="722" name="Picture 722"/>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5836540" y="7410641"/>
              <a:ext cx="5434013" cy="785658"/>
            </a:xfrm>
            <a:prstGeom prst="rect">
              <a:avLst/>
            </a:prstGeom>
            <a:noFill/>
          </p:spPr>
        </p:pic>
        <p:pic>
          <p:nvPicPr>
            <p:cNvPr id="723" name="Picture 723"/>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5836919" y="6823307"/>
              <a:ext cx="5433632" cy="663344"/>
            </a:xfrm>
            <a:prstGeom prst="rect">
              <a:avLst/>
            </a:prstGeom>
            <a:noFill/>
          </p:spPr>
        </p:pic>
        <p:pic>
          <p:nvPicPr>
            <p:cNvPr id="724" name="Picture 724"/>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6943344" y="6232017"/>
              <a:ext cx="4327206" cy="762273"/>
            </a:xfrm>
            <a:prstGeom prst="rect">
              <a:avLst/>
            </a:prstGeom>
            <a:noFill/>
          </p:spPr>
        </p:pic>
        <p:pic>
          <p:nvPicPr>
            <p:cNvPr id="725" name="Picture 725"/>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7687438" y="4954525"/>
              <a:ext cx="608837" cy="905828"/>
            </a:xfrm>
            <a:prstGeom prst="rect">
              <a:avLst/>
            </a:prstGeom>
            <a:noFill/>
          </p:spPr>
        </p:pic>
        <p:pic>
          <p:nvPicPr>
            <p:cNvPr id="726" name="Picture 726"/>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7698294" y="3957202"/>
              <a:ext cx="3572256" cy="1064189"/>
            </a:xfrm>
            <a:prstGeom prst="rect">
              <a:avLst/>
            </a:prstGeom>
            <a:noFill/>
          </p:spPr>
        </p:pic>
        <p:pic>
          <p:nvPicPr>
            <p:cNvPr id="727" name="Picture 727"/>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9397175" y="3558352"/>
              <a:ext cx="1873376" cy="1873376"/>
            </a:xfrm>
            <a:prstGeom prst="rect">
              <a:avLst/>
            </a:prstGeom>
            <a:noFill/>
          </p:spPr>
        </p:pic>
        <p:pic>
          <p:nvPicPr>
            <p:cNvPr id="728" name="Picture 728"/>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9406317" y="3284220"/>
              <a:ext cx="1864233" cy="534411"/>
            </a:xfrm>
            <a:prstGeom prst="rect">
              <a:avLst/>
            </a:prstGeom>
            <a:noFill/>
          </p:spPr>
        </p:pic>
        <p:pic>
          <p:nvPicPr>
            <p:cNvPr id="729" name="Picture 729"/>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4979861" y="2159891"/>
              <a:ext cx="6290691" cy="716420"/>
            </a:xfrm>
            <a:prstGeom prst="rect">
              <a:avLst/>
            </a:prstGeom>
            <a:noFill/>
          </p:spPr>
        </p:pic>
        <p:pic>
          <p:nvPicPr>
            <p:cNvPr id="730" name="Picture 730"/>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4979480" y="1764233"/>
              <a:ext cx="3302507" cy="471666"/>
            </a:xfrm>
            <a:prstGeom prst="rect">
              <a:avLst/>
            </a:prstGeom>
            <a:noFill/>
          </p:spPr>
        </p:pic>
        <p:pic>
          <p:nvPicPr>
            <p:cNvPr id="731" name="Picture 731"/>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0056115" y="1816991"/>
              <a:ext cx="1214438" cy="722946"/>
            </a:xfrm>
            <a:prstGeom prst="rect">
              <a:avLst/>
            </a:prstGeom>
            <a:noFill/>
          </p:spPr>
        </p:pic>
        <p:pic>
          <p:nvPicPr>
            <p:cNvPr id="732" name="Picture 732"/>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5607368" y="4420936"/>
              <a:ext cx="325806" cy="582167"/>
            </a:xfrm>
            <a:prstGeom prst="rect">
              <a:avLst/>
            </a:prstGeom>
            <a:noFill/>
          </p:spPr>
        </p:pic>
        <p:pic>
          <p:nvPicPr>
            <p:cNvPr id="733" name="Picture 733"/>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a:xfrm>
              <a:off x="10312337" y="5804918"/>
              <a:ext cx="1305876" cy="658638"/>
            </a:xfrm>
            <a:prstGeom prst="rect">
              <a:avLst/>
            </a:prstGeom>
            <a:noFill/>
          </p:spPr>
        </p:pic>
        <p:pic>
          <p:nvPicPr>
            <p:cNvPr id="734" name="Picture 734"/>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a:xfrm>
              <a:off x="5942266" y="3231644"/>
              <a:ext cx="1684973" cy="433665"/>
            </a:xfrm>
            <a:prstGeom prst="rect">
              <a:avLst/>
            </a:prstGeom>
            <a:noFill/>
          </p:spPr>
        </p:pic>
        <p:sp>
          <p:nvSpPr>
            <p:cNvPr id="738" name="Rectangle 738"/>
            <p:cNvSpPr/>
            <p:nvPr/>
          </p:nvSpPr>
          <p:spPr>
            <a:xfrm>
              <a:off x="685343" y="2810813"/>
              <a:ext cx="1476751" cy="670440"/>
            </a:xfrm>
            <a:prstGeom prst="rect">
              <a:avLst/>
            </a:prstGeom>
          </p:spPr>
          <p:txBody>
            <a:bodyPr wrap="none" lIns="0" tIns="0" rIns="0" bIns="0">
              <a:spAutoFit/>
            </a:bodyPr>
            <a:lstStyle/>
            <a:p>
              <a:pPr marL="91439"/>
              <a:r>
                <a:rPr lang="en-US" sz="1659" dirty="0">
                  <a:latin typeface="Calibri"/>
                </a:rPr>
                <a:t>Informação</a:t>
              </a:r>
              <a:r>
                <a:rPr lang="en-US" sz="1659" spc="-53" dirty="0">
                  <a:latin typeface="Calibri"/>
                </a:rPr>
                <a:t> </a:t>
              </a:r>
              <a:r>
                <a:rPr lang="en-US" sz="1659" dirty="0">
                  <a:latin typeface="Calibri"/>
                </a:rPr>
                <a:t>de </a:t>
              </a:r>
            </a:p>
            <a:p>
              <a:pPr>
                <a:lnSpc>
                  <a:spcPts val="1583"/>
                </a:lnSpc>
              </a:pPr>
              <a:r>
                <a:rPr lang="en-US" sz="1655" dirty="0">
                  <a:latin typeface="Calibri"/>
                </a:rPr>
                <a:t>clientes</a:t>
              </a:r>
              <a:r>
                <a:rPr lang="en-US" sz="1655" spc="-51" dirty="0">
                  <a:latin typeface="Calibri"/>
                </a:rPr>
                <a:t> </a:t>
              </a:r>
              <a:r>
                <a:rPr lang="en-US" sz="1655" dirty="0">
                  <a:latin typeface="Calibri"/>
                </a:rPr>
                <a:t>baseado </a:t>
              </a:r>
            </a:p>
            <a:p>
              <a:pPr marL="347471">
                <a:lnSpc>
                  <a:spcPts val="1583"/>
                </a:lnSpc>
              </a:pPr>
              <a:r>
                <a:rPr lang="en-US" sz="1655" dirty="0">
                  <a:latin typeface="Calibri"/>
                </a:rPr>
                <a:t>em WEB </a:t>
              </a:r>
            </a:p>
          </p:txBody>
        </p:sp>
        <p:sp>
          <p:nvSpPr>
            <p:cNvPr id="739" name="Rectangle 739"/>
            <p:cNvSpPr/>
            <p:nvPr/>
          </p:nvSpPr>
          <p:spPr>
            <a:xfrm>
              <a:off x="671627" y="5029621"/>
              <a:ext cx="1510157" cy="759695"/>
            </a:xfrm>
            <a:prstGeom prst="rect">
              <a:avLst/>
            </a:prstGeom>
          </p:spPr>
          <p:txBody>
            <a:bodyPr wrap="none" lIns="0" tIns="0" rIns="0" bIns="0">
              <a:spAutoFit/>
            </a:bodyPr>
            <a:lstStyle/>
            <a:p>
              <a:pPr marL="105156"/>
              <a:r>
                <a:rPr lang="en-US" sz="1655" dirty="0">
                  <a:latin typeface="Calibri"/>
                </a:rPr>
                <a:t>Informação</a:t>
              </a:r>
              <a:r>
                <a:rPr lang="en-US" sz="1655" spc="-51" dirty="0">
                  <a:latin typeface="Calibri"/>
                </a:rPr>
                <a:t> </a:t>
              </a:r>
              <a:r>
                <a:rPr lang="en-US" sz="1655" dirty="0">
                  <a:latin typeface="Calibri"/>
                </a:rPr>
                <a:t>de </a:t>
              </a:r>
            </a:p>
            <a:p>
              <a:pPr>
                <a:lnSpc>
                  <a:spcPts val="1979"/>
                </a:lnSpc>
              </a:pPr>
              <a:r>
                <a:rPr lang="en-US" sz="1655" dirty="0">
                  <a:latin typeface="Calibri"/>
                </a:rPr>
                <a:t>serviços</a:t>
              </a:r>
              <a:r>
                <a:rPr lang="en-US" sz="1655" spc="-51" dirty="0">
                  <a:latin typeface="Calibri"/>
                </a:rPr>
                <a:t> </a:t>
              </a:r>
              <a:r>
                <a:rPr lang="en-US" sz="1655" dirty="0">
                  <a:latin typeface="Calibri"/>
                </a:rPr>
                <a:t>baseado </a:t>
              </a:r>
            </a:p>
            <a:p>
              <a:pPr marL="361187">
                <a:lnSpc>
                  <a:spcPts val="1985"/>
                </a:lnSpc>
              </a:pPr>
              <a:r>
                <a:rPr lang="en-US" sz="1659" dirty="0">
                  <a:latin typeface="Calibri"/>
                </a:rPr>
                <a:t>em WEB </a:t>
              </a:r>
            </a:p>
          </p:txBody>
        </p:sp>
        <p:sp>
          <p:nvSpPr>
            <p:cNvPr id="740" name="Rectangle 740"/>
            <p:cNvSpPr/>
            <p:nvPr/>
          </p:nvSpPr>
          <p:spPr>
            <a:xfrm>
              <a:off x="689915" y="7419594"/>
              <a:ext cx="1490601" cy="916148"/>
            </a:xfrm>
            <a:prstGeom prst="rect">
              <a:avLst/>
            </a:prstGeom>
          </p:spPr>
          <p:txBody>
            <a:bodyPr wrap="none" lIns="0" tIns="0" rIns="0" bIns="0">
              <a:spAutoFit/>
            </a:bodyPr>
            <a:lstStyle/>
            <a:p>
              <a:pPr marL="68580"/>
              <a:r>
                <a:rPr lang="en-US" sz="2250" spc="-143" dirty="0">
                  <a:latin typeface="Calibri"/>
                </a:rPr>
                <a:t>T</a:t>
              </a:r>
              <a:r>
                <a:rPr lang="en-US" sz="2250" spc="-48" dirty="0">
                  <a:latin typeface="Calibri"/>
                </a:rPr>
                <a:t>r</a:t>
              </a:r>
              <a:r>
                <a:rPr lang="en-US" sz="2250" dirty="0">
                  <a:latin typeface="Calibri"/>
                </a:rPr>
                <a:t>ansações</a:t>
              </a:r>
              <a:r>
                <a:rPr lang="en-US" sz="2250" spc="-41" dirty="0">
                  <a:latin typeface="Calibri"/>
                </a:rPr>
                <a:t>  </a:t>
              </a:r>
            </a:p>
            <a:p>
              <a:pPr>
                <a:lnSpc>
                  <a:spcPts val="2160"/>
                </a:lnSpc>
              </a:pPr>
              <a:r>
                <a:rPr lang="en-US" sz="2250" dirty="0">
                  <a:latin typeface="Calibri"/>
                </a:rPr>
                <a:t>baseado</a:t>
              </a:r>
              <a:r>
                <a:rPr lang="en-US" sz="2250" spc="-39" dirty="0">
                  <a:latin typeface="Calibri"/>
                </a:rPr>
                <a:t> </a:t>
              </a:r>
              <a:r>
                <a:rPr lang="en-US" sz="2250" dirty="0">
                  <a:latin typeface="Calibri"/>
                </a:rPr>
                <a:t>em </a:t>
              </a:r>
            </a:p>
            <a:p>
              <a:pPr marL="432510">
                <a:lnSpc>
                  <a:spcPts val="2160"/>
                </a:lnSpc>
              </a:pPr>
              <a:r>
                <a:rPr lang="en-US" sz="2250" dirty="0">
                  <a:latin typeface="Calibri"/>
                </a:rPr>
                <a:t>WEB </a:t>
              </a:r>
            </a:p>
          </p:txBody>
        </p:sp>
        <p:sp>
          <p:nvSpPr>
            <p:cNvPr id="741" name="Rectangle 741"/>
            <p:cNvSpPr/>
            <p:nvPr/>
          </p:nvSpPr>
          <p:spPr>
            <a:xfrm>
              <a:off x="3415666" y="1780034"/>
              <a:ext cx="1425711" cy="825867"/>
            </a:xfrm>
            <a:prstGeom prst="rect">
              <a:avLst/>
            </a:prstGeom>
          </p:spPr>
          <p:txBody>
            <a:bodyPr wrap="none" lIns="0" tIns="0" rIns="0" bIns="0">
              <a:spAutoFit/>
            </a:bodyPr>
            <a:lstStyle/>
            <a:p>
              <a:r>
                <a:rPr lang="en-US" sz="2700" spc="-66" dirty="0">
                  <a:latin typeface="Calibri"/>
                </a:rPr>
                <a:t>P</a:t>
              </a:r>
              <a:r>
                <a:rPr lang="en-US" sz="2700" dirty="0">
                  <a:latin typeface="Calibri"/>
                </a:rPr>
                <a:t>esquisas </a:t>
              </a:r>
            </a:p>
            <a:p>
              <a:pPr marL="59435">
                <a:lnSpc>
                  <a:spcPts val="3240"/>
                </a:lnSpc>
              </a:pPr>
              <a:r>
                <a:rPr lang="en-US" sz="2700" dirty="0">
                  <a:latin typeface="Calibri"/>
                </a:rPr>
                <a:t>meno</a:t>
              </a:r>
              <a:r>
                <a:rPr lang="en-US" sz="2700" spc="-44" dirty="0">
                  <a:latin typeface="Calibri"/>
                </a:rPr>
                <a:t>r</a:t>
              </a:r>
              <a:r>
                <a:rPr lang="en-US" sz="2700" dirty="0">
                  <a:latin typeface="Calibri"/>
                </a:rPr>
                <a:t>es </a:t>
              </a:r>
            </a:p>
          </p:txBody>
        </p:sp>
        <p:sp>
          <p:nvSpPr>
            <p:cNvPr id="742" name="Rectangle 742"/>
            <p:cNvSpPr/>
            <p:nvPr/>
          </p:nvSpPr>
          <p:spPr>
            <a:xfrm>
              <a:off x="4302633" y="2791778"/>
              <a:ext cx="1585370" cy="916148"/>
            </a:xfrm>
            <a:prstGeom prst="rect">
              <a:avLst/>
            </a:prstGeom>
          </p:spPr>
          <p:txBody>
            <a:bodyPr wrap="none" lIns="0" tIns="0" rIns="0" bIns="0">
              <a:spAutoFit/>
            </a:bodyPr>
            <a:lstStyle/>
            <a:p>
              <a:pPr marL="352043"/>
              <a:r>
                <a:rPr lang="en-US" sz="2250" dirty="0">
                  <a:latin typeface="Calibri"/>
                </a:rPr>
                <a:t>Menos </a:t>
              </a:r>
            </a:p>
            <a:p>
              <a:pPr>
                <a:lnSpc>
                  <a:spcPts val="2160"/>
                </a:lnSpc>
              </a:pPr>
              <a:r>
                <a:rPr lang="en-US" sz="2250" dirty="0">
                  <a:latin typeface="Calibri"/>
                </a:rPr>
                <a:t>dependência </a:t>
              </a:r>
            </a:p>
            <a:p>
              <a:pPr marL="61722">
                <a:lnSpc>
                  <a:spcPts val="2159"/>
                </a:lnSpc>
              </a:pPr>
              <a:r>
                <a:rPr lang="en-US" sz="2250" dirty="0">
                  <a:latin typeface="Calibri"/>
                </a:rPr>
                <a:t>nas</a:t>
              </a:r>
              <a:r>
                <a:rPr lang="en-US" sz="2250" spc="-18" dirty="0">
                  <a:latin typeface="Calibri"/>
                </a:rPr>
                <a:t> </a:t>
              </a:r>
              <a:r>
                <a:rPr lang="en-US" sz="2250" dirty="0">
                  <a:latin typeface="Calibri"/>
                </a:rPr>
                <a:t>pessoas </a:t>
              </a:r>
            </a:p>
          </p:txBody>
        </p:sp>
        <p:sp>
          <p:nvSpPr>
            <p:cNvPr id="743" name="Rectangle 743"/>
            <p:cNvSpPr/>
            <p:nvPr/>
          </p:nvSpPr>
          <p:spPr>
            <a:xfrm>
              <a:off x="6332219" y="4566668"/>
              <a:ext cx="1048364" cy="825867"/>
            </a:xfrm>
            <a:prstGeom prst="rect">
              <a:avLst/>
            </a:prstGeom>
          </p:spPr>
          <p:txBody>
            <a:bodyPr wrap="none" lIns="0" tIns="0" rIns="0" bIns="0">
              <a:spAutoFit/>
            </a:bodyPr>
            <a:lstStyle/>
            <a:p>
              <a:pPr marL="61722"/>
              <a:r>
                <a:rPr lang="en-US" sz="2700" dirty="0">
                  <a:latin typeface="Calibri"/>
                </a:rPr>
                <a:t>Maior </a:t>
              </a:r>
            </a:p>
            <a:p>
              <a:pPr>
                <a:lnSpc>
                  <a:spcPts val="3240"/>
                </a:lnSpc>
              </a:pPr>
              <a:r>
                <a:rPr lang="en-US" sz="2700" dirty="0">
                  <a:latin typeface="Calibri"/>
                </a:rPr>
                <a:t>ciência </a:t>
              </a:r>
            </a:p>
          </p:txBody>
        </p:sp>
        <p:sp>
          <p:nvSpPr>
            <p:cNvPr id="744" name="Rectangle 744"/>
            <p:cNvSpPr/>
            <p:nvPr/>
          </p:nvSpPr>
          <p:spPr>
            <a:xfrm>
              <a:off x="3561589" y="4079330"/>
              <a:ext cx="2134623" cy="728405"/>
            </a:xfrm>
            <a:prstGeom prst="rect">
              <a:avLst/>
            </a:prstGeom>
          </p:spPr>
          <p:txBody>
            <a:bodyPr wrap="none" lIns="0" tIns="0" rIns="0" bIns="0">
              <a:spAutoFit/>
            </a:bodyPr>
            <a:lstStyle/>
            <a:p>
              <a:r>
                <a:rPr lang="en-US" sz="2394" dirty="0">
                  <a:latin typeface="Calibri"/>
                </a:rPr>
                <a:t>Disponibilidade</a:t>
              </a:r>
              <a:r>
                <a:rPr lang="en-US" sz="2394" spc="-42" dirty="0">
                  <a:latin typeface="Calibri"/>
                </a:rPr>
                <a:t> </a:t>
              </a:r>
              <a:r>
                <a:rPr lang="en-US" sz="2394" dirty="0">
                  <a:latin typeface="Calibri"/>
                </a:rPr>
                <a:t>  </a:t>
              </a:r>
            </a:p>
            <a:p>
              <a:pPr marL="592073">
                <a:lnSpc>
                  <a:spcPts val="2880"/>
                </a:lnSpc>
              </a:pPr>
              <a:r>
                <a:rPr lang="en-US" sz="2394" dirty="0">
                  <a:latin typeface="Calibri"/>
                </a:rPr>
                <a:t>24 x</a:t>
              </a:r>
              <a:r>
                <a:rPr lang="en-US" sz="2394" spc="-20" dirty="0">
                  <a:latin typeface="Calibri"/>
                </a:rPr>
                <a:t> </a:t>
              </a:r>
              <a:r>
                <a:rPr lang="en-US" sz="2394" dirty="0">
                  <a:latin typeface="Calibri"/>
                </a:rPr>
                <a:t>7 </a:t>
              </a:r>
            </a:p>
          </p:txBody>
        </p:sp>
        <p:sp>
          <p:nvSpPr>
            <p:cNvPr id="745" name="Rectangle 745"/>
            <p:cNvSpPr/>
            <p:nvPr/>
          </p:nvSpPr>
          <p:spPr>
            <a:xfrm>
              <a:off x="5655182" y="5448149"/>
              <a:ext cx="4604722" cy="778034"/>
            </a:xfrm>
            <a:prstGeom prst="rect">
              <a:avLst/>
            </a:prstGeom>
          </p:spPr>
          <p:txBody>
            <a:bodyPr wrap="none" lIns="0" tIns="0" rIns="0" bIns="0">
              <a:spAutoFit/>
            </a:bodyPr>
            <a:lstStyle/>
            <a:p>
              <a:pPr marL="3168396"/>
              <a:r>
                <a:rPr lang="en-US" sz="2556" dirty="0">
                  <a:latin typeface="Calibri"/>
                </a:rPr>
                <a:t>Melhor </a:t>
              </a:r>
            </a:p>
            <a:p>
              <a:pPr>
                <a:lnSpc>
                  <a:spcPts val="3060"/>
                </a:lnSpc>
                <a:tabLst>
                  <a:tab pos="2802636" algn="l"/>
                </a:tabLst>
              </a:pPr>
              <a:r>
                <a:rPr lang="en-US" sz="3408" baseline="14133" dirty="0">
                  <a:latin typeface="Calibri"/>
                </a:rPr>
                <a:t>Menos 	</a:t>
              </a:r>
              <a:r>
                <a:rPr lang="en-US" sz="2556" spc="-18" dirty="0">
                  <a:latin typeface="Calibri"/>
                </a:rPr>
                <a:t>a</a:t>
              </a:r>
              <a:r>
                <a:rPr lang="en-US" sz="2556" spc="-28" dirty="0">
                  <a:latin typeface="Calibri"/>
                </a:rPr>
                <a:t>t</a:t>
              </a:r>
              <a:r>
                <a:rPr lang="en-US" sz="2556" dirty="0">
                  <a:latin typeface="Calibri"/>
                </a:rPr>
                <a:t>endime</a:t>
              </a:r>
              <a:r>
                <a:rPr lang="en-US" sz="2556" spc="-27" dirty="0">
                  <a:latin typeface="Calibri"/>
                </a:rPr>
                <a:t>n</a:t>
              </a:r>
              <a:r>
                <a:rPr lang="en-US" sz="2556" spc="-28" dirty="0">
                  <a:latin typeface="Calibri"/>
                </a:rPr>
                <a:t>t</a:t>
              </a:r>
              <a:r>
                <a:rPr lang="en-US" sz="2556" dirty="0">
                  <a:latin typeface="Calibri"/>
                </a:rPr>
                <a:t>o </a:t>
              </a:r>
            </a:p>
          </p:txBody>
        </p:sp>
        <p:sp>
          <p:nvSpPr>
            <p:cNvPr id="746" name="Rectangle 746"/>
            <p:cNvSpPr/>
            <p:nvPr/>
          </p:nvSpPr>
          <p:spPr>
            <a:xfrm>
              <a:off x="5359718" y="6067236"/>
              <a:ext cx="1453347" cy="634020"/>
            </a:xfrm>
            <a:prstGeom prst="rect">
              <a:avLst/>
            </a:prstGeom>
          </p:spPr>
          <p:txBody>
            <a:bodyPr wrap="none" lIns="0" tIns="0" rIns="0" bIns="0">
              <a:spAutoFit/>
            </a:bodyPr>
            <a:lstStyle/>
            <a:p>
              <a:r>
                <a:rPr lang="en-US" sz="2250" dirty="0">
                  <a:latin typeface="Calibri"/>
                </a:rPr>
                <a:t>p</a:t>
              </a:r>
              <a:r>
                <a:rPr lang="en-US" sz="2250" spc="-30" dirty="0">
                  <a:latin typeface="Calibri"/>
                </a:rPr>
                <a:t>r</a:t>
              </a:r>
              <a:r>
                <a:rPr lang="en-US" sz="2250" dirty="0">
                  <a:latin typeface="Calibri"/>
                </a:rPr>
                <a:t>opa</a:t>
              </a:r>
              <a:r>
                <a:rPr lang="en-US" sz="2250" spc="-33" dirty="0">
                  <a:latin typeface="Calibri"/>
                </a:rPr>
                <a:t>g</a:t>
              </a:r>
              <a:r>
                <a:rPr lang="en-US" sz="2250" spc="-17" dirty="0">
                  <a:latin typeface="Calibri"/>
                </a:rPr>
                <a:t>a</a:t>
              </a:r>
              <a:r>
                <a:rPr lang="en-US" sz="2250" dirty="0">
                  <a:latin typeface="Calibri"/>
                </a:rPr>
                <a:t>nd</a:t>
              </a:r>
              <a:r>
                <a:rPr lang="en-US" sz="2250" spc="-17" dirty="0">
                  <a:latin typeface="Calibri"/>
                </a:rPr>
                <a:t>a </a:t>
              </a:r>
            </a:p>
            <a:p>
              <a:pPr marL="153734">
                <a:lnSpc>
                  <a:spcPts val="2159"/>
                </a:lnSpc>
              </a:pPr>
              <a:r>
                <a:rPr lang="en-US" sz="2250" dirty="0">
                  <a:latin typeface="Calibri"/>
                </a:rPr>
                <a:t>em papel </a:t>
              </a:r>
            </a:p>
          </p:txBody>
        </p:sp>
        <p:sp>
          <p:nvSpPr>
            <p:cNvPr id="747" name="Rectangle 747"/>
            <p:cNvSpPr/>
            <p:nvPr/>
          </p:nvSpPr>
          <p:spPr>
            <a:xfrm>
              <a:off x="3983546" y="7003010"/>
              <a:ext cx="1668662" cy="844077"/>
            </a:xfrm>
            <a:prstGeom prst="rect">
              <a:avLst/>
            </a:prstGeom>
          </p:spPr>
          <p:txBody>
            <a:bodyPr wrap="none" lIns="0" tIns="0" rIns="0" bIns="0">
              <a:spAutoFit/>
            </a:bodyPr>
            <a:lstStyle/>
            <a:p>
              <a:pPr marL="457770"/>
              <a:r>
                <a:rPr lang="en-US" sz="2105" dirty="0">
                  <a:latin typeface="Calibri"/>
                </a:rPr>
                <a:t>Col</a:t>
              </a:r>
              <a:r>
                <a:rPr lang="en-US" sz="2105" spc="-24" dirty="0">
                  <a:latin typeface="Calibri"/>
                </a:rPr>
                <a:t>e</a:t>
              </a:r>
              <a:r>
                <a:rPr lang="en-US" sz="2105" spc="-23" dirty="0">
                  <a:latin typeface="Calibri"/>
                </a:rPr>
                <a:t>t</a:t>
              </a:r>
              <a:r>
                <a:rPr lang="en-US" sz="2105" dirty="0">
                  <a:latin typeface="Calibri"/>
                </a:rPr>
                <a:t>a </a:t>
              </a:r>
            </a:p>
            <a:p>
              <a:pPr>
                <a:lnSpc>
                  <a:spcPts val="2016"/>
                </a:lnSpc>
              </a:pPr>
              <a:r>
                <a:rPr lang="en-US" sz="2105" dirty="0">
                  <a:latin typeface="Calibri"/>
                </a:rPr>
                <a:t>in</a:t>
              </a:r>
              <a:r>
                <a:rPr lang="en-US" sz="2105" spc="-20" dirty="0">
                  <a:latin typeface="Calibri"/>
                </a:rPr>
                <a:t>s</a:t>
              </a:r>
              <a:r>
                <a:rPr lang="en-US" sz="2105" spc="-23" dirty="0">
                  <a:latin typeface="Calibri"/>
                </a:rPr>
                <a:t>t</a:t>
              </a:r>
              <a:r>
                <a:rPr lang="en-US" sz="2105" dirty="0">
                  <a:latin typeface="Calibri"/>
                </a:rPr>
                <a:t>a</a:t>
              </a:r>
              <a:r>
                <a:rPr lang="en-US" sz="2105" spc="-28" dirty="0">
                  <a:latin typeface="Calibri"/>
                </a:rPr>
                <a:t>n</a:t>
              </a:r>
              <a:r>
                <a:rPr lang="en-US" sz="2105" spc="-23" dirty="0">
                  <a:latin typeface="Calibri"/>
                </a:rPr>
                <a:t>t</a:t>
              </a:r>
              <a:r>
                <a:rPr lang="en-US" sz="2105" dirty="0">
                  <a:latin typeface="Calibri"/>
                </a:rPr>
                <a:t>ânea de </a:t>
              </a:r>
            </a:p>
            <a:p>
              <a:pPr marL="185738">
                <a:lnSpc>
                  <a:spcPts val="2016"/>
                </a:lnSpc>
              </a:pPr>
              <a:r>
                <a:rPr lang="en-US" sz="2105" dirty="0">
                  <a:latin typeface="Calibri"/>
                </a:rPr>
                <a:t>I</a:t>
              </a:r>
              <a:r>
                <a:rPr lang="en-US" sz="2105" spc="-26" dirty="0">
                  <a:latin typeface="Calibri"/>
                </a:rPr>
                <a:t>n</a:t>
              </a:r>
              <a:r>
                <a:rPr lang="en-US" sz="2105" spc="-30" dirty="0">
                  <a:latin typeface="Calibri"/>
                </a:rPr>
                <a:t>f</a:t>
              </a:r>
              <a:r>
                <a:rPr lang="en-US" sz="2105" dirty="0">
                  <a:latin typeface="Calibri"/>
                </a:rPr>
                <a:t>orma</a:t>
              </a:r>
              <a:r>
                <a:rPr lang="en-US" sz="2105" spc="-35" dirty="0">
                  <a:latin typeface="Calibri"/>
                </a:rPr>
                <a:t>ç</a:t>
              </a:r>
              <a:r>
                <a:rPr lang="en-US" sz="2105" dirty="0">
                  <a:latin typeface="Calibri"/>
                </a:rPr>
                <a:t>ão </a:t>
              </a:r>
            </a:p>
          </p:txBody>
        </p:sp>
        <p:sp>
          <p:nvSpPr>
            <p:cNvPr id="748" name="Rectangle 748"/>
            <p:cNvSpPr/>
            <p:nvPr/>
          </p:nvSpPr>
          <p:spPr>
            <a:xfrm>
              <a:off x="7679627" y="8351446"/>
              <a:ext cx="2293769" cy="825867"/>
            </a:xfrm>
            <a:prstGeom prst="rect">
              <a:avLst/>
            </a:prstGeom>
          </p:spPr>
          <p:txBody>
            <a:bodyPr wrap="none" lIns="0" tIns="0" rIns="0" bIns="0">
              <a:spAutoFit/>
            </a:bodyPr>
            <a:lstStyle/>
            <a:p>
              <a:r>
                <a:rPr lang="en-US" sz="2700" dirty="0">
                  <a:latin typeface="Calibri"/>
                </a:rPr>
                <a:t>P</a:t>
              </a:r>
              <a:r>
                <a:rPr lang="en-US" sz="2700" spc="-44" dirty="0">
                  <a:latin typeface="Calibri"/>
                </a:rPr>
                <a:t>r</a:t>
              </a:r>
              <a:r>
                <a:rPr lang="en-US" sz="2700" dirty="0">
                  <a:latin typeface="Calibri"/>
                </a:rPr>
                <a:t>ocessamen</a:t>
              </a:r>
              <a:r>
                <a:rPr lang="en-US" sz="2700" spc="-28" dirty="0">
                  <a:latin typeface="Calibri"/>
                </a:rPr>
                <a:t>t</a:t>
              </a:r>
              <a:r>
                <a:rPr lang="en-US" sz="2700" dirty="0">
                  <a:latin typeface="Calibri"/>
                </a:rPr>
                <a:t>o</a:t>
              </a:r>
              <a:r>
                <a:rPr lang="en-US" sz="2700" spc="-17" dirty="0">
                  <a:latin typeface="Calibri"/>
                </a:rPr>
                <a:t>  </a:t>
              </a:r>
            </a:p>
            <a:p>
              <a:pPr marL="256032">
                <a:lnSpc>
                  <a:spcPts val="3239"/>
                </a:lnSpc>
              </a:pPr>
              <a:r>
                <a:rPr lang="en-US" sz="2700" dirty="0">
                  <a:latin typeface="Calibri"/>
                </a:rPr>
                <a:t>mais </a:t>
              </a:r>
              <a:r>
                <a:rPr lang="en-US" sz="2700" spc="-57" dirty="0">
                  <a:latin typeface="Calibri"/>
                </a:rPr>
                <a:t>r</a:t>
              </a:r>
              <a:r>
                <a:rPr lang="en-US" sz="2700" dirty="0">
                  <a:latin typeface="Calibri"/>
                </a:rPr>
                <a:t>ápido </a:t>
              </a:r>
            </a:p>
          </p:txBody>
        </p:sp>
        <p:sp>
          <p:nvSpPr>
            <p:cNvPr id="749" name="Rectangle 749"/>
            <p:cNvSpPr/>
            <p:nvPr/>
          </p:nvSpPr>
          <p:spPr>
            <a:xfrm>
              <a:off x="4505325" y="8528725"/>
              <a:ext cx="1774012" cy="654025"/>
            </a:xfrm>
            <a:prstGeom prst="rect">
              <a:avLst/>
            </a:prstGeom>
          </p:spPr>
          <p:txBody>
            <a:bodyPr wrap="none" lIns="0" tIns="0" rIns="0" bIns="0">
              <a:spAutoFit/>
            </a:bodyPr>
            <a:lstStyle/>
            <a:p>
              <a:pPr marL="80009"/>
              <a:r>
                <a:rPr lang="en-US" sz="2250" spc="-48" dirty="0">
                  <a:latin typeface="Calibri"/>
                </a:rPr>
                <a:t>P</a:t>
              </a:r>
              <a:r>
                <a:rPr lang="en-US" sz="2250" dirty="0">
                  <a:latin typeface="Calibri"/>
                </a:rPr>
                <a:t>ad</a:t>
              </a:r>
              <a:r>
                <a:rPr lang="en-US" sz="2250" spc="-30" dirty="0">
                  <a:latin typeface="Calibri"/>
                </a:rPr>
                <a:t>r</a:t>
              </a:r>
              <a:r>
                <a:rPr lang="en-US" sz="2250" dirty="0">
                  <a:latin typeface="Calibri"/>
                </a:rPr>
                <a:t>oni</a:t>
              </a:r>
              <a:r>
                <a:rPr lang="en-US" sz="2250" spc="-39" dirty="0">
                  <a:latin typeface="Calibri"/>
                </a:rPr>
                <a:t>z</a:t>
              </a:r>
              <a:r>
                <a:rPr lang="en-US" sz="2250" dirty="0">
                  <a:latin typeface="Calibri"/>
                </a:rPr>
                <a:t>ação </a:t>
              </a:r>
            </a:p>
            <a:p>
              <a:pPr>
                <a:lnSpc>
                  <a:spcPts val="2429"/>
                </a:lnSpc>
              </a:pPr>
              <a:r>
                <a:rPr lang="en-US" sz="2250" dirty="0">
                  <a:latin typeface="Calibri"/>
                </a:rPr>
                <a:t>de </a:t>
              </a:r>
              <a:r>
                <a:rPr lang="en-US" sz="2250" spc="-57" dirty="0">
                  <a:latin typeface="Calibri"/>
                </a:rPr>
                <a:t>f</a:t>
              </a:r>
              <a:r>
                <a:rPr lang="en-US" sz="2250" dirty="0">
                  <a:latin typeface="Calibri"/>
                </a:rPr>
                <a:t>ormulários </a:t>
              </a:r>
            </a:p>
          </p:txBody>
        </p:sp>
        <p:sp>
          <p:nvSpPr>
            <p:cNvPr id="750" name="Rectangle 750"/>
            <p:cNvSpPr/>
            <p:nvPr/>
          </p:nvSpPr>
          <p:spPr>
            <a:xfrm>
              <a:off x="7824978" y="3113153"/>
              <a:ext cx="1464568" cy="916276"/>
            </a:xfrm>
            <a:prstGeom prst="rect">
              <a:avLst/>
            </a:prstGeom>
          </p:spPr>
          <p:txBody>
            <a:bodyPr wrap="none" lIns="0" tIns="0" rIns="0" bIns="0">
              <a:spAutoFit/>
            </a:bodyPr>
            <a:lstStyle/>
            <a:p>
              <a:r>
                <a:rPr lang="en-US" sz="2250" dirty="0">
                  <a:latin typeface="Calibri"/>
                </a:rPr>
                <a:t>Mais </a:t>
              </a:r>
              <a:r>
                <a:rPr lang="en-US" sz="2250" spc="-18" dirty="0">
                  <a:latin typeface="Calibri"/>
                </a:rPr>
                <a:t>t</a:t>
              </a:r>
              <a:r>
                <a:rPr lang="en-US" sz="2250" dirty="0">
                  <a:latin typeface="Calibri"/>
                </a:rPr>
                <a:t>empo </a:t>
              </a:r>
            </a:p>
            <a:p>
              <a:pPr marL="34289">
                <a:lnSpc>
                  <a:spcPts val="2159"/>
                </a:lnSpc>
              </a:pPr>
              <a:r>
                <a:rPr lang="en-US" sz="2250" dirty="0">
                  <a:latin typeface="Calibri"/>
                </a:rPr>
                <a:t>pa</a:t>
              </a:r>
              <a:r>
                <a:rPr lang="en-US" sz="2250" spc="-47" dirty="0">
                  <a:latin typeface="Calibri"/>
                </a:rPr>
                <a:t>r</a:t>
              </a:r>
              <a:r>
                <a:rPr lang="en-US" sz="2250" dirty="0">
                  <a:latin typeface="Calibri"/>
                </a:rPr>
                <a:t>a</a:t>
              </a:r>
              <a:r>
                <a:rPr lang="en-US" sz="2250" spc="-21" dirty="0">
                  <a:latin typeface="Calibri"/>
                </a:rPr>
                <a:t> </a:t>
              </a:r>
              <a:r>
                <a:rPr lang="en-US" sz="2250" dirty="0">
                  <a:latin typeface="Calibri"/>
                </a:rPr>
                <a:t>out</a:t>
              </a:r>
              <a:r>
                <a:rPr lang="en-US" sz="2250" spc="-45" dirty="0">
                  <a:latin typeface="Calibri"/>
                </a:rPr>
                <a:t>r</a:t>
              </a:r>
              <a:r>
                <a:rPr lang="en-US" sz="2250" dirty="0">
                  <a:latin typeface="Calibri"/>
                </a:rPr>
                <a:t>as </a:t>
              </a:r>
            </a:p>
            <a:p>
              <a:pPr marL="297179">
                <a:lnSpc>
                  <a:spcPts val="2160"/>
                </a:lnSpc>
              </a:pPr>
              <a:r>
                <a:rPr lang="en-US" sz="2253" spc="-38" dirty="0">
                  <a:latin typeface="Calibri"/>
                </a:rPr>
                <a:t>t</a:t>
              </a:r>
              <a:r>
                <a:rPr lang="en-US" sz="2253" dirty="0">
                  <a:latin typeface="Calibri"/>
                </a:rPr>
                <a:t>a</a:t>
              </a:r>
              <a:r>
                <a:rPr lang="en-US" sz="2253" spc="-30" dirty="0">
                  <a:latin typeface="Calibri"/>
                </a:rPr>
                <a:t>r</a:t>
              </a:r>
              <a:r>
                <a:rPr lang="en-US" sz="2253" spc="-26" dirty="0">
                  <a:latin typeface="Calibri"/>
                </a:rPr>
                <a:t>e</a:t>
              </a:r>
              <a:r>
                <a:rPr lang="en-US" sz="2253" spc="-39" dirty="0">
                  <a:latin typeface="Calibri"/>
                </a:rPr>
                <a:t>f</a:t>
              </a:r>
              <a:r>
                <a:rPr lang="en-US" sz="2253" dirty="0">
                  <a:latin typeface="Calibri"/>
                </a:rPr>
                <a:t>as </a:t>
              </a:r>
            </a:p>
          </p:txBody>
        </p:sp>
        <p:sp>
          <p:nvSpPr>
            <p:cNvPr id="751" name="Rectangle 751"/>
            <p:cNvSpPr/>
            <p:nvPr/>
          </p:nvSpPr>
          <p:spPr>
            <a:xfrm>
              <a:off x="8502585" y="1503222"/>
              <a:ext cx="1351460" cy="670440"/>
            </a:xfrm>
            <a:prstGeom prst="rect">
              <a:avLst/>
            </a:prstGeom>
          </p:spPr>
          <p:txBody>
            <a:bodyPr wrap="none" lIns="0" tIns="0" rIns="0" bIns="0">
              <a:spAutoFit/>
            </a:bodyPr>
            <a:lstStyle/>
            <a:p>
              <a:pPr marL="240411"/>
              <a:r>
                <a:rPr lang="en-US" sz="1659" dirty="0">
                  <a:latin typeface="Calibri"/>
                </a:rPr>
                <a:t>chamadas </a:t>
              </a:r>
            </a:p>
            <a:p>
              <a:pPr>
                <a:lnSpc>
                  <a:spcPts val="1583"/>
                </a:lnSpc>
              </a:pPr>
              <a:r>
                <a:rPr lang="en-US" sz="1655" dirty="0">
                  <a:latin typeface="Calibri"/>
                </a:rPr>
                <a:t>telefônica</a:t>
              </a:r>
              <a:r>
                <a:rPr lang="en-US" sz="1655" spc="-21" dirty="0">
                  <a:latin typeface="Calibri"/>
                </a:rPr>
                <a:t>s</a:t>
              </a:r>
              <a:r>
                <a:rPr lang="en-US" sz="1655" spc="-51" dirty="0">
                  <a:latin typeface="Calibri"/>
                </a:rPr>
                <a:t> </a:t>
              </a:r>
              <a:r>
                <a:rPr lang="en-US" sz="1655" dirty="0">
                  <a:latin typeface="Calibri"/>
                </a:rPr>
                <a:t> e e-</a:t>
              </a:r>
            </a:p>
            <a:p>
              <a:pPr marL="48006">
                <a:lnSpc>
                  <a:spcPts val="1583"/>
                </a:lnSpc>
              </a:pPr>
              <a:r>
                <a:rPr lang="en-US" sz="1655" dirty="0">
                  <a:latin typeface="Calibri"/>
                </a:rPr>
                <a:t>mails</a:t>
              </a:r>
              <a:r>
                <a:rPr lang="en-US" sz="1655" spc="-32" dirty="0">
                  <a:latin typeface="Calibri"/>
                </a:rPr>
                <a:t> </a:t>
              </a:r>
              <a:r>
                <a:rPr lang="en-US" sz="1655" dirty="0">
                  <a:latin typeface="Calibri"/>
                </a:rPr>
                <a:t>menores </a:t>
              </a:r>
            </a:p>
          </p:txBody>
        </p:sp>
        <p:sp>
          <p:nvSpPr>
            <p:cNvPr id="752" name="Rectangle 752"/>
            <p:cNvSpPr/>
            <p:nvPr/>
          </p:nvSpPr>
          <p:spPr>
            <a:xfrm>
              <a:off x="11462003" y="2101598"/>
              <a:ext cx="1483035" cy="825867"/>
            </a:xfrm>
            <a:prstGeom prst="rect">
              <a:avLst/>
            </a:prstGeom>
          </p:spPr>
          <p:txBody>
            <a:bodyPr wrap="none" lIns="0" tIns="0" rIns="0" bIns="0">
              <a:spAutoFit/>
            </a:bodyPr>
            <a:lstStyle/>
            <a:p>
              <a:pPr marL="50292"/>
              <a:r>
                <a:rPr lang="en-US" sz="2700" dirty="0">
                  <a:latin typeface="Calibri"/>
                </a:rPr>
                <a:t>Despesas </a:t>
              </a:r>
            </a:p>
            <a:p>
              <a:pPr>
                <a:lnSpc>
                  <a:spcPts val="3239"/>
                </a:lnSpc>
              </a:pPr>
              <a:r>
                <a:rPr lang="en-US" sz="2700" spc="-63" dirty="0">
                  <a:latin typeface="Calibri"/>
                </a:rPr>
                <a:t>R</a:t>
              </a:r>
              <a:r>
                <a:rPr lang="en-US" sz="2700" dirty="0">
                  <a:latin typeface="Calibri"/>
                </a:rPr>
                <a:t>eduzidas </a:t>
              </a:r>
            </a:p>
          </p:txBody>
        </p:sp>
        <p:sp>
          <p:nvSpPr>
            <p:cNvPr id="753" name="Rectangle 753"/>
            <p:cNvSpPr/>
            <p:nvPr/>
          </p:nvSpPr>
          <p:spPr>
            <a:xfrm>
              <a:off x="11413997" y="3601975"/>
              <a:ext cx="1577868" cy="825867"/>
            </a:xfrm>
            <a:prstGeom prst="rect">
              <a:avLst/>
            </a:prstGeom>
          </p:spPr>
          <p:txBody>
            <a:bodyPr wrap="none" lIns="0" tIns="0" rIns="0" bIns="0">
              <a:spAutoFit/>
            </a:bodyPr>
            <a:lstStyle/>
            <a:p>
              <a:pPr marL="52578"/>
              <a:r>
                <a:rPr lang="en-US" sz="2700" dirty="0">
                  <a:latin typeface="Calibri"/>
                </a:rPr>
                <a:t>Satis</a:t>
              </a:r>
              <a:r>
                <a:rPr lang="en-US" sz="2700" spc="-50" dirty="0">
                  <a:latin typeface="Calibri"/>
                </a:rPr>
                <a:t>f</a:t>
              </a:r>
              <a:r>
                <a:rPr lang="en-US" sz="2700" dirty="0">
                  <a:latin typeface="Calibri"/>
                </a:rPr>
                <a:t>a</a:t>
              </a:r>
              <a:r>
                <a:rPr lang="en-US" sz="2700" spc="-26" dirty="0">
                  <a:latin typeface="Calibri"/>
                </a:rPr>
                <a:t>ç</a:t>
              </a:r>
              <a:r>
                <a:rPr lang="en-US" sz="2700" dirty="0">
                  <a:latin typeface="Calibri"/>
                </a:rPr>
                <a:t>ão </a:t>
              </a:r>
            </a:p>
            <a:p>
              <a:pPr>
                <a:lnSpc>
                  <a:spcPts val="3240"/>
                </a:lnSpc>
              </a:pPr>
              <a:r>
                <a:rPr lang="en-US" sz="2700" dirty="0">
                  <a:latin typeface="Calibri"/>
                </a:rPr>
                <a:t>de clien</a:t>
              </a:r>
              <a:r>
                <a:rPr lang="en-US" sz="2700" spc="-42" dirty="0">
                  <a:latin typeface="Calibri"/>
                </a:rPr>
                <a:t>t</a:t>
              </a:r>
              <a:r>
                <a:rPr lang="en-US" sz="2700" dirty="0">
                  <a:latin typeface="Calibri"/>
                </a:rPr>
                <a:t>es </a:t>
              </a:r>
            </a:p>
          </p:txBody>
        </p:sp>
        <p:sp>
          <p:nvSpPr>
            <p:cNvPr id="754" name="Rectangle 754"/>
            <p:cNvSpPr/>
            <p:nvPr/>
          </p:nvSpPr>
          <p:spPr>
            <a:xfrm>
              <a:off x="11446002" y="5065534"/>
              <a:ext cx="1509516" cy="654475"/>
            </a:xfrm>
            <a:prstGeom prst="rect">
              <a:avLst/>
            </a:prstGeom>
          </p:spPr>
          <p:txBody>
            <a:bodyPr wrap="none" lIns="0" tIns="0" rIns="0" bIns="0">
              <a:spAutoFit/>
            </a:bodyPr>
            <a:lstStyle/>
            <a:p>
              <a:r>
                <a:rPr lang="en-US" sz="2253" dirty="0">
                  <a:latin typeface="Calibri"/>
                </a:rPr>
                <a:t>Aume</a:t>
              </a:r>
              <a:r>
                <a:rPr lang="en-US" sz="2253" spc="-17" dirty="0">
                  <a:latin typeface="Calibri"/>
                </a:rPr>
                <a:t>n</a:t>
              </a:r>
              <a:r>
                <a:rPr lang="en-US" sz="2253" spc="-20" dirty="0">
                  <a:latin typeface="Calibri"/>
                </a:rPr>
                <a:t>t</a:t>
              </a:r>
              <a:r>
                <a:rPr lang="en-US" sz="2253" dirty="0">
                  <a:latin typeface="Calibri"/>
                </a:rPr>
                <a:t>o</a:t>
              </a:r>
              <a:r>
                <a:rPr lang="en-US" sz="2253" spc="-24" dirty="0">
                  <a:latin typeface="Calibri"/>
                </a:rPr>
                <a:t> </a:t>
              </a:r>
              <a:r>
                <a:rPr lang="en-US" sz="2253" dirty="0">
                  <a:latin typeface="Calibri"/>
                </a:rPr>
                <a:t>de </a:t>
              </a:r>
            </a:p>
            <a:p>
              <a:pPr marL="68579">
                <a:lnSpc>
                  <a:spcPts val="2429"/>
                </a:lnSpc>
              </a:pPr>
              <a:r>
                <a:rPr lang="en-US" sz="2250" spc="-23" dirty="0">
                  <a:latin typeface="Calibri"/>
                </a:rPr>
                <a:t>e</a:t>
              </a:r>
              <a:r>
                <a:rPr lang="en-US" sz="2250" spc="-57" dirty="0">
                  <a:latin typeface="Calibri"/>
                </a:rPr>
                <a:t>f</a:t>
              </a:r>
              <a:r>
                <a:rPr lang="en-US" sz="2250" spc="-24" dirty="0">
                  <a:latin typeface="Calibri"/>
                </a:rPr>
                <a:t>e</a:t>
              </a:r>
              <a:r>
                <a:rPr lang="en-US" sz="2250" dirty="0">
                  <a:latin typeface="Calibri"/>
                </a:rPr>
                <a:t>tividade </a:t>
              </a:r>
            </a:p>
          </p:txBody>
        </p:sp>
        <p:sp>
          <p:nvSpPr>
            <p:cNvPr id="755" name="Rectangle 755"/>
            <p:cNvSpPr/>
            <p:nvPr/>
          </p:nvSpPr>
          <p:spPr>
            <a:xfrm>
              <a:off x="11514582" y="6435228"/>
              <a:ext cx="1376082" cy="916598"/>
            </a:xfrm>
            <a:prstGeom prst="rect">
              <a:avLst/>
            </a:prstGeom>
          </p:spPr>
          <p:txBody>
            <a:bodyPr wrap="none" lIns="0" tIns="0" rIns="0" bIns="0">
              <a:spAutoFit/>
            </a:bodyPr>
            <a:lstStyle/>
            <a:p>
              <a:pPr marL="221742"/>
              <a:r>
                <a:rPr lang="en-US" sz="2253" dirty="0">
                  <a:latin typeface="Calibri"/>
                </a:rPr>
                <a:t>Melhor </a:t>
              </a:r>
            </a:p>
            <a:p>
              <a:pPr>
                <a:lnSpc>
                  <a:spcPts val="2162"/>
                </a:lnSpc>
              </a:pPr>
              <a:r>
                <a:rPr lang="en-US" sz="2250" dirty="0">
                  <a:latin typeface="Calibri"/>
                </a:rPr>
                <a:t>imagem</a:t>
              </a:r>
              <a:r>
                <a:rPr lang="en-US" sz="2250" spc="-26" dirty="0">
                  <a:latin typeface="Calibri"/>
                </a:rPr>
                <a:t> </a:t>
              </a:r>
              <a:r>
                <a:rPr lang="en-US" sz="2250" dirty="0">
                  <a:latin typeface="Calibri"/>
                </a:rPr>
                <a:t>no </a:t>
              </a:r>
            </a:p>
            <a:p>
              <a:pPr marL="137160">
                <a:lnSpc>
                  <a:spcPts val="2159"/>
                </a:lnSpc>
              </a:pPr>
              <a:r>
                <a:rPr lang="en-US" sz="2250" dirty="0">
                  <a:latin typeface="Calibri"/>
                </a:rPr>
                <a:t>me</a:t>
              </a:r>
              <a:r>
                <a:rPr lang="en-US" sz="2250" spc="-33" dirty="0">
                  <a:latin typeface="Calibri"/>
                </a:rPr>
                <a:t>r</a:t>
              </a:r>
              <a:r>
                <a:rPr lang="en-US" sz="2250" spc="-17" dirty="0">
                  <a:latin typeface="Calibri"/>
                </a:rPr>
                <a:t>c</a:t>
              </a:r>
              <a:r>
                <a:rPr lang="en-US" sz="2250" dirty="0">
                  <a:latin typeface="Calibri"/>
                </a:rPr>
                <a:t>ado </a:t>
              </a:r>
            </a:p>
          </p:txBody>
        </p:sp>
        <p:sp>
          <p:nvSpPr>
            <p:cNvPr id="756" name="Rectangle 756"/>
            <p:cNvSpPr/>
            <p:nvPr/>
          </p:nvSpPr>
          <p:spPr>
            <a:xfrm>
              <a:off x="11500865" y="7633908"/>
              <a:ext cx="1394869" cy="916148"/>
            </a:xfrm>
            <a:prstGeom prst="rect">
              <a:avLst/>
            </a:prstGeom>
          </p:spPr>
          <p:txBody>
            <a:bodyPr wrap="none" lIns="0" tIns="0" rIns="0" bIns="0">
              <a:spAutoFit/>
            </a:bodyPr>
            <a:lstStyle/>
            <a:p>
              <a:r>
                <a:rPr lang="en-US" sz="2250" dirty="0">
                  <a:latin typeface="Calibri"/>
                </a:rPr>
                <a:t>In</a:t>
              </a:r>
              <a:r>
                <a:rPr lang="en-US" sz="2250" spc="-57" dirty="0">
                  <a:latin typeface="Calibri"/>
                </a:rPr>
                <a:t>f</a:t>
              </a:r>
              <a:r>
                <a:rPr lang="en-US" sz="2250" dirty="0">
                  <a:latin typeface="Calibri"/>
                </a:rPr>
                <a:t>ormação </a:t>
              </a:r>
            </a:p>
            <a:p>
              <a:pPr marL="64008">
                <a:lnSpc>
                  <a:spcPts val="2159"/>
                </a:lnSpc>
              </a:pPr>
              <a:r>
                <a:rPr lang="en-US" sz="2250" dirty="0">
                  <a:latin typeface="Calibri"/>
                </a:rPr>
                <a:t>de melhor </a:t>
              </a:r>
            </a:p>
            <a:p>
              <a:pPr marL="86868">
                <a:lnSpc>
                  <a:spcPts val="2160"/>
                </a:lnSpc>
              </a:pPr>
              <a:r>
                <a:rPr lang="en-US" sz="2250" dirty="0">
                  <a:latin typeface="Calibri"/>
                </a:rPr>
                <a:t>qualidade </a:t>
              </a:r>
            </a:p>
          </p:txBody>
        </p:sp>
        <p:sp>
          <p:nvSpPr>
            <p:cNvPr id="757" name="Rectangle 757"/>
            <p:cNvSpPr/>
            <p:nvPr/>
          </p:nvSpPr>
          <p:spPr>
            <a:xfrm>
              <a:off x="930518" y="9463299"/>
              <a:ext cx="12345046" cy="327782"/>
            </a:xfrm>
            <a:prstGeom prst="rect">
              <a:avLst/>
            </a:prstGeom>
          </p:spPr>
          <p:txBody>
            <a:bodyPr wrap="none" lIns="0" tIns="0" rIns="0" bIns="0">
              <a:spAutoFit/>
            </a:bodyPr>
            <a:lstStyle/>
            <a:p>
              <a:pPr>
                <a:tabLst>
                  <a:tab pos="4198886" algn="l"/>
                  <a:tab pos="10291076" algn="l"/>
                </a:tabLst>
              </a:pPr>
              <a:r>
                <a:rPr lang="en-US" sz="2105" b="1" dirty="0">
                  <a:latin typeface="Times New Roman"/>
                </a:rPr>
                <a:t>Facilitado</a:t>
              </a:r>
              <a:r>
                <a:rPr lang="en-US" sz="2105" b="1" spc="-36" dirty="0">
                  <a:latin typeface="Times New Roman"/>
                </a:rPr>
                <a:t>r</a:t>
              </a:r>
              <a:r>
                <a:rPr lang="en-US" sz="2105" b="1" dirty="0">
                  <a:latin typeface="Times New Roman"/>
                </a:rPr>
                <a:t>es 	Benefícios</a:t>
              </a:r>
              <a:r>
                <a:rPr lang="en-US" sz="2105" b="1" spc="-60" dirty="0">
                  <a:latin typeface="Times New Roman"/>
                </a:rPr>
                <a:t> </a:t>
              </a:r>
              <a:r>
                <a:rPr lang="en-US" sz="2105" b="1" dirty="0">
                  <a:latin typeface="Times New Roman"/>
                </a:rPr>
                <a:t>inter</a:t>
              </a:r>
              <a:r>
                <a:rPr lang="en-US" sz="2105" b="1" spc="-26" dirty="0">
                  <a:latin typeface="Times New Roman"/>
                </a:rPr>
                <a:t>m</a:t>
              </a:r>
              <a:r>
                <a:rPr lang="en-US" sz="2105" b="1" dirty="0">
                  <a:latin typeface="Times New Roman"/>
                </a:rPr>
                <a:t>ediários 	</a:t>
              </a:r>
              <a:r>
                <a:rPr lang="en-US" sz="3195" b="1" baseline="40784" dirty="0">
                  <a:latin typeface="Times New Roman"/>
                </a:rPr>
                <a:t>Benefícios</a:t>
              </a:r>
              <a:r>
                <a:rPr lang="en-US" sz="3195" b="1" spc="-60" baseline="40784" dirty="0">
                  <a:latin typeface="Times New Roman"/>
                </a:rPr>
                <a:t> </a:t>
              </a:r>
              <a:r>
                <a:rPr lang="en-US" sz="3195" b="1" baseline="40784" dirty="0">
                  <a:latin typeface="Times New Roman"/>
                </a:rPr>
                <a:t>finais </a:t>
              </a:r>
            </a:p>
          </p:txBody>
        </p:sp>
      </p:grpSp>
      <p:sp>
        <p:nvSpPr>
          <p:cNvPr id="111" name="CaixaDeTexto 110">
            <a:extLst>
              <a:ext uri="{FF2B5EF4-FFF2-40B4-BE49-F238E27FC236}">
                <a16:creationId xmlns:a16="http://schemas.microsoft.com/office/drawing/2014/main" id="{048A67C8-DB8B-41C5-BC7D-63AB56FD7DA0}"/>
              </a:ext>
            </a:extLst>
          </p:cNvPr>
          <p:cNvSpPr txBox="1"/>
          <p:nvPr/>
        </p:nvSpPr>
        <p:spPr>
          <a:xfrm>
            <a:off x="1102365" y="860646"/>
            <a:ext cx="10506212" cy="561244"/>
          </a:xfrm>
          <a:prstGeom prst="rect">
            <a:avLst/>
          </a:prstGeom>
          <a:noFill/>
        </p:spPr>
        <p:txBody>
          <a:bodyPr wrap="square">
            <a:spAutoFit/>
          </a:bodyPr>
          <a:lstStyle/>
          <a:p>
            <a:pPr algn="ctr"/>
            <a:r>
              <a:rPr lang="en-US" sz="3047" b="1" dirty="0">
                <a:solidFill>
                  <a:srgbClr val="FF0000"/>
                </a:solidFill>
                <a:latin typeface="Helvetica" panose="020B0604020202020204" pitchFamily="34" charset="0"/>
              </a:rPr>
              <a:t>Value Management Office – VMO </a:t>
            </a:r>
            <a:endParaRPr lang="pt-BR" sz="3047" b="1" dirty="0">
              <a:solidFill>
                <a:srgbClr val="FF0000"/>
              </a:solidFill>
              <a:latin typeface="Helvetica" panose="020B0604020202020204" pitchFamily="34" charset="0"/>
            </a:endParaRPr>
          </a:p>
        </p:txBody>
      </p:sp>
      <p:sp>
        <p:nvSpPr>
          <p:cNvPr id="112" name="Rectangle 2">
            <a:extLst>
              <a:ext uri="{FF2B5EF4-FFF2-40B4-BE49-F238E27FC236}">
                <a16:creationId xmlns:a16="http://schemas.microsoft.com/office/drawing/2014/main" id="{DF006C94-09DE-4B02-A767-5F3B504D058F}"/>
              </a:ext>
            </a:extLst>
          </p:cNvPr>
          <p:cNvSpPr>
            <a:spLocks noChangeArrowheads="1"/>
          </p:cNvSpPr>
          <p:nvPr/>
        </p:nvSpPr>
        <p:spPr bwMode="auto">
          <a:xfrm>
            <a:off x="1081563" y="-21140"/>
            <a:ext cx="10089357" cy="895350"/>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Line 7"/>
          <p:cNvSpPr>
            <a:spLocks noChangeShapeType="1"/>
          </p:cNvSpPr>
          <p:nvPr/>
        </p:nvSpPr>
        <p:spPr bwMode="auto">
          <a:xfrm>
            <a:off x="7709413" y="5478835"/>
            <a:ext cx="1794" cy="15911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79875" name="Rectangle 47"/>
          <p:cNvSpPr>
            <a:spLocks noChangeArrowheads="1"/>
          </p:cNvSpPr>
          <p:nvPr/>
        </p:nvSpPr>
        <p:spPr bwMode="auto">
          <a:xfrm>
            <a:off x="7225157" y="4897811"/>
            <a:ext cx="1459981" cy="593700"/>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876" name="Rectangle 48"/>
          <p:cNvSpPr>
            <a:spLocks noChangeArrowheads="1"/>
          </p:cNvSpPr>
          <p:nvPr/>
        </p:nvSpPr>
        <p:spPr bwMode="auto">
          <a:xfrm>
            <a:off x="7217984" y="5009730"/>
            <a:ext cx="1467155" cy="39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2550">
                <a:solidFill>
                  <a:srgbClr val="000000"/>
                </a:solidFill>
                <a:latin typeface="Calibri" panose="020F0502020204030204" pitchFamily="34" charset="0"/>
                <a:ea typeface="MS PGothic" panose="020B0600070205080204" pitchFamily="34" charset="-128"/>
                <a:cs typeface="Calibri" panose="020F0502020204030204" pitchFamily="34" charset="0"/>
              </a:rPr>
              <a:t>Portfolio</a:t>
            </a:r>
            <a:endParaRPr lang="en-US" altLang="pt-BR" sz="42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877" name="Rectangle 49"/>
          <p:cNvSpPr>
            <a:spLocks noChangeArrowheads="1"/>
          </p:cNvSpPr>
          <p:nvPr/>
        </p:nvSpPr>
        <p:spPr bwMode="auto">
          <a:xfrm>
            <a:off x="7225157" y="4904954"/>
            <a:ext cx="1459981" cy="591325"/>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878" name="Line 88"/>
          <p:cNvSpPr>
            <a:spLocks noChangeShapeType="1"/>
          </p:cNvSpPr>
          <p:nvPr/>
        </p:nvSpPr>
        <p:spPr bwMode="auto">
          <a:xfrm>
            <a:off x="7714176" y="5637948"/>
            <a:ext cx="4326145" cy="75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79879" name="Line 9"/>
          <p:cNvSpPr>
            <a:spLocks noChangeShapeType="1"/>
          </p:cNvSpPr>
          <p:nvPr/>
        </p:nvSpPr>
        <p:spPr bwMode="auto">
          <a:xfrm>
            <a:off x="5435321" y="5638379"/>
            <a:ext cx="1793" cy="159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10" name="Text Box 90"/>
          <p:cNvSpPr txBox="1">
            <a:spLocks noChangeArrowheads="1"/>
          </p:cNvSpPr>
          <p:nvPr/>
        </p:nvSpPr>
        <p:spPr bwMode="auto">
          <a:xfrm>
            <a:off x="4946271" y="5793159"/>
            <a:ext cx="1467155" cy="584775"/>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en-US" altLang="pt-BR" sz="1600">
                <a:solidFill>
                  <a:schemeClr val="tx1"/>
                </a:solidFill>
                <a:latin typeface="+mn-lt"/>
                <a:ea typeface="MS PGothic" panose="020B0600070205080204" pitchFamily="34" charset="-128"/>
                <a:cs typeface="Calibri" panose="020F0502020204030204" pitchFamily="34" charset="0"/>
              </a:rPr>
              <a:t>Melhoria da Produtividade</a:t>
            </a:r>
          </a:p>
        </p:txBody>
      </p:sp>
      <p:sp>
        <p:nvSpPr>
          <p:cNvPr id="79881" name="Line 10"/>
          <p:cNvSpPr>
            <a:spLocks noChangeShapeType="1"/>
          </p:cNvSpPr>
          <p:nvPr/>
        </p:nvSpPr>
        <p:spPr bwMode="auto">
          <a:xfrm>
            <a:off x="7714176" y="5638379"/>
            <a:ext cx="1794" cy="159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79882" name="Line 29"/>
          <p:cNvSpPr>
            <a:spLocks noChangeShapeType="1"/>
          </p:cNvSpPr>
          <p:nvPr/>
        </p:nvSpPr>
        <p:spPr bwMode="auto">
          <a:xfrm>
            <a:off x="7316801" y="6328949"/>
            <a:ext cx="1793" cy="42746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grpSp>
        <p:nvGrpSpPr>
          <p:cNvPr id="13" name="Group 127"/>
          <p:cNvGrpSpPr>
            <a:grpSpLocks/>
          </p:cNvGrpSpPr>
          <p:nvPr/>
        </p:nvGrpSpPr>
        <p:grpSpPr bwMode="auto">
          <a:xfrm>
            <a:off x="7318818" y="6757566"/>
            <a:ext cx="1040880" cy="1450849"/>
            <a:chOff x="3978275" y="3311525"/>
            <a:chExt cx="920965" cy="969275"/>
          </a:xfrm>
        </p:grpSpPr>
        <p:sp>
          <p:nvSpPr>
            <p:cNvPr id="79990" name="Line 30"/>
            <p:cNvSpPr>
              <a:spLocks noChangeShapeType="1"/>
            </p:cNvSpPr>
            <p:nvPr/>
          </p:nvSpPr>
          <p:spPr bwMode="auto">
            <a:xfrm>
              <a:off x="3978275" y="3406775"/>
              <a:ext cx="109538"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1" name="Line 31"/>
            <p:cNvSpPr>
              <a:spLocks noChangeShapeType="1"/>
            </p:cNvSpPr>
            <p:nvPr/>
          </p:nvSpPr>
          <p:spPr bwMode="auto">
            <a:xfrm>
              <a:off x="3978275" y="3562350"/>
              <a:ext cx="109538"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2" name="Line 32"/>
            <p:cNvSpPr>
              <a:spLocks noChangeShapeType="1"/>
            </p:cNvSpPr>
            <p:nvPr/>
          </p:nvSpPr>
          <p:spPr bwMode="auto">
            <a:xfrm>
              <a:off x="3978275" y="3719513"/>
              <a:ext cx="10953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3" name="Line 33"/>
            <p:cNvSpPr>
              <a:spLocks noChangeShapeType="1"/>
            </p:cNvSpPr>
            <p:nvPr/>
          </p:nvSpPr>
          <p:spPr bwMode="auto">
            <a:xfrm>
              <a:off x="3978275" y="3875088"/>
              <a:ext cx="10953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4" name="Line 34"/>
            <p:cNvSpPr>
              <a:spLocks noChangeShapeType="1"/>
            </p:cNvSpPr>
            <p:nvPr/>
          </p:nvSpPr>
          <p:spPr bwMode="auto">
            <a:xfrm>
              <a:off x="3978275" y="4030663"/>
              <a:ext cx="10953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5" name="Line 35"/>
            <p:cNvSpPr>
              <a:spLocks noChangeShapeType="1"/>
            </p:cNvSpPr>
            <p:nvPr/>
          </p:nvSpPr>
          <p:spPr bwMode="auto">
            <a:xfrm>
              <a:off x="3978275" y="4189413"/>
              <a:ext cx="10953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6" name="Line 36"/>
            <p:cNvSpPr>
              <a:spLocks noChangeShapeType="1"/>
            </p:cNvSpPr>
            <p:nvPr/>
          </p:nvSpPr>
          <p:spPr bwMode="auto">
            <a:xfrm>
              <a:off x="3978275" y="3406775"/>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7" name="Line 37"/>
            <p:cNvSpPr>
              <a:spLocks noChangeShapeType="1"/>
            </p:cNvSpPr>
            <p:nvPr/>
          </p:nvSpPr>
          <p:spPr bwMode="auto">
            <a:xfrm>
              <a:off x="3978275" y="3562350"/>
              <a:ext cx="1588" cy="1571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8" name="Line 38"/>
            <p:cNvSpPr>
              <a:spLocks noChangeShapeType="1"/>
            </p:cNvSpPr>
            <p:nvPr/>
          </p:nvSpPr>
          <p:spPr bwMode="auto">
            <a:xfrm>
              <a:off x="3978275" y="3719513"/>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99" name="Line 39"/>
            <p:cNvSpPr>
              <a:spLocks noChangeShapeType="1"/>
            </p:cNvSpPr>
            <p:nvPr/>
          </p:nvSpPr>
          <p:spPr bwMode="auto">
            <a:xfrm>
              <a:off x="3978275" y="3875088"/>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0000" name="Line 40"/>
            <p:cNvSpPr>
              <a:spLocks noChangeShapeType="1"/>
            </p:cNvSpPr>
            <p:nvPr/>
          </p:nvSpPr>
          <p:spPr bwMode="auto">
            <a:xfrm>
              <a:off x="3978275" y="4030663"/>
              <a:ext cx="1588" cy="158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0001" name="Rectangle 41"/>
            <p:cNvSpPr>
              <a:spLocks noChangeArrowheads="1"/>
            </p:cNvSpPr>
            <p:nvPr/>
          </p:nvSpPr>
          <p:spPr bwMode="auto">
            <a:xfrm>
              <a:off x="4159034" y="3311525"/>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198</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80002" name="Rectangle 42"/>
            <p:cNvSpPr>
              <a:spLocks noChangeArrowheads="1"/>
            </p:cNvSpPr>
            <p:nvPr/>
          </p:nvSpPr>
          <p:spPr bwMode="auto">
            <a:xfrm>
              <a:off x="4159034" y="3484563"/>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455</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80003" name="Rectangle 43"/>
            <p:cNvSpPr>
              <a:spLocks noChangeArrowheads="1"/>
            </p:cNvSpPr>
            <p:nvPr/>
          </p:nvSpPr>
          <p:spPr bwMode="auto">
            <a:xfrm>
              <a:off x="4159034" y="3641725"/>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44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80004" name="Rectangle 44"/>
            <p:cNvSpPr>
              <a:spLocks noChangeArrowheads="1"/>
            </p:cNvSpPr>
            <p:nvPr/>
          </p:nvSpPr>
          <p:spPr bwMode="auto">
            <a:xfrm>
              <a:off x="4159034" y="3797300"/>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877</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80005" name="Rectangle 45"/>
            <p:cNvSpPr>
              <a:spLocks noChangeArrowheads="1"/>
            </p:cNvSpPr>
            <p:nvPr/>
          </p:nvSpPr>
          <p:spPr bwMode="auto">
            <a:xfrm>
              <a:off x="4159034" y="3952875"/>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821</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80006" name="Rectangle 46"/>
            <p:cNvSpPr>
              <a:spLocks noChangeArrowheads="1"/>
            </p:cNvSpPr>
            <p:nvPr/>
          </p:nvSpPr>
          <p:spPr bwMode="auto">
            <a:xfrm>
              <a:off x="4159034" y="4111625"/>
              <a:ext cx="740206"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C15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grpSp>
      <p:sp>
        <p:nvSpPr>
          <p:cNvPr id="31" name="Text Box 91"/>
          <p:cNvSpPr txBox="1">
            <a:spLocks noChangeArrowheads="1"/>
          </p:cNvSpPr>
          <p:nvPr/>
        </p:nvSpPr>
        <p:spPr bwMode="auto">
          <a:xfrm>
            <a:off x="7151309" y="5805066"/>
            <a:ext cx="1467155" cy="584775"/>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en-US" altLang="pt-BR" sz="1600">
                <a:solidFill>
                  <a:schemeClr val="tx1"/>
                </a:solidFill>
                <a:latin typeface="+mn-lt"/>
                <a:ea typeface="MS PGothic" panose="020B0600070205080204" pitchFamily="34" charset="-128"/>
                <a:cs typeface="Calibri" panose="020F0502020204030204" pitchFamily="34" charset="0"/>
              </a:rPr>
              <a:t>Modernização Técnica</a:t>
            </a:r>
          </a:p>
        </p:txBody>
      </p:sp>
      <p:sp>
        <p:nvSpPr>
          <p:cNvPr id="79885" name="Line 69"/>
          <p:cNvSpPr>
            <a:spLocks noChangeShapeType="1"/>
          </p:cNvSpPr>
          <p:nvPr/>
        </p:nvSpPr>
        <p:spPr bwMode="auto">
          <a:xfrm>
            <a:off x="12043288" y="5645522"/>
            <a:ext cx="1794" cy="15911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grpSp>
        <p:nvGrpSpPr>
          <p:cNvPr id="33" name="Group 129"/>
          <p:cNvGrpSpPr>
            <a:grpSpLocks/>
          </p:cNvGrpSpPr>
          <p:nvPr/>
        </p:nvGrpSpPr>
        <p:grpSpPr bwMode="auto">
          <a:xfrm>
            <a:off x="11669217" y="6367636"/>
            <a:ext cx="1031532" cy="1840349"/>
            <a:chOff x="6864350" y="3051175"/>
            <a:chExt cx="911874" cy="1229647"/>
          </a:xfrm>
        </p:grpSpPr>
        <p:sp>
          <p:nvSpPr>
            <p:cNvPr id="79972" name="Line 70"/>
            <p:cNvSpPr>
              <a:spLocks noChangeShapeType="1"/>
            </p:cNvSpPr>
            <p:nvPr/>
          </p:nvSpPr>
          <p:spPr bwMode="auto">
            <a:xfrm>
              <a:off x="6864350" y="3051175"/>
              <a:ext cx="1588" cy="285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3" name="Line 71"/>
            <p:cNvSpPr>
              <a:spLocks noChangeShapeType="1"/>
            </p:cNvSpPr>
            <p:nvPr/>
          </p:nvSpPr>
          <p:spPr bwMode="auto">
            <a:xfrm>
              <a:off x="6864350" y="3406775"/>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4" name="Line 72"/>
            <p:cNvSpPr>
              <a:spLocks noChangeShapeType="1"/>
            </p:cNvSpPr>
            <p:nvPr/>
          </p:nvSpPr>
          <p:spPr bwMode="auto">
            <a:xfrm>
              <a:off x="6864350" y="3562350"/>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5" name="Line 73"/>
            <p:cNvSpPr>
              <a:spLocks noChangeShapeType="1"/>
            </p:cNvSpPr>
            <p:nvPr/>
          </p:nvSpPr>
          <p:spPr bwMode="auto">
            <a:xfrm>
              <a:off x="6864350" y="371951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6" name="Line 74"/>
            <p:cNvSpPr>
              <a:spLocks noChangeShapeType="1"/>
            </p:cNvSpPr>
            <p:nvPr/>
          </p:nvSpPr>
          <p:spPr bwMode="auto">
            <a:xfrm>
              <a:off x="6864350" y="3875088"/>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7" name="Line 75"/>
            <p:cNvSpPr>
              <a:spLocks noChangeShapeType="1"/>
            </p:cNvSpPr>
            <p:nvPr/>
          </p:nvSpPr>
          <p:spPr bwMode="auto">
            <a:xfrm>
              <a:off x="6864350" y="403066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8" name="Line 76"/>
            <p:cNvSpPr>
              <a:spLocks noChangeShapeType="1"/>
            </p:cNvSpPr>
            <p:nvPr/>
          </p:nvSpPr>
          <p:spPr bwMode="auto">
            <a:xfrm>
              <a:off x="6864350" y="418941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79" name="Line 77"/>
            <p:cNvSpPr>
              <a:spLocks noChangeShapeType="1"/>
            </p:cNvSpPr>
            <p:nvPr/>
          </p:nvSpPr>
          <p:spPr bwMode="auto">
            <a:xfrm>
              <a:off x="6864350" y="3406775"/>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80" name="Line 78"/>
            <p:cNvSpPr>
              <a:spLocks noChangeShapeType="1"/>
            </p:cNvSpPr>
            <p:nvPr/>
          </p:nvSpPr>
          <p:spPr bwMode="auto">
            <a:xfrm>
              <a:off x="6864350" y="3562350"/>
              <a:ext cx="1588" cy="1571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81" name="Line 79"/>
            <p:cNvSpPr>
              <a:spLocks noChangeShapeType="1"/>
            </p:cNvSpPr>
            <p:nvPr/>
          </p:nvSpPr>
          <p:spPr bwMode="auto">
            <a:xfrm>
              <a:off x="6864350" y="3719513"/>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82" name="Line 80"/>
            <p:cNvSpPr>
              <a:spLocks noChangeShapeType="1"/>
            </p:cNvSpPr>
            <p:nvPr/>
          </p:nvSpPr>
          <p:spPr bwMode="auto">
            <a:xfrm>
              <a:off x="6864350" y="3875088"/>
              <a:ext cx="1588"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83" name="Line 81"/>
            <p:cNvSpPr>
              <a:spLocks noChangeShapeType="1"/>
            </p:cNvSpPr>
            <p:nvPr/>
          </p:nvSpPr>
          <p:spPr bwMode="auto">
            <a:xfrm>
              <a:off x="6864350" y="4030663"/>
              <a:ext cx="1588" cy="158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84" name="Rectangle 82"/>
            <p:cNvSpPr>
              <a:spLocks noChangeArrowheads="1"/>
            </p:cNvSpPr>
            <p:nvPr/>
          </p:nvSpPr>
          <p:spPr bwMode="auto">
            <a:xfrm>
              <a:off x="7043088" y="3328988"/>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167</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85" name="Rectangle 83"/>
            <p:cNvSpPr>
              <a:spLocks noChangeArrowheads="1"/>
            </p:cNvSpPr>
            <p:nvPr/>
          </p:nvSpPr>
          <p:spPr bwMode="auto">
            <a:xfrm>
              <a:off x="7043088" y="3484563"/>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63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86" name="Rectangle 84"/>
            <p:cNvSpPr>
              <a:spLocks noChangeArrowheads="1"/>
            </p:cNvSpPr>
            <p:nvPr/>
          </p:nvSpPr>
          <p:spPr bwMode="auto">
            <a:xfrm>
              <a:off x="7043088" y="3641725"/>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555</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87" name="Rectangle 85"/>
            <p:cNvSpPr>
              <a:spLocks noChangeArrowheads="1"/>
            </p:cNvSpPr>
            <p:nvPr/>
          </p:nvSpPr>
          <p:spPr bwMode="auto">
            <a:xfrm>
              <a:off x="7043088" y="3797300"/>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32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88" name="Rectangle 86"/>
            <p:cNvSpPr>
              <a:spLocks noChangeArrowheads="1"/>
            </p:cNvSpPr>
            <p:nvPr/>
          </p:nvSpPr>
          <p:spPr bwMode="auto">
            <a:xfrm>
              <a:off x="7043088" y="3952875"/>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32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89" name="Rectangle 87"/>
            <p:cNvSpPr>
              <a:spLocks noChangeArrowheads="1"/>
            </p:cNvSpPr>
            <p:nvPr/>
          </p:nvSpPr>
          <p:spPr bwMode="auto">
            <a:xfrm>
              <a:off x="7043088" y="4111625"/>
              <a:ext cx="73313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E998</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grpSp>
      <p:sp>
        <p:nvSpPr>
          <p:cNvPr id="52" name="Text Box 92"/>
          <p:cNvSpPr txBox="1">
            <a:spLocks noChangeArrowheads="1"/>
          </p:cNvSpPr>
          <p:nvPr/>
        </p:nvSpPr>
        <p:spPr bwMode="auto">
          <a:xfrm>
            <a:off x="11652459" y="5805066"/>
            <a:ext cx="1468949" cy="584775"/>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en-US" altLang="pt-BR" sz="1600">
                <a:solidFill>
                  <a:schemeClr val="tx1"/>
                </a:solidFill>
                <a:latin typeface="+mn-lt"/>
                <a:ea typeface="MS PGothic" panose="020B0600070205080204" pitchFamily="34" charset="-128"/>
                <a:cs typeface="Calibri" panose="020F0502020204030204" pitchFamily="34" charset="0"/>
              </a:rPr>
              <a:t>Ampliação da Infra-estrutura</a:t>
            </a:r>
          </a:p>
        </p:txBody>
      </p:sp>
      <p:sp>
        <p:nvSpPr>
          <p:cNvPr id="79888" name="Line 50"/>
          <p:cNvSpPr>
            <a:spLocks noChangeShapeType="1"/>
          </p:cNvSpPr>
          <p:nvPr/>
        </p:nvSpPr>
        <p:spPr bwMode="auto">
          <a:xfrm>
            <a:off x="9878733" y="5645522"/>
            <a:ext cx="1793" cy="15911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79889" name="Line 51"/>
          <p:cNvSpPr>
            <a:spLocks noChangeShapeType="1"/>
          </p:cNvSpPr>
          <p:nvPr/>
        </p:nvSpPr>
        <p:spPr bwMode="auto">
          <a:xfrm>
            <a:off x="9438038" y="6519930"/>
            <a:ext cx="1794" cy="42746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grpSp>
        <p:nvGrpSpPr>
          <p:cNvPr id="55" name="Group 128"/>
          <p:cNvGrpSpPr>
            <a:grpSpLocks/>
          </p:cNvGrpSpPr>
          <p:nvPr/>
        </p:nvGrpSpPr>
        <p:grpSpPr bwMode="auto">
          <a:xfrm>
            <a:off x="9484957" y="6757566"/>
            <a:ext cx="1045685" cy="1450849"/>
            <a:chOff x="5421313" y="3311525"/>
            <a:chExt cx="925278" cy="969275"/>
          </a:xfrm>
        </p:grpSpPr>
        <p:sp>
          <p:nvSpPr>
            <p:cNvPr id="79955" name="Line 52"/>
            <p:cNvSpPr>
              <a:spLocks noChangeShapeType="1"/>
            </p:cNvSpPr>
            <p:nvPr/>
          </p:nvSpPr>
          <p:spPr bwMode="auto">
            <a:xfrm>
              <a:off x="5421313" y="3406775"/>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6" name="Line 53"/>
            <p:cNvSpPr>
              <a:spLocks noChangeShapeType="1"/>
            </p:cNvSpPr>
            <p:nvPr/>
          </p:nvSpPr>
          <p:spPr bwMode="auto">
            <a:xfrm>
              <a:off x="5421313" y="3562350"/>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7" name="Line 54"/>
            <p:cNvSpPr>
              <a:spLocks noChangeShapeType="1"/>
            </p:cNvSpPr>
            <p:nvPr/>
          </p:nvSpPr>
          <p:spPr bwMode="auto">
            <a:xfrm>
              <a:off x="5421313" y="371951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8" name="Line 55"/>
            <p:cNvSpPr>
              <a:spLocks noChangeShapeType="1"/>
            </p:cNvSpPr>
            <p:nvPr/>
          </p:nvSpPr>
          <p:spPr bwMode="auto">
            <a:xfrm>
              <a:off x="5421313" y="3875088"/>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9" name="Line 56"/>
            <p:cNvSpPr>
              <a:spLocks noChangeShapeType="1"/>
            </p:cNvSpPr>
            <p:nvPr/>
          </p:nvSpPr>
          <p:spPr bwMode="auto">
            <a:xfrm>
              <a:off x="5421313" y="403066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0" name="Line 57"/>
            <p:cNvSpPr>
              <a:spLocks noChangeShapeType="1"/>
            </p:cNvSpPr>
            <p:nvPr/>
          </p:nvSpPr>
          <p:spPr bwMode="auto">
            <a:xfrm>
              <a:off x="5421313" y="418941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1" name="Line 58"/>
            <p:cNvSpPr>
              <a:spLocks noChangeShapeType="1"/>
            </p:cNvSpPr>
            <p:nvPr/>
          </p:nvSpPr>
          <p:spPr bwMode="auto">
            <a:xfrm>
              <a:off x="5421313" y="3406775"/>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2" name="Line 59"/>
            <p:cNvSpPr>
              <a:spLocks noChangeShapeType="1"/>
            </p:cNvSpPr>
            <p:nvPr/>
          </p:nvSpPr>
          <p:spPr bwMode="auto">
            <a:xfrm>
              <a:off x="5421313" y="3562350"/>
              <a:ext cx="1587" cy="1571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3" name="Line 60"/>
            <p:cNvSpPr>
              <a:spLocks noChangeShapeType="1"/>
            </p:cNvSpPr>
            <p:nvPr/>
          </p:nvSpPr>
          <p:spPr bwMode="auto">
            <a:xfrm>
              <a:off x="5421313" y="3719513"/>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4" name="Line 61"/>
            <p:cNvSpPr>
              <a:spLocks noChangeShapeType="1"/>
            </p:cNvSpPr>
            <p:nvPr/>
          </p:nvSpPr>
          <p:spPr bwMode="auto">
            <a:xfrm>
              <a:off x="5421313" y="3875088"/>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5" name="Line 62"/>
            <p:cNvSpPr>
              <a:spLocks noChangeShapeType="1"/>
            </p:cNvSpPr>
            <p:nvPr/>
          </p:nvSpPr>
          <p:spPr bwMode="auto">
            <a:xfrm>
              <a:off x="5421313" y="4030663"/>
              <a:ext cx="1587" cy="158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66" name="Rectangle 63"/>
            <p:cNvSpPr>
              <a:spLocks noChangeArrowheads="1"/>
            </p:cNvSpPr>
            <p:nvPr/>
          </p:nvSpPr>
          <p:spPr bwMode="auto">
            <a:xfrm>
              <a:off x="5594584" y="3311525"/>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D112</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67" name="Rectangle 64"/>
            <p:cNvSpPr>
              <a:spLocks noChangeArrowheads="1"/>
            </p:cNvSpPr>
            <p:nvPr/>
          </p:nvSpPr>
          <p:spPr bwMode="auto">
            <a:xfrm>
              <a:off x="5594584" y="3484563"/>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D345</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68" name="Rectangle 65"/>
            <p:cNvSpPr>
              <a:spLocks noChangeArrowheads="1"/>
            </p:cNvSpPr>
            <p:nvPr/>
          </p:nvSpPr>
          <p:spPr bwMode="auto">
            <a:xfrm>
              <a:off x="5594584" y="3641725"/>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D398</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69" name="Rectangle 66"/>
            <p:cNvSpPr>
              <a:spLocks noChangeArrowheads="1"/>
            </p:cNvSpPr>
            <p:nvPr/>
          </p:nvSpPr>
          <p:spPr bwMode="auto">
            <a:xfrm>
              <a:off x="5594584" y="3797300"/>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D467</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70" name="Rectangle 67"/>
            <p:cNvSpPr>
              <a:spLocks noChangeArrowheads="1"/>
            </p:cNvSpPr>
            <p:nvPr/>
          </p:nvSpPr>
          <p:spPr bwMode="auto">
            <a:xfrm>
              <a:off x="5594584" y="3952875"/>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D665</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71" name="Rectangle 68"/>
            <p:cNvSpPr>
              <a:spLocks noChangeArrowheads="1"/>
            </p:cNvSpPr>
            <p:nvPr/>
          </p:nvSpPr>
          <p:spPr bwMode="auto">
            <a:xfrm>
              <a:off x="5594584" y="4111625"/>
              <a:ext cx="752007" cy="16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D512</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grpSp>
      <p:sp>
        <p:nvSpPr>
          <p:cNvPr id="73" name="Text Box 93"/>
          <p:cNvSpPr txBox="1">
            <a:spLocks noChangeArrowheads="1"/>
          </p:cNvSpPr>
          <p:nvPr/>
        </p:nvSpPr>
        <p:spPr bwMode="auto">
          <a:xfrm>
            <a:off x="9382541" y="5805066"/>
            <a:ext cx="1467155" cy="830997"/>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en-US" altLang="pt-BR" sz="1600">
                <a:solidFill>
                  <a:schemeClr val="tx1"/>
                </a:solidFill>
                <a:latin typeface="+mn-lt"/>
                <a:ea typeface="MS PGothic" panose="020B0600070205080204" pitchFamily="34" charset="-128"/>
                <a:cs typeface="Calibri" panose="020F0502020204030204" pitchFamily="34" charset="0"/>
              </a:rPr>
              <a:t>Capacitação Técnica e Gerencial</a:t>
            </a:r>
          </a:p>
        </p:txBody>
      </p:sp>
      <p:sp>
        <p:nvSpPr>
          <p:cNvPr id="79892" name="Line 111"/>
          <p:cNvSpPr>
            <a:spLocks noChangeShapeType="1"/>
          </p:cNvSpPr>
          <p:nvPr/>
        </p:nvSpPr>
        <p:spPr bwMode="auto">
          <a:xfrm>
            <a:off x="3330293" y="5637948"/>
            <a:ext cx="4435682" cy="75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sp>
        <p:nvSpPr>
          <p:cNvPr id="75" name="Line 8"/>
          <p:cNvSpPr>
            <a:spLocks noChangeShapeType="1"/>
          </p:cNvSpPr>
          <p:nvPr/>
        </p:nvSpPr>
        <p:spPr bwMode="auto">
          <a:xfrm>
            <a:off x="3325533" y="5638379"/>
            <a:ext cx="1793" cy="159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sz="1600">
              <a:latin typeface="+mn-lt"/>
            </a:endParaRPr>
          </a:p>
        </p:txBody>
      </p:sp>
      <p:grpSp>
        <p:nvGrpSpPr>
          <p:cNvPr id="76" name="Group 126"/>
          <p:cNvGrpSpPr>
            <a:grpSpLocks/>
          </p:cNvGrpSpPr>
          <p:nvPr/>
        </p:nvGrpSpPr>
        <p:grpSpPr bwMode="auto">
          <a:xfrm>
            <a:off x="5319029" y="6344010"/>
            <a:ext cx="1042077" cy="1840349"/>
            <a:chOff x="2459038" y="3051175"/>
            <a:chExt cx="922041" cy="1229647"/>
          </a:xfrm>
        </p:grpSpPr>
        <p:sp>
          <p:nvSpPr>
            <p:cNvPr id="79937" name="Rectangle 23"/>
            <p:cNvSpPr>
              <a:spLocks noChangeArrowheads="1"/>
            </p:cNvSpPr>
            <p:nvPr/>
          </p:nvSpPr>
          <p:spPr bwMode="auto">
            <a:xfrm>
              <a:off x="2638723" y="3311525"/>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B346</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8" name="Rectangle 24"/>
            <p:cNvSpPr>
              <a:spLocks noChangeArrowheads="1"/>
            </p:cNvSpPr>
            <p:nvPr/>
          </p:nvSpPr>
          <p:spPr bwMode="auto">
            <a:xfrm>
              <a:off x="2625227" y="3489325"/>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B21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9" name="Rectangle 25"/>
            <p:cNvSpPr>
              <a:spLocks noChangeArrowheads="1"/>
            </p:cNvSpPr>
            <p:nvPr/>
          </p:nvSpPr>
          <p:spPr bwMode="auto">
            <a:xfrm>
              <a:off x="2638723" y="3641725"/>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B178</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40" name="Rectangle 26"/>
            <p:cNvSpPr>
              <a:spLocks noChangeArrowheads="1"/>
            </p:cNvSpPr>
            <p:nvPr/>
          </p:nvSpPr>
          <p:spPr bwMode="auto">
            <a:xfrm>
              <a:off x="2638723" y="3797300"/>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B56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41" name="Rectangle 27"/>
            <p:cNvSpPr>
              <a:spLocks noChangeArrowheads="1"/>
            </p:cNvSpPr>
            <p:nvPr/>
          </p:nvSpPr>
          <p:spPr bwMode="auto">
            <a:xfrm>
              <a:off x="2638723" y="3952875"/>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B876</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42" name="Rectangle 28"/>
            <p:cNvSpPr>
              <a:spLocks noChangeArrowheads="1"/>
            </p:cNvSpPr>
            <p:nvPr/>
          </p:nvSpPr>
          <p:spPr bwMode="auto">
            <a:xfrm>
              <a:off x="2638723" y="4111625"/>
              <a:ext cx="742356" cy="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B54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43" name="Line 11"/>
            <p:cNvSpPr>
              <a:spLocks noChangeShapeType="1"/>
            </p:cNvSpPr>
            <p:nvPr/>
          </p:nvSpPr>
          <p:spPr bwMode="auto">
            <a:xfrm>
              <a:off x="2459038" y="3051175"/>
              <a:ext cx="1587" cy="285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4" name="Line 12"/>
            <p:cNvSpPr>
              <a:spLocks noChangeShapeType="1"/>
            </p:cNvSpPr>
            <p:nvPr/>
          </p:nvSpPr>
          <p:spPr bwMode="auto">
            <a:xfrm>
              <a:off x="2459038" y="3406775"/>
              <a:ext cx="109537"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5" name="Line 13"/>
            <p:cNvSpPr>
              <a:spLocks noChangeShapeType="1"/>
            </p:cNvSpPr>
            <p:nvPr/>
          </p:nvSpPr>
          <p:spPr bwMode="auto">
            <a:xfrm>
              <a:off x="2459038" y="3562350"/>
              <a:ext cx="109537"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6" name="Line 14"/>
            <p:cNvSpPr>
              <a:spLocks noChangeShapeType="1"/>
            </p:cNvSpPr>
            <p:nvPr/>
          </p:nvSpPr>
          <p:spPr bwMode="auto">
            <a:xfrm>
              <a:off x="2459038" y="3719513"/>
              <a:ext cx="109537"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7" name="Line 15"/>
            <p:cNvSpPr>
              <a:spLocks noChangeShapeType="1"/>
            </p:cNvSpPr>
            <p:nvPr/>
          </p:nvSpPr>
          <p:spPr bwMode="auto">
            <a:xfrm>
              <a:off x="2459038" y="3875088"/>
              <a:ext cx="109537"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8" name="Line 16"/>
            <p:cNvSpPr>
              <a:spLocks noChangeShapeType="1"/>
            </p:cNvSpPr>
            <p:nvPr/>
          </p:nvSpPr>
          <p:spPr bwMode="auto">
            <a:xfrm>
              <a:off x="2459038" y="4030663"/>
              <a:ext cx="109537"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49" name="Line 17"/>
            <p:cNvSpPr>
              <a:spLocks noChangeShapeType="1"/>
            </p:cNvSpPr>
            <p:nvPr/>
          </p:nvSpPr>
          <p:spPr bwMode="auto">
            <a:xfrm>
              <a:off x="2459038" y="4189413"/>
              <a:ext cx="109537"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0" name="Line 18"/>
            <p:cNvSpPr>
              <a:spLocks noChangeShapeType="1"/>
            </p:cNvSpPr>
            <p:nvPr/>
          </p:nvSpPr>
          <p:spPr bwMode="auto">
            <a:xfrm>
              <a:off x="2459038" y="3406775"/>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1" name="Line 19"/>
            <p:cNvSpPr>
              <a:spLocks noChangeShapeType="1"/>
            </p:cNvSpPr>
            <p:nvPr/>
          </p:nvSpPr>
          <p:spPr bwMode="auto">
            <a:xfrm>
              <a:off x="2459038" y="3562350"/>
              <a:ext cx="1587" cy="1571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2" name="Line 20"/>
            <p:cNvSpPr>
              <a:spLocks noChangeShapeType="1"/>
            </p:cNvSpPr>
            <p:nvPr/>
          </p:nvSpPr>
          <p:spPr bwMode="auto">
            <a:xfrm>
              <a:off x="2459038" y="3719513"/>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3" name="Line 21"/>
            <p:cNvSpPr>
              <a:spLocks noChangeShapeType="1"/>
            </p:cNvSpPr>
            <p:nvPr/>
          </p:nvSpPr>
          <p:spPr bwMode="auto">
            <a:xfrm>
              <a:off x="2459038" y="3875088"/>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54" name="Line 22"/>
            <p:cNvSpPr>
              <a:spLocks noChangeShapeType="1"/>
            </p:cNvSpPr>
            <p:nvPr/>
          </p:nvSpPr>
          <p:spPr bwMode="auto">
            <a:xfrm>
              <a:off x="2459038" y="4030663"/>
              <a:ext cx="1587" cy="1587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grpSp>
      <p:sp>
        <p:nvSpPr>
          <p:cNvPr id="95" name="Text Box 89"/>
          <p:cNvSpPr txBox="1">
            <a:spLocks noChangeArrowheads="1"/>
          </p:cNvSpPr>
          <p:nvPr/>
        </p:nvSpPr>
        <p:spPr bwMode="auto">
          <a:xfrm>
            <a:off x="2597800" y="5793159"/>
            <a:ext cx="1651072" cy="584775"/>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en-US" altLang="pt-BR" sz="1600" dirty="0" err="1">
                <a:solidFill>
                  <a:schemeClr val="tx1"/>
                </a:solidFill>
                <a:latin typeface="+mn-lt"/>
                <a:ea typeface="MS PGothic" panose="020B0600070205080204" pitchFamily="34" charset="-128"/>
                <a:cs typeface="Calibri" panose="020F0502020204030204" pitchFamily="34" charset="0"/>
              </a:rPr>
              <a:t>Pesquisa</a:t>
            </a:r>
            <a:r>
              <a:rPr lang="en-US" altLang="pt-BR" sz="1600" dirty="0">
                <a:solidFill>
                  <a:schemeClr val="tx1"/>
                </a:solidFill>
                <a:latin typeface="+mn-lt"/>
                <a:ea typeface="MS PGothic" panose="020B0600070205080204" pitchFamily="34" charset="-128"/>
                <a:cs typeface="Calibri" panose="020F0502020204030204" pitchFamily="34" charset="0"/>
              </a:rPr>
              <a:t> &amp; </a:t>
            </a:r>
            <a:r>
              <a:rPr lang="en-US" altLang="pt-BR" sz="1600" dirty="0" err="1">
                <a:solidFill>
                  <a:schemeClr val="tx1"/>
                </a:solidFill>
                <a:latin typeface="+mn-lt"/>
                <a:ea typeface="MS PGothic" panose="020B0600070205080204" pitchFamily="34" charset="-128"/>
                <a:cs typeface="Calibri" panose="020F0502020204030204" pitchFamily="34" charset="0"/>
              </a:rPr>
              <a:t>Desenvolvimento</a:t>
            </a:r>
            <a:endParaRPr lang="en-US" altLang="pt-BR" sz="1600" dirty="0">
              <a:solidFill>
                <a:schemeClr val="tx1"/>
              </a:solidFill>
              <a:latin typeface="+mn-lt"/>
              <a:ea typeface="MS PGothic" panose="020B0600070205080204" pitchFamily="34" charset="-128"/>
              <a:cs typeface="Calibri" panose="020F0502020204030204" pitchFamily="34" charset="0"/>
            </a:endParaRPr>
          </a:p>
        </p:txBody>
      </p:sp>
      <p:grpSp>
        <p:nvGrpSpPr>
          <p:cNvPr id="96" name="Group 125"/>
          <p:cNvGrpSpPr>
            <a:grpSpLocks/>
          </p:cNvGrpSpPr>
          <p:nvPr/>
        </p:nvGrpSpPr>
        <p:grpSpPr bwMode="auto">
          <a:xfrm>
            <a:off x="2642911" y="6388473"/>
            <a:ext cx="2303359" cy="3251305"/>
            <a:chOff x="655128" y="3065463"/>
            <a:chExt cx="2039022" cy="2172797"/>
          </a:xfrm>
        </p:grpSpPr>
        <p:sp>
          <p:nvSpPr>
            <p:cNvPr id="79916" name="Text Box 112"/>
            <p:cNvSpPr txBox="1">
              <a:spLocks noChangeArrowheads="1"/>
            </p:cNvSpPr>
            <p:nvPr/>
          </p:nvSpPr>
          <p:spPr bwMode="auto">
            <a:xfrm>
              <a:off x="655128" y="4621213"/>
              <a:ext cx="2039022" cy="617047"/>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2700" dirty="0" err="1">
                  <a:solidFill>
                    <a:schemeClr val="tx1"/>
                  </a:solidFill>
                  <a:latin typeface="Calibri" panose="020F0502020204030204" pitchFamily="34" charset="0"/>
                  <a:ea typeface="MS PGothic" panose="020B0600070205080204" pitchFamily="34" charset="-128"/>
                  <a:cs typeface="Calibri" panose="020F0502020204030204" pitchFamily="34" charset="0"/>
                </a:rPr>
                <a:t>Programa</a:t>
              </a:r>
              <a:r>
                <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rPr>
                <a:t> </a:t>
              </a:r>
              <a:r>
                <a:rPr lang="en-US" altLang="pt-BR" sz="2700" b="1" dirty="0" err="1">
                  <a:solidFill>
                    <a:schemeClr val="tx1"/>
                  </a:solidFill>
                  <a:latin typeface="Calibri" panose="020F0502020204030204" pitchFamily="34" charset="0"/>
                  <a:ea typeface="MS PGothic" panose="020B0600070205080204" pitchFamily="34" charset="-128"/>
                  <a:cs typeface="Calibri" panose="020F0502020204030204" pitchFamily="34" charset="0"/>
                </a:rPr>
                <a:t>Expansão</a:t>
              </a:r>
              <a:endParaRPr lang="en-US" altLang="pt-BR" sz="2700" b="1"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7" name="AutoShape 4"/>
            <p:cNvSpPr>
              <a:spLocks noChangeArrowheads="1"/>
            </p:cNvSpPr>
            <p:nvPr/>
          </p:nvSpPr>
          <p:spPr bwMode="auto">
            <a:xfrm>
              <a:off x="1095374" y="3640138"/>
              <a:ext cx="981412" cy="493712"/>
            </a:xfrm>
            <a:prstGeom prst="roundRect">
              <a:avLst>
                <a:gd name="adj" fmla="val 16667"/>
              </a:avLst>
            </a:prstGeom>
            <a:solidFill>
              <a:srgbClr val="FFDDFF"/>
            </a:solidFill>
            <a:ln w="9525">
              <a:solidFill>
                <a:schemeClr val="tx1"/>
              </a:solidFill>
              <a:round/>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8" name="Line 5"/>
            <p:cNvSpPr>
              <a:spLocks noChangeShapeType="1"/>
            </p:cNvSpPr>
            <p:nvPr/>
          </p:nvSpPr>
          <p:spPr bwMode="auto">
            <a:xfrm>
              <a:off x="1004889" y="3065463"/>
              <a:ext cx="0" cy="37479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19" name="Line 94"/>
            <p:cNvSpPr>
              <a:spLocks noChangeShapeType="1"/>
            </p:cNvSpPr>
            <p:nvPr/>
          </p:nvSpPr>
          <p:spPr bwMode="auto">
            <a:xfrm>
              <a:off x="1004888" y="3421063"/>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0" name="Line 95"/>
            <p:cNvSpPr>
              <a:spLocks noChangeShapeType="1"/>
            </p:cNvSpPr>
            <p:nvPr/>
          </p:nvSpPr>
          <p:spPr bwMode="auto">
            <a:xfrm>
              <a:off x="1004888" y="3578225"/>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1" name="Line 96"/>
            <p:cNvSpPr>
              <a:spLocks noChangeShapeType="1"/>
            </p:cNvSpPr>
            <p:nvPr/>
          </p:nvSpPr>
          <p:spPr bwMode="auto">
            <a:xfrm>
              <a:off x="1004888" y="3733800"/>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2" name="Line 97"/>
            <p:cNvSpPr>
              <a:spLocks noChangeShapeType="1"/>
            </p:cNvSpPr>
            <p:nvPr/>
          </p:nvSpPr>
          <p:spPr bwMode="auto">
            <a:xfrm>
              <a:off x="1004888" y="3889375"/>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3" name="Line 98"/>
            <p:cNvSpPr>
              <a:spLocks noChangeShapeType="1"/>
            </p:cNvSpPr>
            <p:nvPr/>
          </p:nvSpPr>
          <p:spPr bwMode="auto">
            <a:xfrm>
              <a:off x="1004888" y="4046538"/>
              <a:ext cx="10795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4" name="Line 99"/>
            <p:cNvSpPr>
              <a:spLocks noChangeShapeType="1"/>
            </p:cNvSpPr>
            <p:nvPr/>
          </p:nvSpPr>
          <p:spPr bwMode="auto">
            <a:xfrm>
              <a:off x="1004888" y="4203700"/>
              <a:ext cx="1079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5" name="Line 100"/>
            <p:cNvSpPr>
              <a:spLocks noChangeShapeType="1"/>
            </p:cNvSpPr>
            <p:nvPr/>
          </p:nvSpPr>
          <p:spPr bwMode="auto">
            <a:xfrm>
              <a:off x="1004888" y="3421063"/>
              <a:ext cx="1587" cy="15716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6" name="Line 101"/>
            <p:cNvSpPr>
              <a:spLocks noChangeShapeType="1"/>
            </p:cNvSpPr>
            <p:nvPr/>
          </p:nvSpPr>
          <p:spPr bwMode="auto">
            <a:xfrm>
              <a:off x="1004888" y="3578225"/>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7" name="Line 102"/>
            <p:cNvSpPr>
              <a:spLocks noChangeShapeType="1"/>
            </p:cNvSpPr>
            <p:nvPr/>
          </p:nvSpPr>
          <p:spPr bwMode="auto">
            <a:xfrm>
              <a:off x="1004888" y="3733800"/>
              <a:ext cx="1587" cy="1555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8" name="Line 103"/>
            <p:cNvSpPr>
              <a:spLocks noChangeShapeType="1"/>
            </p:cNvSpPr>
            <p:nvPr/>
          </p:nvSpPr>
          <p:spPr bwMode="auto">
            <a:xfrm>
              <a:off x="1004888" y="3889375"/>
              <a:ext cx="1587" cy="1571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29" name="Line 104"/>
            <p:cNvSpPr>
              <a:spLocks noChangeShapeType="1"/>
            </p:cNvSpPr>
            <p:nvPr/>
          </p:nvSpPr>
          <p:spPr bwMode="auto">
            <a:xfrm>
              <a:off x="1004888" y="4046538"/>
              <a:ext cx="1587" cy="15716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79930" name="Rectangle 105"/>
            <p:cNvSpPr>
              <a:spLocks noChangeArrowheads="1"/>
            </p:cNvSpPr>
            <p:nvPr/>
          </p:nvSpPr>
          <p:spPr bwMode="auto">
            <a:xfrm>
              <a:off x="1176699" y="3316288"/>
              <a:ext cx="746991"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A346</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1" name="Rectangle 106"/>
            <p:cNvSpPr>
              <a:spLocks noChangeArrowheads="1"/>
            </p:cNvSpPr>
            <p:nvPr/>
          </p:nvSpPr>
          <p:spPr bwMode="auto">
            <a:xfrm>
              <a:off x="1176699" y="3500438"/>
              <a:ext cx="746991"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A214</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2" name="Rectangle 107"/>
            <p:cNvSpPr>
              <a:spLocks noChangeArrowheads="1"/>
            </p:cNvSpPr>
            <p:nvPr/>
          </p:nvSpPr>
          <p:spPr bwMode="auto">
            <a:xfrm>
              <a:off x="1212503" y="3656013"/>
              <a:ext cx="675379"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A18</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3" name="Rectangle 108"/>
            <p:cNvSpPr>
              <a:spLocks noChangeArrowheads="1"/>
            </p:cNvSpPr>
            <p:nvPr/>
          </p:nvSpPr>
          <p:spPr bwMode="auto">
            <a:xfrm>
              <a:off x="1212503" y="3811588"/>
              <a:ext cx="675379"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A54</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4" name="Rectangle 109"/>
            <p:cNvSpPr>
              <a:spLocks noChangeArrowheads="1"/>
            </p:cNvSpPr>
            <p:nvPr/>
          </p:nvSpPr>
          <p:spPr bwMode="auto">
            <a:xfrm>
              <a:off x="1212503" y="3968750"/>
              <a:ext cx="675379"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dirty="0" err="1">
                  <a:solidFill>
                    <a:srgbClr val="000000"/>
                  </a:solidFill>
                  <a:latin typeface="Calibri" panose="020F0502020204030204" pitchFamily="34" charset="0"/>
                  <a:ea typeface="MS PGothic" panose="020B0600070205080204" pitchFamily="34" charset="-128"/>
                  <a:cs typeface="Calibri" panose="020F0502020204030204" pitchFamily="34" charset="0"/>
                </a:rPr>
                <a:t>Projeto</a:t>
              </a:r>
              <a:r>
                <a:rPr lang="en-US" altLang="pt-BR" sz="1650" dirty="0">
                  <a:solidFill>
                    <a:srgbClr val="000000"/>
                  </a:solidFill>
                  <a:latin typeface="Calibri" panose="020F0502020204030204" pitchFamily="34" charset="0"/>
                  <a:ea typeface="MS PGothic" panose="020B0600070205080204" pitchFamily="34" charset="-128"/>
                  <a:cs typeface="Calibri" panose="020F0502020204030204" pitchFamily="34" charset="0"/>
                </a:rPr>
                <a:t> A76</a:t>
              </a:r>
              <a:endPar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5" name="Rectangle 110"/>
            <p:cNvSpPr>
              <a:spLocks noChangeArrowheads="1"/>
            </p:cNvSpPr>
            <p:nvPr/>
          </p:nvSpPr>
          <p:spPr bwMode="auto">
            <a:xfrm>
              <a:off x="1176699" y="4125913"/>
              <a:ext cx="746991" cy="16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1650">
                  <a:solidFill>
                    <a:srgbClr val="000000"/>
                  </a:solidFill>
                  <a:latin typeface="Calibri" panose="020F0502020204030204" pitchFamily="34" charset="0"/>
                  <a:ea typeface="MS PGothic" panose="020B0600070205080204" pitchFamily="34" charset="-128"/>
                  <a:cs typeface="Calibri" panose="020F0502020204030204" pitchFamily="34" charset="0"/>
                </a:rPr>
                <a:t>Projeto A544</a:t>
              </a:r>
              <a:endParaRPr lang="en-US" altLang="pt-BR" sz="27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36" name="Line 115"/>
            <p:cNvSpPr>
              <a:spLocks noChangeShapeType="1"/>
            </p:cNvSpPr>
            <p:nvPr/>
          </p:nvSpPr>
          <p:spPr bwMode="auto">
            <a:xfrm flipH="1" flipV="1">
              <a:off x="2112589" y="4096397"/>
              <a:ext cx="346808" cy="52481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pt-BR"/>
            </a:p>
          </p:txBody>
        </p:sp>
      </p:grpSp>
      <p:grpSp>
        <p:nvGrpSpPr>
          <p:cNvPr id="118" name="Group 130"/>
          <p:cNvGrpSpPr>
            <a:grpSpLocks/>
          </p:cNvGrpSpPr>
          <p:nvPr/>
        </p:nvGrpSpPr>
        <p:grpSpPr bwMode="auto">
          <a:xfrm>
            <a:off x="4681086" y="6719466"/>
            <a:ext cx="6275764" cy="3502971"/>
            <a:chOff x="1076325" y="3286125"/>
            <a:chExt cx="5554663" cy="2341048"/>
          </a:xfrm>
        </p:grpSpPr>
        <p:sp>
          <p:nvSpPr>
            <p:cNvPr id="79913" name="AutoShape 3"/>
            <p:cNvSpPr>
              <a:spLocks noChangeArrowheads="1"/>
            </p:cNvSpPr>
            <p:nvPr/>
          </p:nvSpPr>
          <p:spPr bwMode="auto">
            <a:xfrm>
              <a:off x="1076325" y="3286125"/>
              <a:ext cx="5554663" cy="21272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4" name="Text Box 113"/>
            <p:cNvSpPr txBox="1">
              <a:spLocks noChangeArrowheads="1"/>
            </p:cNvSpPr>
            <p:nvPr/>
          </p:nvSpPr>
          <p:spPr bwMode="auto">
            <a:xfrm>
              <a:off x="2898293" y="5010108"/>
              <a:ext cx="2833448" cy="617065"/>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2700" dirty="0" err="1">
                  <a:solidFill>
                    <a:schemeClr val="tx1"/>
                  </a:solidFill>
                  <a:latin typeface="Calibri" panose="020F0502020204030204" pitchFamily="34" charset="0"/>
                  <a:ea typeface="MS PGothic" panose="020B0600070205080204" pitchFamily="34" charset="-128"/>
                  <a:cs typeface="Calibri" panose="020F0502020204030204" pitchFamily="34" charset="0"/>
                </a:rPr>
                <a:t>Programa</a:t>
              </a:r>
              <a:r>
                <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rPr>
                <a:t> </a:t>
              </a:r>
              <a:r>
                <a:rPr lang="en-US" altLang="pt-BR" sz="2700" b="1" dirty="0" err="1">
                  <a:solidFill>
                    <a:schemeClr val="tx1"/>
                  </a:solidFill>
                  <a:latin typeface="Calibri" panose="020F0502020204030204" pitchFamily="34" charset="0"/>
                  <a:ea typeface="MS PGothic" panose="020B0600070205080204" pitchFamily="34" charset="-128"/>
                  <a:cs typeface="Calibri" panose="020F0502020204030204" pitchFamily="34" charset="0"/>
                </a:rPr>
                <a:t>Reengenharia</a:t>
              </a:r>
              <a:endParaRPr lang="en-US" altLang="pt-BR" sz="2700" b="1"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5" name="Line 116"/>
            <p:cNvSpPr>
              <a:spLocks noChangeShapeType="1"/>
            </p:cNvSpPr>
            <p:nvPr/>
          </p:nvSpPr>
          <p:spPr bwMode="auto">
            <a:xfrm flipH="1" flipV="1">
              <a:off x="3239244" y="3508824"/>
              <a:ext cx="218331" cy="146481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pt-BR"/>
            </a:p>
          </p:txBody>
        </p:sp>
      </p:grpSp>
      <p:grpSp>
        <p:nvGrpSpPr>
          <p:cNvPr id="122" name="Group 131"/>
          <p:cNvGrpSpPr>
            <a:grpSpLocks/>
          </p:cNvGrpSpPr>
          <p:nvPr/>
        </p:nvGrpSpPr>
        <p:grpSpPr bwMode="auto">
          <a:xfrm>
            <a:off x="8786304" y="7700546"/>
            <a:ext cx="4200605" cy="1728772"/>
            <a:chOff x="3817938" y="3940175"/>
            <a:chExt cx="4111625" cy="1154938"/>
          </a:xfrm>
        </p:grpSpPr>
        <p:sp>
          <p:nvSpPr>
            <p:cNvPr id="79910" name="AutoShape 2"/>
            <p:cNvSpPr>
              <a:spLocks noChangeArrowheads="1"/>
            </p:cNvSpPr>
            <p:nvPr/>
          </p:nvSpPr>
          <p:spPr bwMode="auto">
            <a:xfrm>
              <a:off x="3817938" y="3940175"/>
              <a:ext cx="4111625" cy="39687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1" name="Text Box 114"/>
            <p:cNvSpPr txBox="1">
              <a:spLocks noChangeArrowheads="1"/>
            </p:cNvSpPr>
            <p:nvPr/>
          </p:nvSpPr>
          <p:spPr bwMode="auto">
            <a:xfrm>
              <a:off x="5943136" y="4478265"/>
              <a:ext cx="1986427" cy="616848"/>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en-US" altLang="pt-BR" sz="2700" dirty="0" err="1">
                  <a:solidFill>
                    <a:schemeClr val="tx1"/>
                  </a:solidFill>
                  <a:latin typeface="Calibri" panose="020F0502020204030204" pitchFamily="34" charset="0"/>
                  <a:ea typeface="MS PGothic" panose="020B0600070205080204" pitchFamily="34" charset="-128"/>
                  <a:cs typeface="Calibri" panose="020F0502020204030204" pitchFamily="34" charset="0"/>
                </a:rPr>
                <a:t>Programa</a:t>
              </a:r>
              <a:r>
                <a:rPr lang="en-US" altLang="pt-BR" sz="2700" dirty="0">
                  <a:solidFill>
                    <a:schemeClr val="tx1"/>
                  </a:solidFill>
                  <a:latin typeface="Calibri" panose="020F0502020204030204" pitchFamily="34" charset="0"/>
                  <a:ea typeface="MS PGothic" panose="020B0600070205080204" pitchFamily="34" charset="-128"/>
                  <a:cs typeface="Calibri" panose="020F0502020204030204" pitchFamily="34" charset="0"/>
                </a:rPr>
                <a:t> </a:t>
              </a:r>
              <a:r>
                <a:rPr lang="en-US" altLang="pt-BR" sz="2700" b="1" dirty="0">
                  <a:solidFill>
                    <a:schemeClr val="tx1"/>
                  </a:solidFill>
                  <a:latin typeface="Calibri" panose="020F0502020204030204" pitchFamily="34" charset="0"/>
                  <a:ea typeface="MS PGothic" panose="020B0600070205080204" pitchFamily="34" charset="-128"/>
                  <a:cs typeface="Calibri" panose="020F0502020204030204" pitchFamily="34" charset="0"/>
                </a:rPr>
                <a:t>“</a:t>
              </a:r>
              <a:r>
                <a:rPr lang="pt-BR" altLang="ja-JP" sz="2700" b="1" dirty="0">
                  <a:solidFill>
                    <a:schemeClr val="tx1"/>
                  </a:solidFill>
                  <a:latin typeface="Calibri" panose="020F0502020204030204" pitchFamily="34" charset="0"/>
                  <a:ea typeface="MS PGothic" panose="020B0600070205080204" pitchFamily="34" charset="-128"/>
                  <a:cs typeface="Calibri" panose="020F0502020204030204" pitchFamily="34" charset="0"/>
                </a:rPr>
                <a:t>DFSS</a:t>
              </a:r>
              <a:r>
                <a:rPr lang="ja-JP" altLang="en-US" sz="2700" b="1" dirty="0">
                  <a:solidFill>
                    <a:schemeClr val="tx1"/>
                  </a:solidFill>
                  <a:latin typeface="Calibri" panose="020F0502020204030204" pitchFamily="34" charset="0"/>
                  <a:ea typeface="MS PGothic" panose="020B0600070205080204" pitchFamily="34" charset="-128"/>
                  <a:cs typeface="Calibri" panose="020F0502020204030204" pitchFamily="34" charset="0"/>
                </a:rPr>
                <a:t>”</a:t>
              </a:r>
              <a:endParaRPr lang="en-US" altLang="pt-BR" sz="2700" b="1" dirty="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sp>
          <p:nvSpPr>
            <p:cNvPr id="79912" name="Line 117"/>
            <p:cNvSpPr>
              <a:spLocks noChangeShapeType="1"/>
            </p:cNvSpPr>
            <p:nvPr/>
          </p:nvSpPr>
          <p:spPr bwMode="auto">
            <a:xfrm flipH="1" flipV="1">
              <a:off x="6639783" y="4342460"/>
              <a:ext cx="640491" cy="13587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pt-BR"/>
            </a:p>
          </p:txBody>
        </p:sp>
      </p:grpSp>
      <p:sp>
        <p:nvSpPr>
          <p:cNvPr id="127" name="Rectangle 2"/>
          <p:cNvSpPr>
            <a:spLocks noChangeArrowheads="1"/>
          </p:cNvSpPr>
          <p:nvPr/>
        </p:nvSpPr>
        <p:spPr bwMode="auto">
          <a:xfrm>
            <a:off x="2597799" y="223416"/>
            <a:ext cx="7599433" cy="892924"/>
          </a:xfrm>
          <a:prstGeom prst="rect">
            <a:avLst/>
          </a:prstGeom>
          <a:noFill/>
          <a:ln>
            <a:noFill/>
          </a:ln>
        </p:spPr>
        <p:txBody>
          <a:bodyPr anchor="ctr"/>
          <a:lstStyle>
            <a:lvl1pPr eaLnBrk="0" hangingPunct="0">
              <a:defRPr sz="1500">
                <a:solidFill>
                  <a:srgbClr val="000000"/>
                </a:solidFill>
                <a:latin typeface="Tahoma" panose="020B0604030504040204" pitchFamily="34" charset="0"/>
                <a:cs typeface="Arial" panose="020B0604020202020204" pitchFamily="34" charset="0"/>
              </a:defRPr>
            </a:lvl1pPr>
            <a:lvl2pPr marL="742950" indent="-285750" eaLnBrk="0" hangingPunct="0">
              <a:defRPr sz="1500">
                <a:solidFill>
                  <a:srgbClr val="000000"/>
                </a:solidFill>
                <a:latin typeface="Tahoma" panose="020B0604030504040204" pitchFamily="34" charset="0"/>
                <a:cs typeface="Arial" panose="020B0604020202020204" pitchFamily="34" charset="0"/>
              </a:defRPr>
            </a:lvl2pPr>
            <a:lvl3pPr marL="1143000" indent="-228600" eaLnBrk="0" hangingPunct="0">
              <a:defRPr sz="1500">
                <a:solidFill>
                  <a:srgbClr val="000000"/>
                </a:solidFill>
                <a:latin typeface="Tahoma" panose="020B0604030504040204" pitchFamily="34" charset="0"/>
                <a:cs typeface="Arial" panose="020B0604020202020204" pitchFamily="34" charset="0"/>
              </a:defRPr>
            </a:lvl3pPr>
            <a:lvl4pPr marL="1600200" indent="-228600" eaLnBrk="0" hangingPunct="0">
              <a:defRPr sz="1500">
                <a:solidFill>
                  <a:srgbClr val="000000"/>
                </a:solidFill>
                <a:latin typeface="Tahoma" panose="020B0604030504040204" pitchFamily="34" charset="0"/>
                <a:cs typeface="Arial" panose="020B0604020202020204" pitchFamily="34" charset="0"/>
              </a:defRPr>
            </a:lvl4pPr>
            <a:lvl5pPr marL="2057400" indent="-228600" eaLnBrk="0" hangingPunct="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sz="3047" b="1" dirty="0">
                <a:solidFill>
                  <a:schemeClr val="tx1"/>
                </a:solidFill>
                <a:latin typeface="Helvetica" panose="020B0604020202020204" pitchFamily="34" charset="0"/>
              </a:rPr>
              <a:t>Gerenciamento de Portfólio  </a:t>
            </a:r>
            <a:endParaRPr lang="en-GB" sz="3047" b="1" dirty="0">
              <a:solidFill>
                <a:schemeClr val="tx1"/>
              </a:solidFill>
              <a:latin typeface="Helvetica" panose="020B0604020202020204" pitchFamily="34" charset="0"/>
            </a:endParaRPr>
          </a:p>
        </p:txBody>
      </p:sp>
      <p:grpSp>
        <p:nvGrpSpPr>
          <p:cNvPr id="134" name="Group 129"/>
          <p:cNvGrpSpPr>
            <a:grpSpLocks/>
          </p:cNvGrpSpPr>
          <p:nvPr/>
        </p:nvGrpSpPr>
        <p:grpSpPr bwMode="auto">
          <a:xfrm>
            <a:off x="161255" y="5709817"/>
            <a:ext cx="2139751" cy="657819"/>
            <a:chOff x="3635375" y="5384800"/>
            <a:chExt cx="1944688" cy="431800"/>
          </a:xfrm>
        </p:grpSpPr>
        <p:sp>
          <p:nvSpPr>
            <p:cNvPr id="79904" name="Text Box 106"/>
            <p:cNvSpPr txBox="1">
              <a:spLocks noChangeArrowheads="1"/>
            </p:cNvSpPr>
            <p:nvPr/>
          </p:nvSpPr>
          <p:spPr bwMode="auto">
            <a:xfrm>
              <a:off x="4084369" y="5491440"/>
              <a:ext cx="1232455" cy="27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b="1" dirty="0">
                  <a:solidFill>
                    <a:srgbClr val="FF0000"/>
                  </a:solidFill>
                  <a:latin typeface="Calibri" panose="020F0502020204030204" pitchFamily="34" charset="0"/>
                  <a:ea typeface="MS PGothic" panose="020B0600070205080204" pitchFamily="34" charset="-128"/>
                  <a:cs typeface="Calibri" panose="020F0502020204030204" pitchFamily="34" charset="0"/>
                </a:rPr>
                <a:t>Categorias</a:t>
              </a:r>
            </a:p>
          </p:txBody>
        </p:sp>
        <p:sp>
          <p:nvSpPr>
            <p:cNvPr id="79905" name="Oval 107"/>
            <p:cNvSpPr>
              <a:spLocks noChangeArrowheads="1"/>
            </p:cNvSpPr>
            <p:nvPr/>
          </p:nvSpPr>
          <p:spPr bwMode="auto">
            <a:xfrm>
              <a:off x="3635375" y="5384800"/>
              <a:ext cx="1944688" cy="431800"/>
            </a:xfrm>
            <a:prstGeom prst="ellipse">
              <a:avLst/>
            </a:prstGeom>
            <a:noFill/>
            <a:ln w="952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8" name="Grupo 7"/>
          <p:cNvGrpSpPr/>
          <p:nvPr/>
        </p:nvGrpSpPr>
        <p:grpSpPr>
          <a:xfrm>
            <a:off x="626315" y="1156870"/>
            <a:ext cx="9401780" cy="3683314"/>
            <a:chOff x="626315" y="1156870"/>
            <a:chExt cx="9401780" cy="3683314"/>
          </a:xfrm>
        </p:grpSpPr>
        <p:grpSp>
          <p:nvGrpSpPr>
            <p:cNvPr id="6" name="Grupo 5"/>
            <p:cNvGrpSpPr/>
            <p:nvPr/>
          </p:nvGrpSpPr>
          <p:grpSpPr>
            <a:xfrm>
              <a:off x="626315" y="1156870"/>
              <a:ext cx="9401780" cy="3683314"/>
              <a:chOff x="626315" y="1156870"/>
              <a:chExt cx="9401780" cy="3683314"/>
            </a:xfrm>
          </p:grpSpPr>
          <p:pic>
            <p:nvPicPr>
              <p:cNvPr id="79899" name="Imagem 12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732502" y="1156870"/>
                <a:ext cx="6295593" cy="368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8" name="Group 119"/>
              <p:cNvGrpSpPr>
                <a:grpSpLocks/>
              </p:cNvGrpSpPr>
              <p:nvPr/>
            </p:nvGrpSpPr>
            <p:grpSpPr bwMode="auto">
              <a:xfrm>
                <a:off x="626315" y="2993136"/>
                <a:ext cx="3829270" cy="755186"/>
                <a:chOff x="3132138" y="5743575"/>
                <a:chExt cx="2879725" cy="504825"/>
              </a:xfrm>
            </p:grpSpPr>
            <p:sp>
              <p:nvSpPr>
                <p:cNvPr id="79908" name="Text Box 117"/>
                <p:cNvSpPr txBox="1">
                  <a:spLocks noChangeArrowheads="1"/>
                </p:cNvSpPr>
                <p:nvPr/>
              </p:nvSpPr>
              <p:spPr bwMode="auto">
                <a:xfrm>
                  <a:off x="3203575" y="5870575"/>
                  <a:ext cx="25608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dirty="0">
                      <a:solidFill>
                        <a:srgbClr val="FF0000"/>
                      </a:solidFill>
                      <a:latin typeface="Helvetica" panose="020B0500000000000000" pitchFamily="34" charset="0"/>
                      <a:ea typeface="MS PGothic" panose="020B0600070205080204" pitchFamily="34" charset="-128"/>
                    </a:rPr>
                    <a:t>OBJETIVOS ESTRATÉGICOS</a:t>
                  </a:r>
                </a:p>
              </p:txBody>
            </p:sp>
            <p:sp>
              <p:nvSpPr>
                <p:cNvPr id="79909" name="Oval 118"/>
                <p:cNvSpPr>
                  <a:spLocks noChangeArrowheads="1"/>
                </p:cNvSpPr>
                <p:nvPr/>
              </p:nvSpPr>
              <p:spPr bwMode="auto">
                <a:xfrm>
                  <a:off x="3132138" y="5743575"/>
                  <a:ext cx="2879725" cy="504825"/>
                </a:xfrm>
                <a:prstGeom prst="ellipse">
                  <a:avLst/>
                </a:prstGeom>
                <a:noFill/>
                <a:ln w="2222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a typeface="MS PGothic" panose="020B0600070205080204" pitchFamily="34" charset="-128"/>
                  </a:endParaRPr>
                </a:p>
              </p:txBody>
            </p:sp>
          </p:grpSp>
          <p:grpSp>
            <p:nvGrpSpPr>
              <p:cNvPr id="131" name="Group 129"/>
              <p:cNvGrpSpPr>
                <a:grpSpLocks/>
              </p:cNvGrpSpPr>
              <p:nvPr/>
            </p:nvGrpSpPr>
            <p:grpSpPr bwMode="auto">
              <a:xfrm>
                <a:off x="7416445" y="1452559"/>
                <a:ext cx="2524418" cy="645945"/>
                <a:chOff x="3635375" y="5384800"/>
                <a:chExt cx="1944688" cy="431800"/>
              </a:xfrm>
            </p:grpSpPr>
            <p:sp>
              <p:nvSpPr>
                <p:cNvPr id="79906" name="Text Box 106"/>
                <p:cNvSpPr txBox="1">
                  <a:spLocks noChangeArrowheads="1"/>
                </p:cNvSpPr>
                <p:nvPr/>
              </p:nvSpPr>
              <p:spPr bwMode="auto">
                <a:xfrm>
                  <a:off x="3779838" y="5456238"/>
                  <a:ext cx="15279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100">
                      <a:solidFill>
                        <a:srgbClr val="FF0000"/>
                      </a:solidFill>
                      <a:latin typeface="Helvetica" panose="020B0500000000000000" pitchFamily="34" charset="0"/>
                      <a:ea typeface="MS PGothic" panose="020B0600070205080204" pitchFamily="34" charset="-128"/>
                    </a:rPr>
                    <a:t>Pool de Recursos</a:t>
                  </a:r>
                </a:p>
              </p:txBody>
            </p:sp>
            <p:sp>
              <p:nvSpPr>
                <p:cNvPr id="79907" name="Oval 107"/>
                <p:cNvSpPr>
                  <a:spLocks noChangeArrowheads="1"/>
                </p:cNvSpPr>
                <p:nvPr/>
              </p:nvSpPr>
              <p:spPr bwMode="auto">
                <a:xfrm>
                  <a:off x="3635375" y="5384800"/>
                  <a:ext cx="1944688" cy="431800"/>
                </a:xfrm>
                <a:prstGeom prst="ellipse">
                  <a:avLst/>
                </a:prstGeom>
                <a:noFill/>
                <a:ln w="158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a typeface="MS PGothic" panose="020B0600070205080204" pitchFamily="34" charset="-128"/>
                  </a:endParaRPr>
                </a:p>
              </p:txBody>
            </p:sp>
          </p:grpSp>
          <p:cxnSp>
            <p:nvCxnSpPr>
              <p:cNvPr id="3" name="Conector de seta reta 2"/>
              <p:cNvCxnSpPr/>
              <p:nvPr/>
            </p:nvCxnSpPr>
            <p:spPr>
              <a:xfrm flipH="1">
                <a:off x="5435321" y="1759124"/>
                <a:ext cx="198543" cy="43116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380927" y="1512696"/>
                <a:ext cx="1885260" cy="307777"/>
              </a:xfrm>
              <a:prstGeom prst="rect">
                <a:avLst/>
              </a:prstGeom>
              <a:noFill/>
            </p:spPr>
            <p:txBody>
              <a:bodyPr wrap="none" rtlCol="0">
                <a:spAutoFit/>
              </a:bodyPr>
              <a:lstStyle/>
              <a:p>
                <a:r>
                  <a:rPr lang="pt-BR" sz="1400" b="1" dirty="0">
                    <a:latin typeface="+mn-lt"/>
                  </a:rPr>
                  <a:t>Projetos Categorizados</a:t>
                </a:r>
              </a:p>
            </p:txBody>
          </p:sp>
        </p:grpSp>
        <p:sp>
          <p:nvSpPr>
            <p:cNvPr id="7" name="CaixaDeTexto 6"/>
            <p:cNvSpPr txBox="1"/>
            <p:nvPr/>
          </p:nvSpPr>
          <p:spPr>
            <a:xfrm>
              <a:off x="6925930" y="4436812"/>
              <a:ext cx="1215397" cy="307777"/>
            </a:xfrm>
            <a:prstGeom prst="rect">
              <a:avLst/>
            </a:prstGeom>
            <a:noFill/>
          </p:spPr>
          <p:txBody>
            <a:bodyPr wrap="none" rtlCol="0">
              <a:spAutoFit/>
            </a:bodyPr>
            <a:lstStyle/>
            <a:p>
              <a:r>
                <a:rPr lang="pt-BR" sz="1400" dirty="0">
                  <a:latin typeface="+mn-lt"/>
                </a:rPr>
                <a:t>/</a:t>
              </a:r>
              <a:r>
                <a:rPr lang="pt-BR" sz="1400" b="1" dirty="0">
                  <a:latin typeface="+mn-lt"/>
                </a:rPr>
                <a:t>selecionados</a:t>
              </a:r>
            </a:p>
          </p:txBody>
        </p:sp>
      </p:grpSp>
    </p:spTree>
    <p:extLst>
      <p:ext uri="{BB962C8B-B14F-4D97-AF65-F5344CB8AC3E}">
        <p14:creationId xmlns:p14="http://schemas.microsoft.com/office/powerpoint/2010/main" val="5188944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blinds(horizontal)">
                                      <p:cBhvr>
                                        <p:cTn id="7" dur="500"/>
                                        <p:tgtEl>
                                          <p:spTgt spid="7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blinds(horizontal)">
                                      <p:cBhvr>
                                        <p:cTn id="10" dur="500"/>
                                        <p:tgtEl>
                                          <p:spTgt spid="95"/>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linds(horizontal)">
                                      <p:cBhvr>
                                        <p:cTn id="15" dur="500"/>
                                        <p:tgtEl>
                                          <p:spTgt spid="10"/>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blinds(horizontal)">
                                      <p:cBhvr>
                                        <p:cTn id="20" dur="500"/>
                                        <p:tgtEl>
                                          <p:spTgt spid="31"/>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blinds(horizontal)">
                                      <p:cBhvr>
                                        <p:cTn id="25" dur="500"/>
                                        <p:tgtEl>
                                          <p:spTgt spid="73"/>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52"/>
                                        </p:tgtEl>
                                        <p:attrNameLst>
                                          <p:attrName>style.visibility</p:attrName>
                                        </p:attrNameLst>
                                      </p:cBhvr>
                                      <p:to>
                                        <p:strVal val="visible"/>
                                      </p:to>
                                    </p:set>
                                    <p:animEffect transition="in" filter="blinds(horizontal)">
                                      <p:cBhvr>
                                        <p:cTn id="30" dur="500"/>
                                        <p:tgtEl>
                                          <p:spTgt spid="52"/>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3" presetClass="entr" presetSubtype="10" fill="hold" nodeType="click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blinds(horizontal)">
                                      <p:cBhvr>
                                        <p:cTn id="35" dur="500"/>
                                        <p:tgtEl>
                                          <p:spTgt spid="96"/>
                                        </p:tgtEl>
                                      </p:cBhvr>
                                    </p:animEffect>
                                  </p:childTnLst>
                                </p:cTn>
                              </p:par>
                            </p:childTnLst>
                          </p:cTn>
                        </p:par>
                      </p:childTnLst>
                    </p:cTn>
                  </p:par>
                  <p:par>
                    <p:cTn id="36" fill="hold" nodeType="clickPar">
                      <p:stCondLst>
                        <p:cond delay="indefinite"/>
                      </p:stCondLst>
                      <p:childTnLst>
                        <p:par>
                          <p:cTn id="37" fill="hold" nodeType="withGroup">
                            <p:stCondLst>
                              <p:cond delay="0"/>
                            </p:stCondLst>
                            <p:childTnLst>
                              <p:par>
                                <p:cTn id="38" presetID="3" presetClass="entr" presetSubtype="10" fill="hold" nodeType="clickEffect">
                                  <p:stCondLst>
                                    <p:cond delay="0"/>
                                  </p:stCondLst>
                                  <p:childTnLst>
                                    <p:set>
                                      <p:cBhvr>
                                        <p:cTn id="39" dur="1" fill="hold">
                                          <p:stCondLst>
                                            <p:cond delay="0"/>
                                          </p:stCondLst>
                                        </p:cTn>
                                        <p:tgtEl>
                                          <p:spTgt spid="76"/>
                                        </p:tgtEl>
                                        <p:attrNameLst>
                                          <p:attrName>style.visibility</p:attrName>
                                        </p:attrNameLst>
                                      </p:cBhvr>
                                      <p:to>
                                        <p:strVal val="visible"/>
                                      </p:to>
                                    </p:set>
                                    <p:animEffect transition="in" filter="blinds(horizontal)">
                                      <p:cBhvr>
                                        <p:cTn id="40" dur="500"/>
                                        <p:tgtEl>
                                          <p:spTgt spid="76"/>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3" presetClass="entr" presetSubtype="10" fill="hold" nodeType="click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blinds(horizontal)">
                                      <p:cBhvr>
                                        <p:cTn id="45" dur="500"/>
                                        <p:tgtEl>
                                          <p:spTgt spid="13"/>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3" presetClass="entr" presetSubtype="10" fill="hold" nodeType="click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blinds(horizontal)">
                                      <p:cBhvr>
                                        <p:cTn id="50" dur="500"/>
                                        <p:tgtEl>
                                          <p:spTgt spid="55"/>
                                        </p:tgtEl>
                                      </p:cBhvr>
                                    </p:animEffect>
                                  </p:childTnLst>
                                </p:cTn>
                              </p:par>
                            </p:childTnLst>
                          </p:cTn>
                        </p:par>
                      </p:childTnLst>
                    </p:cTn>
                  </p:par>
                  <p:par>
                    <p:cTn id="51" fill="hold" nodeType="clickPar">
                      <p:stCondLst>
                        <p:cond delay="indefinite"/>
                      </p:stCondLst>
                      <p:childTnLst>
                        <p:par>
                          <p:cTn id="52" fill="hold" nodeType="withGroup">
                            <p:stCondLst>
                              <p:cond delay="0"/>
                            </p:stCondLst>
                            <p:childTnLst>
                              <p:par>
                                <p:cTn id="53" presetID="3" presetClass="entr" presetSubtype="10" fill="hold" nodeType="click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blinds(horizontal)">
                                      <p:cBhvr>
                                        <p:cTn id="55" dur="500"/>
                                        <p:tgtEl>
                                          <p:spTgt spid="33"/>
                                        </p:tgtEl>
                                      </p:cBhvr>
                                    </p:animEffect>
                                  </p:childTnLst>
                                </p:cTn>
                              </p:par>
                            </p:childTnLst>
                          </p:cTn>
                        </p:par>
                      </p:childTnLst>
                    </p:cTn>
                  </p:par>
                  <p:par>
                    <p:cTn id="56" fill="hold" nodeType="clickPar">
                      <p:stCondLst>
                        <p:cond delay="indefinite"/>
                      </p:stCondLst>
                      <p:childTnLst>
                        <p:par>
                          <p:cTn id="57" fill="hold" nodeType="withGroup">
                            <p:stCondLst>
                              <p:cond delay="0"/>
                            </p:stCondLst>
                            <p:childTnLst>
                              <p:par>
                                <p:cTn id="58" presetID="3" presetClass="entr" presetSubtype="10" fill="hold" nodeType="clickEffect">
                                  <p:stCondLst>
                                    <p:cond delay="0"/>
                                  </p:stCondLst>
                                  <p:childTnLst>
                                    <p:set>
                                      <p:cBhvr>
                                        <p:cTn id="59" dur="1" fill="hold">
                                          <p:stCondLst>
                                            <p:cond delay="0"/>
                                          </p:stCondLst>
                                        </p:cTn>
                                        <p:tgtEl>
                                          <p:spTgt spid="118"/>
                                        </p:tgtEl>
                                        <p:attrNameLst>
                                          <p:attrName>style.visibility</p:attrName>
                                        </p:attrNameLst>
                                      </p:cBhvr>
                                      <p:to>
                                        <p:strVal val="visible"/>
                                      </p:to>
                                    </p:set>
                                    <p:animEffect transition="in" filter="blinds(horizontal)">
                                      <p:cBhvr>
                                        <p:cTn id="60" dur="500"/>
                                        <p:tgtEl>
                                          <p:spTgt spid="118"/>
                                        </p:tgtEl>
                                      </p:cBhvr>
                                    </p:animEffect>
                                  </p:childTnLst>
                                </p:cTn>
                              </p:par>
                            </p:childTnLst>
                          </p:cTn>
                        </p:par>
                      </p:childTnLst>
                    </p:cTn>
                  </p:par>
                  <p:par>
                    <p:cTn id="61" fill="hold" nodeType="clickPar">
                      <p:stCondLst>
                        <p:cond delay="indefinite"/>
                      </p:stCondLst>
                      <p:childTnLst>
                        <p:par>
                          <p:cTn id="62" fill="hold" nodeType="withGroup">
                            <p:stCondLst>
                              <p:cond delay="0"/>
                            </p:stCondLst>
                            <p:childTnLst>
                              <p:par>
                                <p:cTn id="63" presetID="3" presetClass="entr" presetSubtype="10" fill="hold" nodeType="click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blinds(horizontal)">
                                      <p:cBhvr>
                                        <p:cTn id="65" dur="500"/>
                                        <p:tgtEl>
                                          <p:spTgt spid="122"/>
                                        </p:tgtEl>
                                      </p:cBhvr>
                                    </p:animEffect>
                                  </p:childTnLst>
                                </p:cTn>
                              </p:par>
                            </p:childTnLst>
                          </p:cTn>
                        </p:par>
                      </p:childTnLst>
                    </p:cTn>
                  </p:par>
                  <p:par>
                    <p:cTn id="66" fill="hold" nodeType="clickPar">
                      <p:stCondLst>
                        <p:cond delay="indefinite"/>
                      </p:stCondLst>
                      <p:childTnLst>
                        <p:par>
                          <p:cTn id="67" fill="hold" nodeType="withGroup">
                            <p:stCondLst>
                              <p:cond delay="0"/>
                            </p:stCondLst>
                            <p:childTnLst>
                              <p:par>
                                <p:cTn id="68" presetID="3" presetClass="entr" presetSubtype="10" fill="hold" nodeType="clickEffect">
                                  <p:stCondLst>
                                    <p:cond delay="0"/>
                                  </p:stCondLst>
                                  <p:childTnLst>
                                    <p:set>
                                      <p:cBhvr>
                                        <p:cTn id="69" dur="1" fill="hold">
                                          <p:stCondLst>
                                            <p:cond delay="0"/>
                                          </p:stCondLst>
                                        </p:cTn>
                                        <p:tgtEl>
                                          <p:spTgt spid="134"/>
                                        </p:tgtEl>
                                        <p:attrNameLst>
                                          <p:attrName>style.visibility</p:attrName>
                                        </p:attrNameLst>
                                      </p:cBhvr>
                                      <p:to>
                                        <p:strVal val="visible"/>
                                      </p:to>
                                    </p:set>
                                    <p:animEffect transition="in" filter="blinds(horizontal)">
                                      <p:cBhvr>
                                        <p:cTn id="70"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1" grpId="0" animBg="1"/>
      <p:bldP spid="52" grpId="0" animBg="1"/>
      <p:bldP spid="73" grpId="0" animBg="1"/>
      <p:bldP spid="75" grpId="0" animBg="1"/>
      <p:bldP spid="9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CaixaDeTexto 190"/>
          <p:cNvSpPr txBox="1">
            <a:spLocks noChangeArrowheads="1"/>
          </p:cNvSpPr>
          <p:nvPr/>
        </p:nvSpPr>
        <p:spPr bwMode="auto">
          <a:xfrm>
            <a:off x="0" y="173832"/>
            <a:ext cx="1242060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700" b="1" dirty="0">
                <a:solidFill>
                  <a:schemeClr val="tx1"/>
                </a:solidFill>
                <a:latin typeface="Arial" panose="020B0604020202020204" pitchFamily="34" charset="0"/>
              </a:rPr>
              <a:t>Contexto Organizacional do Gerenciamento de Portfolio</a:t>
            </a:r>
          </a:p>
        </p:txBody>
      </p:sp>
      <p:pic>
        <p:nvPicPr>
          <p:cNvPr id="8089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831132"/>
            <a:ext cx="13105456" cy="7832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08511434"/>
      </p:ext>
    </p:extLst>
  </p:cSld>
  <p:clrMapOvr>
    <a:masterClrMapping/>
  </p:clrMapOvr>
  <p:transition>
    <p:strips dir="rd"/>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84511"/>
            <a:ext cx="13147363" cy="773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947" name="Retângulo 1"/>
          <p:cNvSpPr>
            <a:spLocks noChangeArrowheads="1"/>
          </p:cNvSpPr>
          <p:nvPr/>
        </p:nvSpPr>
        <p:spPr bwMode="auto">
          <a:xfrm>
            <a:off x="1" y="1"/>
            <a:ext cx="1125048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400" dirty="0">
                <a:solidFill>
                  <a:schemeClr val="tx1"/>
                </a:solidFill>
                <a:latin typeface="Arial" panose="020B0604020202020204" pitchFamily="34" charset="0"/>
              </a:rPr>
              <a:t>Relacionamento dos Processos de </a:t>
            </a:r>
          </a:p>
          <a:p>
            <a:pPr algn="ctr">
              <a:spcBef>
                <a:spcPct val="0"/>
              </a:spcBef>
              <a:buFontTx/>
              <a:buNone/>
            </a:pPr>
            <a:r>
              <a:rPr lang="pt-BR" altLang="pt-BR" sz="2400" dirty="0">
                <a:solidFill>
                  <a:schemeClr val="tx1"/>
                </a:solidFill>
                <a:latin typeface="Arial" panose="020B0604020202020204" pitchFamily="34" charset="0"/>
              </a:rPr>
              <a:t>Gerenciamento de Portfólio com a Gestão Organizacional</a:t>
            </a:r>
          </a:p>
        </p:txBody>
      </p:sp>
      <p:sp>
        <p:nvSpPr>
          <p:cNvPr id="82948" name="Retângulo 3"/>
          <p:cNvSpPr>
            <a:spLocks noChangeArrowheads="1"/>
          </p:cNvSpPr>
          <p:nvPr/>
        </p:nvSpPr>
        <p:spPr bwMode="auto">
          <a:xfrm>
            <a:off x="443861" y="8820846"/>
            <a:ext cx="1213286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800" dirty="0">
                <a:solidFill>
                  <a:srgbClr val="333333"/>
                </a:solidFill>
                <a:latin typeface="Calibri" panose="020F0502020204030204" pitchFamily="34" charset="0"/>
              </a:rPr>
              <a:t>A </a:t>
            </a:r>
            <a:r>
              <a:rPr lang="pt-BR" altLang="pt-BR" sz="1800" dirty="0">
                <a:solidFill>
                  <a:srgbClr val="FF0000"/>
                </a:solidFill>
                <a:latin typeface="Calibri" panose="020F0502020204030204" pitchFamily="34" charset="0"/>
              </a:rPr>
              <a:t>gestão de portfólio </a:t>
            </a:r>
            <a:r>
              <a:rPr lang="pt-BR" altLang="pt-BR" sz="1800" dirty="0">
                <a:solidFill>
                  <a:srgbClr val="333333"/>
                </a:solidFill>
                <a:latin typeface="Calibri" panose="020F0502020204030204" pitchFamily="34" charset="0"/>
              </a:rPr>
              <a:t>implica na </a:t>
            </a:r>
            <a:r>
              <a:rPr lang="pt-BR" altLang="pt-BR" sz="1800" dirty="0">
                <a:solidFill>
                  <a:srgbClr val="FF0000"/>
                </a:solidFill>
                <a:latin typeface="Calibri" panose="020F0502020204030204" pitchFamily="34" charset="0"/>
              </a:rPr>
              <a:t>mudança da cultura de gestão da organização</a:t>
            </a:r>
            <a:r>
              <a:rPr lang="pt-BR" altLang="pt-BR" sz="1800" dirty="0">
                <a:solidFill>
                  <a:srgbClr val="333333"/>
                </a:solidFill>
                <a:latin typeface="Calibri" panose="020F0502020204030204" pitchFamily="34" charset="0"/>
              </a:rPr>
              <a:t>, de acelerar a priorização e </a:t>
            </a:r>
            <a:r>
              <a:rPr lang="pt-BR" altLang="pt-BR" sz="1800" dirty="0" err="1">
                <a:solidFill>
                  <a:srgbClr val="333333"/>
                </a:solidFill>
                <a:latin typeface="Calibri" panose="020F0502020204030204" pitchFamily="34" charset="0"/>
              </a:rPr>
              <a:t>repriorização</a:t>
            </a:r>
            <a:r>
              <a:rPr lang="pt-BR" altLang="pt-BR" sz="1800" dirty="0">
                <a:solidFill>
                  <a:srgbClr val="333333"/>
                </a:solidFill>
                <a:latin typeface="Calibri" panose="020F0502020204030204" pitchFamily="34" charset="0"/>
              </a:rPr>
              <a:t>, de conviver com a mudança e entende-la como uma coisa normal. Isto implica em </a:t>
            </a:r>
            <a:r>
              <a:rPr lang="pt-BR" altLang="pt-BR" sz="1800" dirty="0">
                <a:solidFill>
                  <a:srgbClr val="FF0000"/>
                </a:solidFill>
                <a:latin typeface="Calibri" panose="020F0502020204030204" pitchFamily="34" charset="0"/>
              </a:rPr>
              <a:t>descontinuar projetos e processos </a:t>
            </a:r>
            <a:r>
              <a:rPr lang="pt-BR" altLang="pt-BR" sz="1800" dirty="0">
                <a:solidFill>
                  <a:srgbClr val="333333"/>
                </a:solidFill>
                <a:latin typeface="Calibri" panose="020F0502020204030204" pitchFamily="34" charset="0"/>
              </a:rPr>
              <a:t>(aos quais as pessoas se apegam para preservar seus cargos e funções, nunca se esqueça disto) para </a:t>
            </a:r>
            <a:r>
              <a:rPr lang="pt-BR" altLang="pt-BR" sz="1800" dirty="0">
                <a:solidFill>
                  <a:srgbClr val="FF0000"/>
                </a:solidFill>
                <a:latin typeface="Calibri" panose="020F0502020204030204" pitchFamily="34" charset="0"/>
              </a:rPr>
              <a:t>dar espaço a novos projetos e processos.</a:t>
            </a:r>
          </a:p>
        </p:txBody>
      </p:sp>
    </p:spTree>
    <p:custDataLst>
      <p:tags r:id="rId1"/>
    </p:custDataLst>
    <p:extLst>
      <p:ext uri="{BB962C8B-B14F-4D97-AF65-F5344CB8AC3E}">
        <p14:creationId xmlns:p14="http://schemas.microsoft.com/office/powerpoint/2010/main" val="2589874118"/>
      </p:ext>
    </p:extLst>
  </p:cSld>
  <p:clrMapOvr>
    <a:masterClrMapping/>
  </p:clrMapOvr>
  <p:transition>
    <p:strips dir="rd"/>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4020" y="1362075"/>
            <a:ext cx="10741818" cy="853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1" name="Rectangle 30"/>
          <p:cNvSpPr>
            <a:spLocks noGrp="1" noChangeArrowheads="1"/>
          </p:cNvSpPr>
          <p:nvPr>
            <p:ph type="title" idx="4294967295"/>
          </p:nvPr>
        </p:nvSpPr>
        <p:spPr bwMode="auto">
          <a:xfrm>
            <a:off x="377280" y="246956"/>
            <a:ext cx="11418095" cy="747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lstStyle/>
          <a:p>
            <a:pPr algn="l" eaLnBrk="1" hangingPunct="1"/>
            <a:r>
              <a:rPr lang="pt-BR" altLang="pt-BR" sz="2850" dirty="0">
                <a:latin typeface="Arial" panose="020B0604020202020204" pitchFamily="34" charset="0"/>
              </a:rPr>
              <a:t>Governança Organizacional em empresas de alta Maturidade</a:t>
            </a:r>
          </a:p>
        </p:txBody>
      </p:sp>
    </p:spTree>
    <p:custDataLst>
      <p:tags r:id="rId1"/>
    </p:custDataLst>
    <p:extLst>
      <p:ext uri="{BB962C8B-B14F-4D97-AF65-F5344CB8AC3E}">
        <p14:creationId xmlns:p14="http://schemas.microsoft.com/office/powerpoint/2010/main" val="2763968691"/>
      </p:ext>
    </p:extLst>
  </p:cSld>
  <p:clrMapOvr>
    <a:masterClrMapping/>
  </p:clrMapOvr>
  <p:transition>
    <p:strips dir="rd"/>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
          <p:cNvSpPr>
            <a:spLocks noChangeArrowheads="1"/>
          </p:cNvSpPr>
          <p:nvPr/>
        </p:nvSpPr>
        <p:spPr bwMode="auto">
          <a:xfrm>
            <a:off x="0" y="21432"/>
            <a:ext cx="11991975" cy="895350"/>
          </a:xfrm>
          <a:prstGeom prst="rect">
            <a:avLst/>
          </a:prstGeom>
          <a:noFill/>
          <a:ln>
            <a:noFill/>
          </a:ln>
        </p:spPr>
        <p:txBody>
          <a:bodyPr anchor="ct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ctr" eaLnBrk="1" hangingPunct="1">
              <a:defRPr/>
            </a:pPr>
            <a:r>
              <a:rPr lang="pt-BR" altLang="pt-BR" sz="3047" dirty="0">
                <a:solidFill>
                  <a:schemeClr val="bg1"/>
                </a:solidFill>
                <a:latin typeface="Helvetica" panose="020B0604020202020204" pitchFamily="34" charset="0"/>
              </a:rPr>
              <a:t>Os </a:t>
            </a:r>
            <a:r>
              <a:rPr lang="pt-BR" altLang="pt-BR" sz="3047" dirty="0">
                <a:solidFill>
                  <a:schemeClr val="tx1"/>
                </a:solidFill>
                <a:latin typeface="Helvetica" panose="020B0604020202020204" pitchFamily="34" charset="0"/>
              </a:rPr>
              <a:t>Processos do Gerenciamento de Portfólio</a:t>
            </a:r>
          </a:p>
        </p:txBody>
      </p:sp>
      <p:pic>
        <p:nvPicPr>
          <p:cNvPr id="84995" name="Picture 38"/>
          <p:cNvPicPr>
            <a:picLocks noChangeAspect="1" noChangeArrowheads="1"/>
          </p:cNvPicPr>
          <p:nvPr/>
        </p:nvPicPr>
        <p:blipFill>
          <a:blip r:embed="rId4">
            <a:extLst>
              <a:ext uri="{28A0092B-C50C-407E-A947-70E740481C1C}">
                <a14:useLocalDpi xmlns:a14="http://schemas.microsoft.com/office/drawing/2010/main" val="0"/>
              </a:ext>
            </a:extLst>
          </a:blip>
          <a:srcRect l="23161" t="24121" r="23865" b="8273"/>
          <a:stretch>
            <a:fillRect/>
          </a:stretch>
        </p:blipFill>
        <p:spPr bwMode="auto">
          <a:xfrm>
            <a:off x="1026320" y="1595438"/>
            <a:ext cx="11346656" cy="8141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0" name="CaixaDeTexto 14"/>
          <p:cNvSpPr txBox="1">
            <a:spLocks noChangeArrowheads="1"/>
          </p:cNvSpPr>
          <p:nvPr/>
        </p:nvSpPr>
        <p:spPr bwMode="auto">
          <a:xfrm>
            <a:off x="6414936" y="9248775"/>
            <a:ext cx="5767540" cy="390556"/>
          </a:xfrm>
          <a:prstGeom prst="rect">
            <a:avLst/>
          </a:prstGeom>
          <a:noFill/>
          <a:ln>
            <a:noFill/>
          </a:ln>
        </p:spPr>
        <p:txBody>
          <a:bodyPr wrap="none">
            <a:spAutoFit/>
          </a:bodyPr>
          <a:lstStyle>
            <a:lvl1pPr>
              <a:defRPr sz="1500">
                <a:solidFill>
                  <a:srgbClr val="000000"/>
                </a:solidFill>
                <a:latin typeface="Tahoma" panose="020B0604030504040204" pitchFamily="34" charset="0"/>
                <a:cs typeface="Arial" panose="020B0604020202020204" pitchFamily="34" charset="0"/>
              </a:defRPr>
            </a:lvl1pPr>
            <a:lvl2pPr marL="742950" indent="-285750">
              <a:defRPr sz="1500">
                <a:solidFill>
                  <a:srgbClr val="000000"/>
                </a:solidFill>
                <a:latin typeface="Tahoma" panose="020B0604030504040204" pitchFamily="34" charset="0"/>
                <a:cs typeface="Arial" panose="020B0604020202020204" pitchFamily="34" charset="0"/>
              </a:defRPr>
            </a:lvl2pPr>
            <a:lvl3pPr marL="1143000" indent="-228600">
              <a:defRPr sz="1500">
                <a:solidFill>
                  <a:srgbClr val="000000"/>
                </a:solidFill>
                <a:latin typeface="Tahoma" panose="020B0604030504040204" pitchFamily="34" charset="0"/>
                <a:cs typeface="Arial" panose="020B0604020202020204" pitchFamily="34" charset="0"/>
              </a:defRPr>
            </a:lvl3pPr>
            <a:lvl4pPr marL="1600200" indent="-228600">
              <a:defRPr sz="1500">
                <a:solidFill>
                  <a:srgbClr val="000000"/>
                </a:solidFill>
                <a:latin typeface="Tahoma" panose="020B0604030504040204" pitchFamily="34" charset="0"/>
                <a:cs typeface="Arial" panose="020B0604020202020204" pitchFamily="34" charset="0"/>
              </a:defRPr>
            </a:lvl4pPr>
            <a:lvl5pPr marL="2057400" indent="-228600">
              <a:defRPr sz="1500">
                <a:solidFill>
                  <a:srgbClr val="000000"/>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1500">
                <a:solidFill>
                  <a:srgbClr val="000000"/>
                </a:solidFill>
                <a:latin typeface="Tahoma" panose="020B0604030504040204" pitchFamily="34" charset="0"/>
                <a:cs typeface="Arial" panose="020B0604020202020204" pitchFamily="34" charset="0"/>
              </a:defRPr>
            </a:lvl9pPr>
          </a:lstStyle>
          <a:p>
            <a:pPr algn="r" eaLnBrk="1" hangingPunct="1">
              <a:defRPr/>
            </a:pPr>
            <a:r>
              <a:rPr lang="pt-BR" altLang="pt-BR" sz="1938" dirty="0">
                <a:solidFill>
                  <a:srgbClr val="0D0D0D"/>
                </a:solidFill>
              </a:rPr>
              <a:t>Fonte: </a:t>
            </a:r>
            <a:r>
              <a:rPr lang="en-US" altLang="pt-BR" sz="1938" dirty="0"/>
              <a:t>The Standard of Portfolio Management, PMI</a:t>
            </a:r>
            <a:endParaRPr lang="pt-BR" altLang="pt-BR" sz="1938" dirty="0">
              <a:solidFill>
                <a:srgbClr val="0D0D0D"/>
              </a:solidFill>
            </a:endParaRPr>
          </a:p>
        </p:txBody>
      </p:sp>
    </p:spTree>
    <p:custDataLst>
      <p:tags r:id="rId1"/>
    </p:custDataLst>
    <p:extLst>
      <p:ext uri="{BB962C8B-B14F-4D97-AF65-F5344CB8AC3E}">
        <p14:creationId xmlns:p14="http://schemas.microsoft.com/office/powerpoint/2010/main" val="4154808059"/>
      </p:ext>
    </p:extLst>
  </p:cSld>
  <p:clrMapOvr>
    <a:masterClrMapping/>
  </p:clrMapOvr>
  <p:transition>
    <p:strips dir="rd"/>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597350" y="2860537"/>
            <a:ext cx="4829636" cy="4829636"/>
          </a:xfrm>
          <a:prstGeom prst="ellipse">
            <a:avLst/>
          </a:prstGeom>
          <a:solidFill>
            <a:schemeClr val="bg1"/>
          </a:solidFill>
          <a:ln w="38100">
            <a:solidFill>
              <a:srgbClr val="20D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tx1"/>
              </a:solidFill>
            </a:endParaRPr>
          </a:p>
        </p:txBody>
      </p:sp>
      <p:sp>
        <p:nvSpPr>
          <p:cNvPr id="15" name="Oval 14"/>
          <p:cNvSpPr/>
          <p:nvPr/>
        </p:nvSpPr>
        <p:spPr>
          <a:xfrm>
            <a:off x="2039654" y="4306048"/>
            <a:ext cx="1938614" cy="1938614"/>
          </a:xfrm>
          <a:prstGeom prst="ellipse">
            <a:avLst/>
          </a:prstGeom>
          <a:solidFill>
            <a:schemeClr val="bg1"/>
          </a:solidFill>
          <a:ln w="38100">
            <a:solidFill>
              <a:srgbClr val="20D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Text Placeholder 1"/>
          <p:cNvSpPr>
            <a:spLocks noGrp="1"/>
          </p:cNvSpPr>
          <p:nvPr>
            <p:ph type="body" sz="quarter" idx="11"/>
          </p:nvPr>
        </p:nvSpPr>
        <p:spPr>
          <a:xfrm>
            <a:off x="734697" y="768349"/>
            <a:ext cx="12496010" cy="486053"/>
          </a:xfrm>
        </p:spPr>
        <p:txBody>
          <a:bodyPr/>
          <a:lstStyle/>
          <a:p>
            <a:r>
              <a:rPr lang="pt-BR" sz="3600" b="0" dirty="0">
                <a:solidFill>
                  <a:schemeClr val="tx1"/>
                </a:solidFill>
                <a:latin typeface="Arial" panose="020B0604020202020204" pitchFamily="34" charset="0"/>
              </a:rPr>
              <a:t>Relação </a:t>
            </a:r>
            <a:r>
              <a:rPr lang="pt-BR" sz="3600" b="0" dirty="0">
                <a:solidFill>
                  <a:schemeClr val="tx1"/>
                </a:solidFill>
                <a:latin typeface="Arial" panose="020B0604020202020204" pitchFamily="34" charset="0"/>
                <a:sym typeface="Wingdings" panose="05000000000000000000" pitchFamily="2" charset="2"/>
              </a:rPr>
              <a:t></a:t>
            </a:r>
            <a:r>
              <a:rPr lang="pt-BR" sz="3600" b="0" dirty="0">
                <a:solidFill>
                  <a:schemeClr val="tx1"/>
                </a:solidFill>
                <a:latin typeface="Arial" panose="020B0604020202020204" pitchFamily="34" charset="0"/>
              </a:rPr>
              <a:t> PMO Corporativo – Governança Organizacional</a:t>
            </a:r>
          </a:p>
        </p:txBody>
      </p:sp>
      <p:sp>
        <p:nvSpPr>
          <p:cNvPr id="4" name="Text Placeholder 2"/>
          <p:cNvSpPr>
            <a:spLocks noGrp="1"/>
          </p:cNvSpPr>
          <p:nvPr>
            <p:ph type="body" sz="quarter" idx="13"/>
          </p:nvPr>
        </p:nvSpPr>
        <p:spPr>
          <a:xfrm>
            <a:off x="734697" y="2513110"/>
            <a:ext cx="12036959" cy="6194786"/>
          </a:xfrm>
        </p:spPr>
        <p:txBody>
          <a:bodyPr anchor="b">
            <a:normAutofit/>
          </a:bodyPr>
          <a:lstStyle/>
          <a:p>
            <a:pPr marL="0" indent="0">
              <a:lnSpc>
                <a:spcPts val="3000"/>
              </a:lnSpc>
              <a:buNone/>
            </a:pPr>
            <a:r>
              <a:rPr lang="pt-BR" sz="2250" b="1" dirty="0"/>
              <a:t> </a:t>
            </a:r>
            <a:endParaRPr lang="pt-BR" sz="2250" dirty="0"/>
          </a:p>
        </p:txBody>
      </p:sp>
      <p:sp>
        <p:nvSpPr>
          <p:cNvPr id="7" name="Rounded Rectangle 6"/>
          <p:cNvSpPr/>
          <p:nvPr/>
        </p:nvSpPr>
        <p:spPr>
          <a:xfrm>
            <a:off x="1160639" y="3276730"/>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categorizar</a:t>
            </a:r>
          </a:p>
        </p:txBody>
      </p:sp>
      <p:sp>
        <p:nvSpPr>
          <p:cNvPr id="8" name="Rounded Rectangle 7"/>
          <p:cNvSpPr/>
          <p:nvPr/>
        </p:nvSpPr>
        <p:spPr>
          <a:xfrm>
            <a:off x="3075861" y="3748441"/>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Identificar</a:t>
            </a:r>
          </a:p>
        </p:txBody>
      </p:sp>
      <p:sp>
        <p:nvSpPr>
          <p:cNvPr id="9" name="Rounded Rectangle 8"/>
          <p:cNvSpPr/>
          <p:nvPr/>
        </p:nvSpPr>
        <p:spPr>
          <a:xfrm>
            <a:off x="264622" y="5370895"/>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priorizar</a:t>
            </a:r>
          </a:p>
        </p:txBody>
      </p:sp>
      <p:sp>
        <p:nvSpPr>
          <p:cNvPr id="10" name="Rounded Rectangle 9"/>
          <p:cNvSpPr/>
          <p:nvPr/>
        </p:nvSpPr>
        <p:spPr>
          <a:xfrm>
            <a:off x="889116" y="6204136"/>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balancear</a:t>
            </a:r>
          </a:p>
        </p:txBody>
      </p:sp>
      <p:sp>
        <p:nvSpPr>
          <p:cNvPr id="11" name="Rounded Rectangle 10"/>
          <p:cNvSpPr/>
          <p:nvPr/>
        </p:nvSpPr>
        <p:spPr>
          <a:xfrm>
            <a:off x="2967761" y="6188260"/>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planejar</a:t>
            </a:r>
          </a:p>
        </p:txBody>
      </p:sp>
      <p:sp>
        <p:nvSpPr>
          <p:cNvPr id="17" name="Oval 16"/>
          <p:cNvSpPr/>
          <p:nvPr/>
        </p:nvSpPr>
        <p:spPr>
          <a:xfrm>
            <a:off x="7942021" y="2860537"/>
            <a:ext cx="4829636" cy="4829636"/>
          </a:xfrm>
          <a:prstGeom prst="ellipse">
            <a:avLst/>
          </a:prstGeom>
          <a:solidFill>
            <a:schemeClr val="bg1"/>
          </a:solidFill>
          <a:ln w="38100">
            <a:solidFill>
              <a:srgbClr val="535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Oval 17"/>
          <p:cNvSpPr/>
          <p:nvPr/>
        </p:nvSpPr>
        <p:spPr>
          <a:xfrm>
            <a:off x="9384325" y="4306048"/>
            <a:ext cx="1938614" cy="1938614"/>
          </a:xfrm>
          <a:prstGeom prst="ellipse">
            <a:avLst/>
          </a:prstGeom>
          <a:solidFill>
            <a:schemeClr val="bg1"/>
          </a:solidFill>
          <a:ln w="38100">
            <a:solidFill>
              <a:srgbClr val="535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0" name="Rounded Rectangle 19"/>
          <p:cNvSpPr/>
          <p:nvPr/>
        </p:nvSpPr>
        <p:spPr>
          <a:xfrm>
            <a:off x="8199174" y="4059634"/>
            <a:ext cx="159938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controle gerencial</a:t>
            </a:r>
          </a:p>
        </p:txBody>
      </p:sp>
      <p:sp>
        <p:nvSpPr>
          <p:cNvPr id="21" name="Rounded Rectangle 20"/>
          <p:cNvSpPr/>
          <p:nvPr/>
        </p:nvSpPr>
        <p:spPr>
          <a:xfrm>
            <a:off x="9224773" y="3213966"/>
            <a:ext cx="1631660"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gestão de benefícios</a:t>
            </a:r>
          </a:p>
        </p:txBody>
      </p:sp>
      <p:sp>
        <p:nvSpPr>
          <p:cNvPr id="22" name="Rounded Rectangle 21"/>
          <p:cNvSpPr/>
          <p:nvPr/>
        </p:nvSpPr>
        <p:spPr>
          <a:xfrm>
            <a:off x="11191893" y="5664015"/>
            <a:ext cx="1408034"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gestão de recursos</a:t>
            </a:r>
          </a:p>
        </p:txBody>
      </p:sp>
      <p:sp>
        <p:nvSpPr>
          <p:cNvPr id="23" name="Rounded Rectangle 22"/>
          <p:cNvSpPr/>
          <p:nvPr/>
        </p:nvSpPr>
        <p:spPr>
          <a:xfrm>
            <a:off x="8107337" y="6095265"/>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Visibilidade organizacional</a:t>
            </a:r>
          </a:p>
        </p:txBody>
      </p:sp>
      <p:sp>
        <p:nvSpPr>
          <p:cNvPr id="24" name="Rounded Rectangle 23"/>
          <p:cNvSpPr/>
          <p:nvPr/>
        </p:nvSpPr>
        <p:spPr>
          <a:xfrm>
            <a:off x="9918130" y="6555808"/>
            <a:ext cx="2039651"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engajamento de </a:t>
            </a:r>
            <a:r>
              <a:rPr lang="pt-BR" sz="2250" i="1" dirty="0">
                <a:solidFill>
                  <a:schemeClr val="tx1"/>
                </a:solidFill>
              </a:rPr>
              <a:t>stakeholders</a:t>
            </a:r>
          </a:p>
        </p:txBody>
      </p:sp>
      <p:sp>
        <p:nvSpPr>
          <p:cNvPr id="12" name="Rounded Rectangle 11"/>
          <p:cNvSpPr/>
          <p:nvPr/>
        </p:nvSpPr>
        <p:spPr>
          <a:xfrm>
            <a:off x="5043607" y="4450750"/>
            <a:ext cx="3286334" cy="1333370"/>
          </a:xfrm>
          <a:prstGeom prst="roundRect">
            <a:avLst/>
          </a:prstGeom>
          <a:solidFill>
            <a:schemeClr val="bg1"/>
          </a:solidFill>
          <a:ln w="38100">
            <a:solidFill>
              <a:srgbClr val="FF97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700" dirty="0">
                <a:solidFill>
                  <a:schemeClr val="tx1"/>
                </a:solidFill>
              </a:rPr>
              <a:t>energia </a:t>
            </a:r>
          </a:p>
          <a:p>
            <a:pPr algn="ctr"/>
            <a:r>
              <a:rPr lang="pt-BR" sz="2700" dirty="0">
                <a:solidFill>
                  <a:schemeClr val="tx1"/>
                </a:solidFill>
              </a:rPr>
              <a:t>organizacional</a:t>
            </a:r>
          </a:p>
        </p:txBody>
      </p:sp>
      <p:sp>
        <p:nvSpPr>
          <p:cNvPr id="25" name="Rounded Rectangle 24"/>
          <p:cNvSpPr/>
          <p:nvPr/>
        </p:nvSpPr>
        <p:spPr>
          <a:xfrm>
            <a:off x="1496411" y="2335188"/>
            <a:ext cx="3025100"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b="1" dirty="0">
                <a:solidFill>
                  <a:schemeClr val="tx1"/>
                </a:solidFill>
              </a:rPr>
              <a:t>definição de portfólio</a:t>
            </a:r>
          </a:p>
        </p:txBody>
      </p:sp>
      <p:sp>
        <p:nvSpPr>
          <p:cNvPr id="26" name="Rounded Rectangle 25"/>
          <p:cNvSpPr/>
          <p:nvPr/>
        </p:nvSpPr>
        <p:spPr>
          <a:xfrm>
            <a:off x="8841082" y="2335188"/>
            <a:ext cx="3025100"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b="1" dirty="0">
                <a:solidFill>
                  <a:schemeClr val="tx1"/>
                </a:solidFill>
              </a:rPr>
              <a:t>entrega de portfólio</a:t>
            </a:r>
          </a:p>
        </p:txBody>
      </p:sp>
      <p:sp>
        <p:nvSpPr>
          <p:cNvPr id="27" name="Rounded Rectangle 26"/>
          <p:cNvSpPr/>
          <p:nvPr/>
        </p:nvSpPr>
        <p:spPr>
          <a:xfrm>
            <a:off x="10671739" y="3664812"/>
            <a:ext cx="1631660"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gestão financeira</a:t>
            </a:r>
          </a:p>
        </p:txBody>
      </p:sp>
      <p:sp>
        <p:nvSpPr>
          <p:cNvPr id="28" name="Rounded Rectangle 27"/>
          <p:cNvSpPr/>
          <p:nvPr/>
        </p:nvSpPr>
        <p:spPr>
          <a:xfrm>
            <a:off x="11167439" y="4664413"/>
            <a:ext cx="1631660"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gestão de risco</a:t>
            </a:r>
          </a:p>
        </p:txBody>
      </p:sp>
      <p:sp>
        <p:nvSpPr>
          <p:cNvPr id="16" name="Triangle 15"/>
          <p:cNvSpPr/>
          <p:nvPr/>
        </p:nvSpPr>
        <p:spPr>
          <a:xfrm rot="2324323">
            <a:off x="3747671" y="4888982"/>
            <a:ext cx="2424147" cy="1228905"/>
          </a:xfrm>
          <a:prstGeom prst="triangle">
            <a:avLst/>
          </a:prstGeom>
          <a:solidFill>
            <a:schemeClr val="bg1"/>
          </a:solidFill>
          <a:ln w="38100">
            <a:solidFill>
              <a:srgbClr val="20D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9" name="Triangle 18"/>
          <p:cNvSpPr/>
          <p:nvPr/>
        </p:nvSpPr>
        <p:spPr>
          <a:xfrm rot="19190964">
            <a:off x="7179419" y="4805498"/>
            <a:ext cx="2424147" cy="1228905"/>
          </a:xfrm>
          <a:prstGeom prst="triangle">
            <a:avLst/>
          </a:prstGeom>
          <a:solidFill>
            <a:schemeClr val="bg1"/>
          </a:solidFill>
          <a:ln w="38100">
            <a:solidFill>
              <a:srgbClr val="535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Rounded Rectangle 6">
            <a:extLst>
              <a:ext uri="{FF2B5EF4-FFF2-40B4-BE49-F238E27FC236}">
                <a16:creationId xmlns:a16="http://schemas.microsoft.com/office/drawing/2014/main" id="{A4E8934F-951B-4C2A-8EC0-F3AD444D2585}"/>
              </a:ext>
            </a:extLst>
          </p:cNvPr>
          <p:cNvSpPr/>
          <p:nvPr/>
        </p:nvSpPr>
        <p:spPr>
          <a:xfrm>
            <a:off x="413624" y="4145252"/>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avaliar</a:t>
            </a:r>
          </a:p>
        </p:txBody>
      </p:sp>
      <p:sp>
        <p:nvSpPr>
          <p:cNvPr id="30" name="Rounded Rectangle 9">
            <a:extLst>
              <a:ext uri="{FF2B5EF4-FFF2-40B4-BE49-F238E27FC236}">
                <a16:creationId xmlns:a16="http://schemas.microsoft.com/office/drawing/2014/main" id="{0D351C3D-C27D-4970-82D4-BC9635C7FEEB}"/>
              </a:ext>
            </a:extLst>
          </p:cNvPr>
          <p:cNvSpPr/>
          <p:nvPr/>
        </p:nvSpPr>
        <p:spPr>
          <a:xfrm>
            <a:off x="1758220" y="6802269"/>
            <a:ext cx="2197678" cy="5922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250" dirty="0">
                <a:solidFill>
                  <a:schemeClr val="tx1"/>
                </a:solidFill>
              </a:rPr>
              <a:t>autorizar</a:t>
            </a:r>
          </a:p>
        </p:txBody>
      </p:sp>
      <p:sp>
        <p:nvSpPr>
          <p:cNvPr id="31" name="CaixaDeTexto 30">
            <a:extLst>
              <a:ext uri="{FF2B5EF4-FFF2-40B4-BE49-F238E27FC236}">
                <a16:creationId xmlns:a16="http://schemas.microsoft.com/office/drawing/2014/main" id="{AA93BAB6-DA3C-4455-B0B0-D56F7C8DE034}"/>
              </a:ext>
            </a:extLst>
          </p:cNvPr>
          <p:cNvSpPr txBox="1"/>
          <p:nvPr/>
        </p:nvSpPr>
        <p:spPr>
          <a:xfrm>
            <a:off x="2039653" y="4913166"/>
            <a:ext cx="1590158" cy="792525"/>
          </a:xfrm>
          <a:prstGeom prst="rect">
            <a:avLst/>
          </a:prstGeom>
          <a:noFill/>
        </p:spPr>
        <p:txBody>
          <a:bodyPr wrap="square">
            <a:spAutoFit/>
          </a:bodyPr>
          <a:lstStyle/>
          <a:p>
            <a:pPr algn="ctr"/>
            <a:r>
              <a:rPr lang="pt-BR" sz="1600" dirty="0">
                <a:latin typeface="Verdana" pitchFamily="34" charset="0"/>
              </a:rPr>
              <a:t>Reportar e Acompanhar</a:t>
            </a:r>
          </a:p>
          <a:p>
            <a:r>
              <a:rPr lang="pt-BR" sz="1350" dirty="0">
                <a:latin typeface="Verdana" pitchFamily="34" charset="0"/>
              </a:rPr>
              <a:t> </a:t>
            </a:r>
            <a:endParaRPr lang="pt-BR" dirty="0"/>
          </a:p>
        </p:txBody>
      </p:sp>
      <p:sp>
        <p:nvSpPr>
          <p:cNvPr id="32" name="CaixaDeTexto 31">
            <a:extLst>
              <a:ext uri="{FF2B5EF4-FFF2-40B4-BE49-F238E27FC236}">
                <a16:creationId xmlns:a16="http://schemas.microsoft.com/office/drawing/2014/main" id="{A03A68A8-D708-460E-8EB2-DA85E132A4D7}"/>
              </a:ext>
            </a:extLst>
          </p:cNvPr>
          <p:cNvSpPr txBox="1"/>
          <p:nvPr/>
        </p:nvSpPr>
        <p:spPr>
          <a:xfrm>
            <a:off x="9598078" y="4839016"/>
            <a:ext cx="1590158" cy="1131079"/>
          </a:xfrm>
          <a:prstGeom prst="rect">
            <a:avLst/>
          </a:prstGeom>
          <a:noFill/>
        </p:spPr>
        <p:txBody>
          <a:bodyPr wrap="square">
            <a:spAutoFit/>
          </a:bodyPr>
          <a:lstStyle/>
          <a:p>
            <a:pPr algn="ctr"/>
            <a:r>
              <a:rPr lang="pt-BR" dirty="0">
                <a:latin typeface="Verdana" pitchFamily="34" charset="0"/>
              </a:rPr>
              <a:t>Avaliar</a:t>
            </a:r>
          </a:p>
          <a:p>
            <a:pPr algn="ctr"/>
            <a:r>
              <a:rPr lang="pt-BR" dirty="0">
                <a:latin typeface="Verdana" pitchFamily="34" charset="0"/>
              </a:rPr>
              <a:t>Prestar Contas</a:t>
            </a:r>
            <a:endParaRPr lang="pt-BR" sz="1350" dirty="0">
              <a:latin typeface="Verdana" pitchFamily="34" charset="0"/>
            </a:endParaRPr>
          </a:p>
          <a:p>
            <a:r>
              <a:rPr lang="pt-BR" sz="1350" dirty="0">
                <a:latin typeface="Verdana" pitchFamily="34" charset="0"/>
              </a:rPr>
              <a:t> </a:t>
            </a:r>
            <a:endParaRPr lang="pt-BR" dirty="0"/>
          </a:p>
        </p:txBody>
      </p:sp>
    </p:spTree>
    <p:extLst>
      <p:ext uri="{BB962C8B-B14F-4D97-AF65-F5344CB8AC3E}">
        <p14:creationId xmlns:p14="http://schemas.microsoft.com/office/powerpoint/2010/main" val="255739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CaixaDeTexto 190"/>
          <p:cNvSpPr txBox="1">
            <a:spLocks noChangeArrowheads="1"/>
          </p:cNvSpPr>
          <p:nvPr/>
        </p:nvSpPr>
        <p:spPr bwMode="auto">
          <a:xfrm>
            <a:off x="0" y="152401"/>
            <a:ext cx="12420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3600" dirty="0">
                <a:solidFill>
                  <a:schemeClr val="tx1"/>
                </a:solidFill>
                <a:latin typeface="Arial" panose="020B0604020202020204" pitchFamily="34" charset="0"/>
              </a:rPr>
              <a:t>Fluxo da Estratégia das Organizações</a:t>
            </a:r>
          </a:p>
        </p:txBody>
      </p:sp>
      <p:pic>
        <p:nvPicPr>
          <p:cNvPr id="51" name="Picture 13" descr="http://t2.gstatic.com/images?q=tbn:ANd9GcRJSgsQzMUlBUTQHo84fwCVC84sJCAbXm7XFnWKagbTpCoQHKD1"/>
          <p:cNvPicPr>
            <a:picLocks noChangeAspect="1" noChangeArrowheads="1"/>
          </p:cNvPicPr>
          <p:nvPr/>
        </p:nvPicPr>
        <p:blipFill>
          <a:blip r:embed="rId3"/>
          <a:srcRect/>
          <a:stretch>
            <a:fillRect/>
          </a:stretch>
        </p:blipFill>
        <p:spPr bwMode="auto">
          <a:xfrm>
            <a:off x="10532988" y="5334000"/>
            <a:ext cx="2571750" cy="1619250"/>
          </a:xfrm>
          <a:prstGeom prst="rect">
            <a:avLst/>
          </a:prstGeom>
          <a:blipFill dpi="0" rotWithShape="0">
            <a:blip r:embed="rId4" cstate="print"/>
            <a:srcRect/>
            <a:stretch>
              <a:fillRect/>
            </a:stretch>
          </a:blipFill>
          <a:ln w="12700">
            <a:solidFill>
              <a:srgbClr val="FFFFFF"/>
            </a:solidFill>
            <a:miter lim="800000"/>
            <a:headEnd/>
            <a:tailEnd/>
          </a:ln>
          <a:effectLst>
            <a:outerShdw blurRad="127000" dist="63500" dir="2700000" algn="tl" rotWithShape="0">
              <a:prstClr val="black">
                <a:alpha val="40000"/>
              </a:prstClr>
            </a:outerShdw>
          </a:effectLst>
        </p:spPr>
      </p:pic>
      <p:grpSp>
        <p:nvGrpSpPr>
          <p:cNvPr id="87044" name="Gruppieren 49"/>
          <p:cNvGrpSpPr>
            <a:grpSpLocks/>
          </p:cNvGrpSpPr>
          <p:nvPr/>
        </p:nvGrpSpPr>
        <p:grpSpPr bwMode="auto">
          <a:xfrm>
            <a:off x="0" y="4067176"/>
            <a:ext cx="13716000" cy="1919288"/>
            <a:chOff x="0" y="2579091"/>
            <a:chExt cx="9144000" cy="1278534"/>
          </a:xfrm>
        </p:grpSpPr>
        <p:sp>
          <p:nvSpPr>
            <p:cNvPr id="87088" name="Rechteck 45"/>
            <p:cNvSpPr>
              <a:spLocks noChangeArrowheads="1"/>
            </p:cNvSpPr>
            <p:nvPr/>
          </p:nvSpPr>
          <p:spPr bwMode="gray">
            <a:xfrm flipV="1">
              <a:off x="0" y="2579091"/>
              <a:ext cx="9144000" cy="107070"/>
            </a:xfrm>
            <a:prstGeom prst="rect">
              <a:avLst/>
            </a:prstGeom>
            <a:gradFill rotWithShape="1">
              <a:gsLst>
                <a:gs pos="0">
                  <a:srgbClr val="262626">
                    <a:alpha val="20000"/>
                  </a:srgbClr>
                </a:gs>
                <a:gs pos="100000">
                  <a:srgbClr val="C00000">
                    <a:alpha val="0"/>
                  </a:srgbClr>
                </a:gs>
              </a:gsLst>
              <a:lin ang="5400000" scaled="1"/>
            </a:gradFill>
            <a:ln>
              <a:noFill/>
            </a:ln>
            <a:extLst>
              <a:ext uri="{91240B29-F687-4F45-9708-019B960494DF}">
                <a14:hiddenLine xmlns:a14="http://schemas.microsoft.com/office/drawing/2010/main" w="12700">
                  <a:solidFill>
                    <a:srgbClr val="000000"/>
                  </a:solidFill>
                  <a:round/>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de-DE" altLang="pt-BR" sz="2700" i="1">
                <a:solidFill>
                  <a:srgbClr val="808080"/>
                </a:solidFill>
                <a:latin typeface="Arial" panose="020B0604020202020204" pitchFamily="34" charset="0"/>
              </a:endParaRPr>
            </a:p>
          </p:txBody>
        </p:sp>
        <p:sp>
          <p:nvSpPr>
            <p:cNvPr id="87089" name="Rechteck 48"/>
            <p:cNvSpPr>
              <a:spLocks noChangeArrowheads="1"/>
            </p:cNvSpPr>
            <p:nvPr/>
          </p:nvSpPr>
          <p:spPr bwMode="gray">
            <a:xfrm>
              <a:off x="0" y="2686163"/>
              <a:ext cx="9144000" cy="1171462"/>
            </a:xfrm>
            <a:prstGeom prst="rect">
              <a:avLst/>
            </a:prstGeom>
            <a:gradFill rotWithShape="1">
              <a:gsLst>
                <a:gs pos="0">
                  <a:srgbClr val="262626">
                    <a:alpha val="20000"/>
                  </a:srgbClr>
                </a:gs>
                <a:gs pos="100000">
                  <a:srgbClr val="C00000">
                    <a:alpha val="0"/>
                  </a:srgbClr>
                </a:gs>
              </a:gsLst>
              <a:lin ang="5400000" scaled="1"/>
            </a:gradFill>
            <a:ln>
              <a:noFill/>
            </a:ln>
            <a:extLst>
              <a:ext uri="{91240B29-F687-4F45-9708-019B960494DF}">
                <a14:hiddenLine xmlns:a14="http://schemas.microsoft.com/office/drawing/2010/main" w="12700">
                  <a:solidFill>
                    <a:srgbClr val="000000"/>
                  </a:solidFill>
                  <a:round/>
                  <a:headEnd/>
                  <a:tailEnd/>
                </a14:hiddenLine>
              </a:ext>
            </a:extLst>
          </p:spPr>
          <p:txBody>
            <a:bodyPr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de-DE" altLang="pt-BR" sz="2700" i="1">
                <a:solidFill>
                  <a:srgbClr val="808080"/>
                </a:solidFill>
                <a:latin typeface="Arial" panose="020B0604020202020204" pitchFamily="34" charset="0"/>
              </a:endParaRPr>
            </a:p>
          </p:txBody>
        </p:sp>
      </p:grpSp>
      <p:pic>
        <p:nvPicPr>
          <p:cNvPr id="56" name="Picture 9" descr="http://marxbrasil.com/images/servicos/gestao-de-projetos/big-03.jpg"/>
          <p:cNvPicPr>
            <a:picLocks noChangeAspect="1" noChangeArrowheads="1"/>
          </p:cNvPicPr>
          <p:nvPr/>
        </p:nvPicPr>
        <p:blipFill>
          <a:blip r:embed="rId5"/>
          <a:srcRect/>
          <a:stretch>
            <a:fillRect/>
          </a:stretch>
        </p:blipFill>
        <p:spPr bwMode="auto">
          <a:xfrm>
            <a:off x="7448551" y="5334000"/>
            <a:ext cx="2586038" cy="1583532"/>
          </a:xfrm>
          <a:prstGeom prst="rect">
            <a:avLst/>
          </a:prstGeom>
          <a:blipFill dpi="0" rotWithShape="0">
            <a:blip r:embed="rId6" cstate="print"/>
            <a:srcRect/>
            <a:stretch>
              <a:fillRect/>
            </a:stretch>
          </a:blipFill>
          <a:ln w="12700">
            <a:solidFill>
              <a:srgbClr val="FFFFFF"/>
            </a:solidFill>
            <a:miter lim="800000"/>
            <a:headEnd/>
            <a:tailEnd/>
          </a:ln>
          <a:effectLst>
            <a:outerShdw blurRad="127000" dist="63500" dir="2700000" algn="tl" rotWithShape="0">
              <a:prstClr val="black">
                <a:alpha val="40000"/>
              </a:prstClr>
            </a:outerShdw>
          </a:effectLst>
        </p:spPr>
      </p:pic>
      <p:pic>
        <p:nvPicPr>
          <p:cNvPr id="57" name="Picture 7" descr="http://www.primecursos.com.br/arquivos/uploads/2011/04/recrutamento.2.jpg"/>
          <p:cNvPicPr>
            <a:picLocks noChangeAspect="1" noChangeArrowheads="1"/>
          </p:cNvPicPr>
          <p:nvPr/>
        </p:nvPicPr>
        <p:blipFill>
          <a:blip r:embed="rId7"/>
          <a:srcRect/>
          <a:stretch>
            <a:fillRect/>
          </a:stretch>
        </p:blipFill>
        <p:spPr bwMode="auto">
          <a:xfrm>
            <a:off x="4238625" y="5334001"/>
            <a:ext cx="2619375" cy="1595438"/>
          </a:xfrm>
          <a:prstGeom prst="rect">
            <a:avLst/>
          </a:prstGeom>
          <a:blipFill dpi="0" rotWithShape="0">
            <a:blip r:embed="rId8" cstate="print"/>
            <a:srcRect/>
            <a:stretch>
              <a:fillRect/>
            </a:stretch>
          </a:blipFill>
          <a:ln w="12700">
            <a:solidFill>
              <a:srgbClr val="FFFFFF"/>
            </a:solidFill>
            <a:miter lim="800000"/>
            <a:headEnd/>
            <a:tailEnd/>
          </a:ln>
          <a:effectLst>
            <a:outerShdw blurRad="127000" dist="63500" dir="2700000" algn="tl" rotWithShape="0">
              <a:prstClr val="black">
                <a:alpha val="40000"/>
              </a:prstClr>
            </a:outerShdw>
          </a:effectLst>
        </p:spPr>
      </p:pic>
      <p:pic>
        <p:nvPicPr>
          <p:cNvPr id="58" name="Picture 50" descr="multid%C3%A3o"/>
          <p:cNvPicPr>
            <a:picLocks noChangeAspect="1" noChangeArrowheads="1"/>
          </p:cNvPicPr>
          <p:nvPr/>
        </p:nvPicPr>
        <p:blipFill>
          <a:blip r:embed="rId9"/>
          <a:srcRect/>
          <a:stretch>
            <a:fillRect/>
          </a:stretch>
        </p:blipFill>
        <p:spPr bwMode="auto">
          <a:xfrm>
            <a:off x="1095376" y="5334000"/>
            <a:ext cx="2521745" cy="1619250"/>
          </a:xfrm>
          <a:prstGeom prst="rect">
            <a:avLst/>
          </a:prstGeom>
          <a:blipFill dpi="0" rotWithShape="0">
            <a:blip r:embed="rId10" cstate="print"/>
            <a:srcRect/>
            <a:stretch>
              <a:fillRect/>
            </a:stretch>
          </a:blipFill>
          <a:ln w="12700">
            <a:solidFill>
              <a:srgbClr val="FFFFFF"/>
            </a:solidFill>
            <a:miter lim="800000"/>
            <a:headEnd/>
            <a:tailEnd/>
          </a:ln>
          <a:effectLst>
            <a:outerShdw blurRad="127000" dist="63500" dir="2700000" algn="tl" rotWithShape="0">
              <a:prstClr val="black">
                <a:alpha val="40000"/>
              </a:prstClr>
            </a:outerShdw>
          </a:effectLst>
        </p:spPr>
      </p:pic>
      <p:pic>
        <p:nvPicPr>
          <p:cNvPr id="87048"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9108" y="4776788"/>
            <a:ext cx="785813" cy="209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049" name="Gruppieren 56"/>
          <p:cNvGrpSpPr>
            <a:grpSpLocks/>
          </p:cNvGrpSpPr>
          <p:nvPr/>
        </p:nvGrpSpPr>
        <p:grpSpPr bwMode="auto">
          <a:xfrm>
            <a:off x="645320" y="2014538"/>
            <a:ext cx="2678906" cy="7341395"/>
            <a:chOff x="430705" y="1310715"/>
            <a:chExt cx="1785937" cy="3994711"/>
          </a:xfrm>
        </p:grpSpPr>
        <p:sp>
          <p:nvSpPr>
            <p:cNvPr id="87086" name="Line 39"/>
            <p:cNvSpPr>
              <a:spLocks noChangeShapeType="1"/>
            </p:cNvSpPr>
            <p:nvPr/>
          </p:nvSpPr>
          <p:spPr bwMode="gray">
            <a:xfrm flipH="1">
              <a:off x="430705" y="1310715"/>
              <a:ext cx="0" cy="3994711"/>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7087" name="Line 40"/>
            <p:cNvSpPr>
              <a:spLocks noChangeShapeType="1"/>
            </p:cNvSpPr>
            <p:nvPr/>
          </p:nvSpPr>
          <p:spPr bwMode="gray">
            <a:xfrm>
              <a:off x="430705" y="5305426"/>
              <a:ext cx="1785937"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wrap="none"/>
            <a:lstStyle/>
            <a:p>
              <a:endParaRPr lang="pt-BR"/>
            </a:p>
          </p:txBody>
        </p:sp>
      </p:grpSp>
      <p:sp>
        <p:nvSpPr>
          <p:cNvPr id="87050" name="Rectangle 41"/>
          <p:cNvSpPr>
            <a:spLocks noChangeArrowheads="1"/>
          </p:cNvSpPr>
          <p:nvPr/>
        </p:nvSpPr>
        <p:spPr bwMode="gray">
          <a:xfrm>
            <a:off x="1064420" y="7015163"/>
            <a:ext cx="2552700" cy="102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1800" i="1">
                <a:solidFill>
                  <a:srgbClr val="0D0D0D"/>
                </a:solidFill>
                <a:latin typeface="Arial" panose="020B0604020202020204" pitchFamily="34" charset="0"/>
              </a:rPr>
              <a:t>Entendimento das necessidades estratégicas</a:t>
            </a:r>
          </a:p>
        </p:txBody>
      </p:sp>
      <p:grpSp>
        <p:nvGrpSpPr>
          <p:cNvPr id="87051" name="Gruppieren 61"/>
          <p:cNvGrpSpPr>
            <a:grpSpLocks/>
          </p:cNvGrpSpPr>
          <p:nvPr/>
        </p:nvGrpSpPr>
        <p:grpSpPr bwMode="auto">
          <a:xfrm>
            <a:off x="3831433" y="2014538"/>
            <a:ext cx="2678906" cy="7341395"/>
            <a:chOff x="446088" y="1310715"/>
            <a:chExt cx="1785937" cy="3994711"/>
          </a:xfrm>
        </p:grpSpPr>
        <p:sp>
          <p:nvSpPr>
            <p:cNvPr id="87084" name="Line 39"/>
            <p:cNvSpPr>
              <a:spLocks noChangeShapeType="1"/>
            </p:cNvSpPr>
            <p:nvPr/>
          </p:nvSpPr>
          <p:spPr bwMode="gray">
            <a:xfrm flipH="1">
              <a:off x="446088" y="1310715"/>
              <a:ext cx="0" cy="3994711"/>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7085" name="Line 40"/>
            <p:cNvSpPr>
              <a:spLocks noChangeShapeType="1"/>
            </p:cNvSpPr>
            <p:nvPr/>
          </p:nvSpPr>
          <p:spPr bwMode="gray">
            <a:xfrm>
              <a:off x="446088" y="5305426"/>
              <a:ext cx="1785937"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wrap="none"/>
            <a:lstStyle/>
            <a:p>
              <a:endParaRPr lang="pt-BR"/>
            </a:p>
          </p:txBody>
        </p:sp>
      </p:grpSp>
      <p:sp>
        <p:nvSpPr>
          <p:cNvPr id="87052" name="Rectangle 41"/>
          <p:cNvSpPr>
            <a:spLocks noChangeArrowheads="1"/>
          </p:cNvSpPr>
          <p:nvPr/>
        </p:nvSpPr>
        <p:spPr bwMode="gray">
          <a:xfrm>
            <a:off x="3891017" y="7069933"/>
            <a:ext cx="3064668" cy="1852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1800" i="1" dirty="0">
                <a:solidFill>
                  <a:srgbClr val="0D0D0D"/>
                </a:solidFill>
                <a:latin typeface="Arial" panose="020B0604020202020204" pitchFamily="34" charset="0"/>
              </a:rPr>
              <a:t>Aplicação de critérios de identificação, categorização, avaliação, seleção priorização das iniciativas e monitoramento da performance do portfólio</a:t>
            </a:r>
          </a:p>
        </p:txBody>
      </p:sp>
      <p:grpSp>
        <p:nvGrpSpPr>
          <p:cNvPr id="87053" name="Gruppieren 68"/>
          <p:cNvGrpSpPr>
            <a:grpSpLocks/>
          </p:cNvGrpSpPr>
          <p:nvPr/>
        </p:nvGrpSpPr>
        <p:grpSpPr bwMode="auto">
          <a:xfrm>
            <a:off x="7041358" y="2014538"/>
            <a:ext cx="2678906" cy="7341395"/>
            <a:chOff x="446088" y="1310715"/>
            <a:chExt cx="1785937" cy="3994711"/>
          </a:xfrm>
        </p:grpSpPr>
        <p:sp>
          <p:nvSpPr>
            <p:cNvPr id="87082" name="Line 39"/>
            <p:cNvSpPr>
              <a:spLocks noChangeShapeType="1"/>
            </p:cNvSpPr>
            <p:nvPr/>
          </p:nvSpPr>
          <p:spPr bwMode="gray">
            <a:xfrm flipH="1">
              <a:off x="446088" y="1310715"/>
              <a:ext cx="7468" cy="3994711"/>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7083" name="Line 40"/>
            <p:cNvSpPr>
              <a:spLocks noChangeShapeType="1"/>
            </p:cNvSpPr>
            <p:nvPr/>
          </p:nvSpPr>
          <p:spPr bwMode="gray">
            <a:xfrm>
              <a:off x="446088" y="5305426"/>
              <a:ext cx="1785937"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wrap="none"/>
            <a:lstStyle/>
            <a:p>
              <a:endParaRPr lang="pt-BR"/>
            </a:p>
          </p:txBody>
        </p:sp>
      </p:grpSp>
      <p:grpSp>
        <p:nvGrpSpPr>
          <p:cNvPr id="87054" name="Gruppieren 75"/>
          <p:cNvGrpSpPr>
            <a:grpSpLocks/>
          </p:cNvGrpSpPr>
          <p:nvPr/>
        </p:nvGrpSpPr>
        <p:grpSpPr bwMode="auto">
          <a:xfrm>
            <a:off x="10220325" y="2014538"/>
            <a:ext cx="2678907" cy="7341395"/>
            <a:chOff x="446088" y="1310715"/>
            <a:chExt cx="1785937" cy="3994711"/>
          </a:xfrm>
        </p:grpSpPr>
        <p:sp>
          <p:nvSpPr>
            <p:cNvPr id="87080" name="Line 39"/>
            <p:cNvSpPr>
              <a:spLocks noChangeShapeType="1"/>
            </p:cNvSpPr>
            <p:nvPr/>
          </p:nvSpPr>
          <p:spPr bwMode="gray">
            <a:xfrm flipH="1">
              <a:off x="446088" y="1310715"/>
              <a:ext cx="0" cy="3994711"/>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87081" name="Line 40"/>
            <p:cNvSpPr>
              <a:spLocks noChangeShapeType="1"/>
            </p:cNvSpPr>
            <p:nvPr/>
          </p:nvSpPr>
          <p:spPr bwMode="gray">
            <a:xfrm>
              <a:off x="446088" y="5305426"/>
              <a:ext cx="1785937"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wrap="none"/>
            <a:lstStyle/>
            <a:p>
              <a:endParaRPr lang="pt-BR"/>
            </a:p>
          </p:txBody>
        </p:sp>
      </p:grpSp>
      <p:pic>
        <p:nvPicPr>
          <p:cNvPr id="87055"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8638" y="3059908"/>
            <a:ext cx="13187363" cy="219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56" name="Line 11"/>
          <p:cNvSpPr>
            <a:spLocks noChangeShapeType="1"/>
          </p:cNvSpPr>
          <p:nvPr/>
        </p:nvSpPr>
        <p:spPr bwMode="gray">
          <a:xfrm>
            <a:off x="1452563" y="4331495"/>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57" name="Line 12"/>
          <p:cNvSpPr>
            <a:spLocks noChangeShapeType="1"/>
          </p:cNvSpPr>
          <p:nvPr/>
        </p:nvSpPr>
        <p:spPr bwMode="gray">
          <a:xfrm>
            <a:off x="2255045" y="4331495"/>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58" name="Line 13"/>
          <p:cNvSpPr>
            <a:spLocks noChangeShapeType="1"/>
          </p:cNvSpPr>
          <p:nvPr/>
        </p:nvSpPr>
        <p:spPr bwMode="gray">
          <a:xfrm>
            <a:off x="3052763" y="4331495"/>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pic>
        <p:nvPicPr>
          <p:cNvPr id="87059"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17120" y="4783932"/>
            <a:ext cx="785813" cy="2093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60"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58001" y="4783932"/>
            <a:ext cx="785813" cy="2093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61"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34588" y="4783932"/>
            <a:ext cx="785813" cy="2093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62" name="CaixaDeTexto 80"/>
          <p:cNvSpPr txBox="1">
            <a:spLocks noChangeArrowheads="1"/>
          </p:cNvSpPr>
          <p:nvPr/>
        </p:nvSpPr>
        <p:spPr bwMode="auto">
          <a:xfrm>
            <a:off x="664370" y="3562351"/>
            <a:ext cx="31337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400" i="1">
                <a:solidFill>
                  <a:srgbClr val="000000"/>
                </a:solidFill>
                <a:latin typeface="Arial" panose="020B0604020202020204" pitchFamily="34" charset="0"/>
              </a:rPr>
              <a:t>Demanda</a:t>
            </a:r>
          </a:p>
          <a:p>
            <a:pPr algn="ctr">
              <a:spcBef>
                <a:spcPct val="0"/>
              </a:spcBef>
              <a:buFontTx/>
              <a:buNone/>
            </a:pPr>
            <a:r>
              <a:rPr lang="pt-BR" altLang="pt-BR" sz="2400" i="1">
                <a:solidFill>
                  <a:srgbClr val="000000"/>
                </a:solidFill>
                <a:latin typeface="Arial" panose="020B0604020202020204" pitchFamily="34" charset="0"/>
              </a:rPr>
              <a:t>Estratégica</a:t>
            </a:r>
          </a:p>
        </p:txBody>
      </p:sp>
      <p:sp>
        <p:nvSpPr>
          <p:cNvPr id="87063" name="CaixaDeTexto 81"/>
          <p:cNvSpPr txBox="1">
            <a:spLocks noChangeArrowheads="1"/>
          </p:cNvSpPr>
          <p:nvPr/>
        </p:nvSpPr>
        <p:spPr bwMode="auto">
          <a:xfrm>
            <a:off x="3836195" y="3562351"/>
            <a:ext cx="31337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400" i="1">
                <a:solidFill>
                  <a:srgbClr val="FFFFFF"/>
                </a:solidFill>
                <a:latin typeface="Arial" panose="020B0604020202020204" pitchFamily="34" charset="0"/>
              </a:rPr>
              <a:t>Gestão de Portfólio</a:t>
            </a:r>
          </a:p>
        </p:txBody>
      </p:sp>
      <p:sp>
        <p:nvSpPr>
          <p:cNvPr id="87064" name="CaixaDeTexto 82"/>
          <p:cNvSpPr txBox="1">
            <a:spLocks noChangeArrowheads="1"/>
          </p:cNvSpPr>
          <p:nvPr/>
        </p:nvSpPr>
        <p:spPr bwMode="auto">
          <a:xfrm>
            <a:off x="7053263" y="3564733"/>
            <a:ext cx="31337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400" i="1">
                <a:solidFill>
                  <a:srgbClr val="FFFFFF"/>
                </a:solidFill>
                <a:latin typeface="Arial" panose="020B0604020202020204" pitchFamily="34" charset="0"/>
              </a:rPr>
              <a:t>Gestão de Projetos</a:t>
            </a:r>
          </a:p>
        </p:txBody>
      </p:sp>
      <p:sp>
        <p:nvSpPr>
          <p:cNvPr id="87065" name="CaixaDeTexto 83"/>
          <p:cNvSpPr txBox="1">
            <a:spLocks noChangeArrowheads="1"/>
          </p:cNvSpPr>
          <p:nvPr/>
        </p:nvSpPr>
        <p:spPr bwMode="auto">
          <a:xfrm>
            <a:off x="10044113" y="3559970"/>
            <a:ext cx="31337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2400" i="1">
                <a:solidFill>
                  <a:srgbClr val="FFFFFF"/>
                </a:solidFill>
                <a:latin typeface="Arial" panose="020B0604020202020204" pitchFamily="34" charset="0"/>
              </a:rPr>
              <a:t>Entrega de Valor</a:t>
            </a:r>
          </a:p>
        </p:txBody>
      </p:sp>
      <p:sp>
        <p:nvSpPr>
          <p:cNvPr id="87066" name="Line 11"/>
          <p:cNvSpPr>
            <a:spLocks noChangeShapeType="1"/>
          </p:cNvSpPr>
          <p:nvPr/>
        </p:nvSpPr>
        <p:spPr bwMode="gray">
          <a:xfrm>
            <a:off x="4588670" y="4336258"/>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67" name="Line 12"/>
          <p:cNvSpPr>
            <a:spLocks noChangeShapeType="1"/>
          </p:cNvSpPr>
          <p:nvPr/>
        </p:nvSpPr>
        <p:spPr bwMode="gray">
          <a:xfrm>
            <a:off x="5391150" y="4336258"/>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68" name="Line 13"/>
          <p:cNvSpPr>
            <a:spLocks noChangeShapeType="1"/>
          </p:cNvSpPr>
          <p:nvPr/>
        </p:nvSpPr>
        <p:spPr bwMode="gray">
          <a:xfrm>
            <a:off x="6188870" y="4336258"/>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69" name="Line 11"/>
          <p:cNvSpPr>
            <a:spLocks noChangeShapeType="1"/>
          </p:cNvSpPr>
          <p:nvPr/>
        </p:nvSpPr>
        <p:spPr bwMode="gray">
          <a:xfrm>
            <a:off x="7722395" y="4319588"/>
            <a:ext cx="0" cy="30718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70" name="Line 12"/>
          <p:cNvSpPr>
            <a:spLocks noChangeShapeType="1"/>
          </p:cNvSpPr>
          <p:nvPr/>
        </p:nvSpPr>
        <p:spPr bwMode="gray">
          <a:xfrm>
            <a:off x="8524875" y="4319588"/>
            <a:ext cx="0" cy="30718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71" name="Line 13"/>
          <p:cNvSpPr>
            <a:spLocks noChangeShapeType="1"/>
          </p:cNvSpPr>
          <p:nvPr/>
        </p:nvSpPr>
        <p:spPr bwMode="gray">
          <a:xfrm>
            <a:off x="9322595" y="4319588"/>
            <a:ext cx="0" cy="30718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72" name="Line 11"/>
          <p:cNvSpPr>
            <a:spLocks noChangeShapeType="1"/>
          </p:cNvSpPr>
          <p:nvPr/>
        </p:nvSpPr>
        <p:spPr bwMode="gray">
          <a:xfrm>
            <a:off x="11051382" y="4321970"/>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73" name="Line 12"/>
          <p:cNvSpPr>
            <a:spLocks noChangeShapeType="1"/>
          </p:cNvSpPr>
          <p:nvPr/>
        </p:nvSpPr>
        <p:spPr bwMode="gray">
          <a:xfrm>
            <a:off x="11853863" y="4321970"/>
            <a:ext cx="0" cy="30718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a:lstStyle/>
          <a:p>
            <a:endParaRPr lang="pt-BR"/>
          </a:p>
        </p:txBody>
      </p:sp>
      <p:sp>
        <p:nvSpPr>
          <p:cNvPr id="87074" name="Rectangle 41"/>
          <p:cNvSpPr>
            <a:spLocks noChangeArrowheads="1"/>
          </p:cNvSpPr>
          <p:nvPr/>
        </p:nvSpPr>
        <p:spPr bwMode="gray">
          <a:xfrm>
            <a:off x="7398545" y="7015163"/>
            <a:ext cx="2616993" cy="129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1800" i="1">
                <a:solidFill>
                  <a:srgbClr val="0D0D0D"/>
                </a:solidFill>
                <a:latin typeface="Arial" panose="020B0604020202020204" pitchFamily="34" charset="0"/>
              </a:rPr>
              <a:t>Estruturação, planejamento organização e gestão da execução das entregas</a:t>
            </a:r>
          </a:p>
        </p:txBody>
      </p:sp>
      <p:sp>
        <p:nvSpPr>
          <p:cNvPr id="87075" name="Rectangle 41"/>
          <p:cNvSpPr>
            <a:spLocks noChangeArrowheads="1"/>
          </p:cNvSpPr>
          <p:nvPr/>
        </p:nvSpPr>
        <p:spPr bwMode="gray">
          <a:xfrm>
            <a:off x="10639426" y="7019925"/>
            <a:ext cx="2616995" cy="129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1800" i="1">
                <a:solidFill>
                  <a:srgbClr val="0D0D0D"/>
                </a:solidFill>
                <a:latin typeface="Arial" panose="020B0604020202020204" pitchFamily="34" charset="0"/>
              </a:rPr>
              <a:t>Análise do retorno do investimento / benefícios – prestação de contas</a:t>
            </a:r>
          </a:p>
        </p:txBody>
      </p:sp>
      <p:sp>
        <p:nvSpPr>
          <p:cNvPr id="87076" name="Rectangle 41"/>
          <p:cNvSpPr>
            <a:spLocks noChangeArrowheads="1"/>
          </p:cNvSpPr>
          <p:nvPr/>
        </p:nvSpPr>
        <p:spPr bwMode="gray">
          <a:xfrm>
            <a:off x="3862388" y="1800225"/>
            <a:ext cx="3107532" cy="134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2700" i="1">
                <a:solidFill>
                  <a:srgbClr val="FF0000"/>
                </a:solidFill>
                <a:latin typeface="Arial" panose="020B0604020202020204" pitchFamily="34" charset="0"/>
              </a:rPr>
              <a:t>Ponto único </a:t>
            </a:r>
            <a:r>
              <a:rPr lang="pt-BR" altLang="pt-BR" sz="2400" i="1">
                <a:solidFill>
                  <a:srgbClr val="0D0D0D"/>
                </a:solidFill>
                <a:latin typeface="Arial" panose="020B0604020202020204" pitchFamily="34" charset="0"/>
              </a:rPr>
              <a:t>de análise e priorização (GATEWAY)</a:t>
            </a:r>
          </a:p>
        </p:txBody>
      </p:sp>
      <p:sp>
        <p:nvSpPr>
          <p:cNvPr id="87077" name="Rectangle 41"/>
          <p:cNvSpPr>
            <a:spLocks noChangeArrowheads="1"/>
          </p:cNvSpPr>
          <p:nvPr/>
        </p:nvSpPr>
        <p:spPr bwMode="gray">
          <a:xfrm>
            <a:off x="702470" y="1147763"/>
            <a:ext cx="3109913" cy="2083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2700" i="1" dirty="0">
                <a:solidFill>
                  <a:srgbClr val="FF0000"/>
                </a:solidFill>
                <a:latin typeface="Arial" panose="020B0604020202020204" pitchFamily="34" charset="0"/>
              </a:rPr>
              <a:t>Captura</a:t>
            </a:r>
            <a:r>
              <a:rPr lang="pt-BR" altLang="pt-BR" sz="2400" i="1" dirty="0">
                <a:solidFill>
                  <a:srgbClr val="0D0D0D"/>
                </a:solidFill>
                <a:latin typeface="Arial" panose="020B0604020202020204" pitchFamily="34" charset="0"/>
              </a:rPr>
              <a:t> das ambições, problemas  </a:t>
            </a:r>
            <a:r>
              <a:rPr lang="pt-BR" altLang="pt-BR" sz="2400" i="1">
                <a:solidFill>
                  <a:srgbClr val="0D0D0D"/>
                </a:solidFill>
                <a:latin typeface="Arial" panose="020B0604020202020204" pitchFamily="34" charset="0"/>
              </a:rPr>
              <a:t>necessidades organizacionais </a:t>
            </a:r>
            <a:r>
              <a:rPr lang="pt-BR" altLang="pt-BR" sz="2400" i="1" dirty="0">
                <a:solidFill>
                  <a:srgbClr val="0D0D0D"/>
                </a:solidFill>
                <a:latin typeface="Arial" panose="020B0604020202020204" pitchFamily="34" charset="0"/>
              </a:rPr>
              <a:t>e oportunidades</a:t>
            </a:r>
          </a:p>
        </p:txBody>
      </p:sp>
      <p:sp>
        <p:nvSpPr>
          <p:cNvPr id="87078" name="Rectangle 41"/>
          <p:cNvSpPr>
            <a:spLocks noChangeArrowheads="1"/>
          </p:cNvSpPr>
          <p:nvPr/>
        </p:nvSpPr>
        <p:spPr bwMode="gray">
          <a:xfrm>
            <a:off x="7098508" y="1800225"/>
            <a:ext cx="3107531" cy="134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 tIns="135000" rIns="54000" bIns="5400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50000"/>
              </a:spcBef>
              <a:buFontTx/>
              <a:buNone/>
            </a:pPr>
            <a:r>
              <a:rPr lang="pt-BR" altLang="pt-BR" sz="2700" i="1">
                <a:solidFill>
                  <a:srgbClr val="FF0000"/>
                </a:solidFill>
                <a:latin typeface="Arial" panose="020B0604020202020204" pitchFamily="34" charset="0"/>
              </a:rPr>
              <a:t>Técnicas</a:t>
            </a:r>
            <a:r>
              <a:rPr lang="pt-BR" altLang="pt-BR" sz="2400" i="1">
                <a:solidFill>
                  <a:srgbClr val="0D0D0D"/>
                </a:solidFill>
                <a:latin typeface="Arial" panose="020B0604020202020204" pitchFamily="34" charset="0"/>
              </a:rPr>
              <a:t> e melhores práticas de gerenciamento </a:t>
            </a:r>
          </a:p>
        </p:txBody>
      </p:sp>
      <p:pic>
        <p:nvPicPr>
          <p:cNvPr id="87079" name="Picture 14" descr="C:\Wanderley\01.Bibliotecas\1.1 Banco de Imagens\financiamento-de-projetos-1.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529888" y="2014538"/>
            <a:ext cx="1466850" cy="146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385250916"/>
      </p:ext>
    </p:extLst>
  </p:cSld>
  <p:clrMapOvr>
    <a:masterClrMapping/>
  </p:clrMapOvr>
  <p:transition>
    <p:strips dir="rd"/>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CaixaDeTexto 190"/>
          <p:cNvSpPr txBox="1">
            <a:spLocks noChangeArrowheads="1"/>
          </p:cNvSpPr>
          <p:nvPr/>
        </p:nvSpPr>
        <p:spPr bwMode="auto">
          <a:xfrm>
            <a:off x="0" y="145257"/>
            <a:ext cx="12420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r>
              <a:rPr lang="pt-BR" altLang="pt-BR" sz="3000" dirty="0">
                <a:solidFill>
                  <a:schemeClr val="tx1"/>
                </a:solidFill>
                <a:latin typeface="Arial" panose="020B0604020202020204" pitchFamily="34" charset="0"/>
              </a:rPr>
              <a:t>Respostas obtidas com a Gestão de Portfólio</a:t>
            </a:r>
          </a:p>
        </p:txBody>
      </p:sp>
      <p:sp>
        <p:nvSpPr>
          <p:cNvPr id="102" name="Oval 102"/>
          <p:cNvSpPr/>
          <p:nvPr/>
        </p:nvSpPr>
        <p:spPr>
          <a:xfrm>
            <a:off x="2486026" y="9377363"/>
            <a:ext cx="9389270" cy="783432"/>
          </a:xfrm>
          <a:prstGeom prst="ellipse">
            <a:avLst/>
          </a:prstGeom>
          <a:gradFill flip="none" rotWithShape="1">
            <a:gsLst>
              <a:gs pos="0">
                <a:srgbClr val="000000">
                  <a:lumMod val="95000"/>
                  <a:lumOff val="5000"/>
                  <a:alpha val="71000"/>
                </a:srgb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anchor="ctr"/>
          <a:lstStyle/>
          <a:p>
            <a:pPr algn="ctr" fontAlgn="auto">
              <a:spcBef>
                <a:spcPts val="0"/>
              </a:spcBef>
              <a:spcAft>
                <a:spcPts val="0"/>
              </a:spcAft>
              <a:defRPr/>
            </a:pPr>
            <a:endParaRPr lang="en-US" b="0" kern="0" dirty="0">
              <a:solidFill>
                <a:sysClr val="window" lastClr="FFFFFF"/>
              </a:solidFill>
            </a:endParaRPr>
          </a:p>
        </p:txBody>
      </p:sp>
      <p:sp>
        <p:nvSpPr>
          <p:cNvPr id="103" name="Freeform 70"/>
          <p:cNvSpPr>
            <a:spLocks/>
          </p:cNvSpPr>
          <p:nvPr/>
        </p:nvSpPr>
        <p:spPr bwMode="auto">
          <a:xfrm>
            <a:off x="7019925" y="9401176"/>
            <a:ext cx="431007" cy="52388"/>
          </a:xfrm>
          <a:custGeom>
            <a:avLst/>
            <a:gdLst>
              <a:gd name="T0" fmla="*/ 0 w 131"/>
              <a:gd name="T1" fmla="*/ 0 h 16"/>
              <a:gd name="T2" fmla="*/ 0 w 131"/>
              <a:gd name="T3" fmla="*/ 10 h 16"/>
              <a:gd name="T4" fmla="*/ 10 w 131"/>
              <a:gd name="T5" fmla="*/ 12 h 16"/>
              <a:gd name="T6" fmla="*/ 4 w 131"/>
              <a:gd name="T7" fmla="*/ 14 h 16"/>
              <a:gd name="T8" fmla="*/ 61 w 131"/>
              <a:gd name="T9" fmla="*/ 16 h 16"/>
              <a:gd name="T10" fmla="*/ 120 w 131"/>
              <a:gd name="T11" fmla="*/ 14 h 16"/>
              <a:gd name="T12" fmla="*/ 116 w 131"/>
              <a:gd name="T13" fmla="*/ 12 h 16"/>
              <a:gd name="T14" fmla="*/ 130 w 131"/>
              <a:gd name="T15" fmla="*/ 10 h 16"/>
              <a:gd name="T16" fmla="*/ 130 w 131"/>
              <a:gd name="T17" fmla="*/ 0 h 16"/>
              <a:gd name="T18" fmla="*/ 0 w 131"/>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6">
                <a:moveTo>
                  <a:pt x="0" y="0"/>
                </a:moveTo>
                <a:cubicBezTo>
                  <a:pt x="0" y="10"/>
                  <a:pt x="0" y="10"/>
                  <a:pt x="0" y="10"/>
                </a:cubicBezTo>
                <a:cubicBezTo>
                  <a:pt x="0" y="11"/>
                  <a:pt x="3" y="12"/>
                  <a:pt x="10" y="12"/>
                </a:cubicBezTo>
                <a:cubicBezTo>
                  <a:pt x="6" y="13"/>
                  <a:pt x="4" y="13"/>
                  <a:pt x="4" y="14"/>
                </a:cubicBezTo>
                <a:cubicBezTo>
                  <a:pt x="4" y="16"/>
                  <a:pt x="29" y="16"/>
                  <a:pt x="61" y="16"/>
                </a:cubicBezTo>
                <a:cubicBezTo>
                  <a:pt x="93" y="16"/>
                  <a:pt x="120" y="16"/>
                  <a:pt x="120" y="14"/>
                </a:cubicBezTo>
                <a:cubicBezTo>
                  <a:pt x="120" y="13"/>
                  <a:pt x="118" y="13"/>
                  <a:pt x="116" y="12"/>
                </a:cubicBezTo>
                <a:cubicBezTo>
                  <a:pt x="126" y="12"/>
                  <a:pt x="130" y="12"/>
                  <a:pt x="130" y="10"/>
                </a:cubicBezTo>
                <a:cubicBezTo>
                  <a:pt x="130" y="0"/>
                  <a:pt x="130" y="0"/>
                  <a:pt x="130" y="0"/>
                </a:cubicBezTo>
                <a:cubicBezTo>
                  <a:pt x="131" y="0"/>
                  <a:pt x="0" y="0"/>
                  <a:pt x="0" y="0"/>
                </a:cubicBezTo>
                <a:close/>
              </a:path>
            </a:pathLst>
          </a:custGeom>
          <a:solidFill>
            <a:srgbClr val="313535"/>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04" name="Oval 71"/>
          <p:cNvSpPr>
            <a:spLocks noChangeArrowheads="1"/>
          </p:cNvSpPr>
          <p:nvPr/>
        </p:nvSpPr>
        <p:spPr bwMode="auto">
          <a:xfrm>
            <a:off x="6886575" y="8832057"/>
            <a:ext cx="695325" cy="609600"/>
          </a:xfrm>
          <a:prstGeom prst="ellipse">
            <a:avLst/>
          </a:prstGeom>
          <a:solidFill>
            <a:srgbClr val="313535"/>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05" name="Freeform 72"/>
          <p:cNvSpPr>
            <a:spLocks/>
          </p:cNvSpPr>
          <p:nvPr/>
        </p:nvSpPr>
        <p:spPr bwMode="auto">
          <a:xfrm>
            <a:off x="6255545" y="7700963"/>
            <a:ext cx="1974056" cy="1431132"/>
          </a:xfrm>
          <a:custGeom>
            <a:avLst/>
            <a:gdLst>
              <a:gd name="T0" fmla="*/ 599 w 599"/>
              <a:gd name="T1" fmla="*/ 404 h 435"/>
              <a:gd name="T2" fmla="*/ 567 w 599"/>
              <a:gd name="T3" fmla="*/ 435 h 435"/>
              <a:gd name="T4" fmla="*/ 31 w 599"/>
              <a:gd name="T5" fmla="*/ 435 h 435"/>
              <a:gd name="T6" fmla="*/ 0 w 599"/>
              <a:gd name="T7" fmla="*/ 404 h 435"/>
              <a:gd name="T8" fmla="*/ 0 w 599"/>
              <a:gd name="T9" fmla="*/ 31 h 435"/>
              <a:gd name="T10" fmla="*/ 31 w 599"/>
              <a:gd name="T11" fmla="*/ 0 h 435"/>
              <a:gd name="T12" fmla="*/ 567 w 599"/>
              <a:gd name="T13" fmla="*/ 0 h 435"/>
              <a:gd name="T14" fmla="*/ 599 w 599"/>
              <a:gd name="T15" fmla="*/ 31 h 435"/>
              <a:gd name="T16" fmla="*/ 599 w 599"/>
              <a:gd name="T17" fmla="*/ 40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9" h="435">
                <a:moveTo>
                  <a:pt x="599" y="404"/>
                </a:moveTo>
                <a:cubicBezTo>
                  <a:pt x="599" y="421"/>
                  <a:pt x="585" y="435"/>
                  <a:pt x="567" y="435"/>
                </a:cubicBezTo>
                <a:cubicBezTo>
                  <a:pt x="31" y="435"/>
                  <a:pt x="31" y="435"/>
                  <a:pt x="31" y="435"/>
                </a:cubicBezTo>
                <a:cubicBezTo>
                  <a:pt x="14" y="435"/>
                  <a:pt x="0" y="421"/>
                  <a:pt x="0" y="404"/>
                </a:cubicBezTo>
                <a:cubicBezTo>
                  <a:pt x="0" y="31"/>
                  <a:pt x="0" y="31"/>
                  <a:pt x="0" y="31"/>
                </a:cubicBezTo>
                <a:cubicBezTo>
                  <a:pt x="0" y="14"/>
                  <a:pt x="14" y="0"/>
                  <a:pt x="31" y="0"/>
                </a:cubicBezTo>
                <a:cubicBezTo>
                  <a:pt x="567" y="0"/>
                  <a:pt x="567" y="0"/>
                  <a:pt x="567" y="0"/>
                </a:cubicBezTo>
                <a:cubicBezTo>
                  <a:pt x="585" y="0"/>
                  <a:pt x="599" y="14"/>
                  <a:pt x="599" y="31"/>
                </a:cubicBezTo>
                <a:lnTo>
                  <a:pt x="599" y="404"/>
                </a:lnTo>
                <a:close/>
              </a:path>
            </a:pathLst>
          </a:custGeom>
          <a:solidFill>
            <a:sysClr val="window" lastClr="FFFFFF">
              <a:lumMod val="8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06" name="Freeform 32"/>
          <p:cNvSpPr>
            <a:spLocks/>
          </p:cNvSpPr>
          <p:nvPr/>
        </p:nvSpPr>
        <p:spPr bwMode="auto">
          <a:xfrm>
            <a:off x="6100763" y="7372350"/>
            <a:ext cx="2283620" cy="507207"/>
          </a:xfrm>
          <a:custGeom>
            <a:avLst/>
            <a:gdLst>
              <a:gd name="T0" fmla="*/ 650 w 669"/>
              <a:gd name="T1" fmla="*/ 0 h 148"/>
              <a:gd name="T2" fmla="*/ 333 w 669"/>
              <a:gd name="T3" fmla="*/ 23 h 148"/>
              <a:gd name="T4" fmla="*/ 18 w 669"/>
              <a:gd name="T5" fmla="*/ 0 h 148"/>
              <a:gd name="T6" fmla="*/ 14 w 669"/>
              <a:gd name="T7" fmla="*/ 24 h 148"/>
              <a:gd name="T8" fmla="*/ 26 w 669"/>
              <a:gd name="T9" fmla="*/ 67 h 148"/>
              <a:gd name="T10" fmla="*/ 33 w 669"/>
              <a:gd name="T11" fmla="*/ 148 h 148"/>
              <a:gd name="T12" fmla="*/ 315 w 669"/>
              <a:gd name="T13" fmla="*/ 148 h 148"/>
              <a:gd name="T14" fmla="*/ 352 w 669"/>
              <a:gd name="T15" fmla="*/ 148 h 148"/>
              <a:gd name="T16" fmla="*/ 636 w 669"/>
              <a:gd name="T17" fmla="*/ 148 h 148"/>
              <a:gd name="T18" fmla="*/ 643 w 669"/>
              <a:gd name="T19" fmla="*/ 67 h 148"/>
              <a:gd name="T20" fmla="*/ 655 w 669"/>
              <a:gd name="T21" fmla="*/ 25 h 148"/>
              <a:gd name="T22" fmla="*/ 650 w 669"/>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9" h="148">
                <a:moveTo>
                  <a:pt x="650" y="0"/>
                </a:moveTo>
                <a:cubicBezTo>
                  <a:pt x="589" y="15"/>
                  <a:pt x="395" y="22"/>
                  <a:pt x="333" y="23"/>
                </a:cubicBezTo>
                <a:cubicBezTo>
                  <a:pt x="272" y="22"/>
                  <a:pt x="79" y="15"/>
                  <a:pt x="18" y="0"/>
                </a:cubicBezTo>
                <a:cubicBezTo>
                  <a:pt x="18" y="0"/>
                  <a:pt x="0" y="2"/>
                  <a:pt x="14" y="24"/>
                </a:cubicBezTo>
                <a:cubicBezTo>
                  <a:pt x="14" y="24"/>
                  <a:pt x="24" y="29"/>
                  <a:pt x="26" y="67"/>
                </a:cubicBezTo>
                <a:cubicBezTo>
                  <a:pt x="29" y="104"/>
                  <a:pt x="18" y="129"/>
                  <a:pt x="33" y="148"/>
                </a:cubicBezTo>
                <a:cubicBezTo>
                  <a:pt x="315" y="148"/>
                  <a:pt x="315" y="148"/>
                  <a:pt x="315" y="148"/>
                </a:cubicBezTo>
                <a:cubicBezTo>
                  <a:pt x="352" y="148"/>
                  <a:pt x="352" y="148"/>
                  <a:pt x="352" y="148"/>
                </a:cubicBezTo>
                <a:cubicBezTo>
                  <a:pt x="636" y="148"/>
                  <a:pt x="636" y="148"/>
                  <a:pt x="636" y="148"/>
                </a:cubicBezTo>
                <a:cubicBezTo>
                  <a:pt x="651" y="129"/>
                  <a:pt x="640" y="104"/>
                  <a:pt x="643" y="67"/>
                </a:cubicBezTo>
                <a:cubicBezTo>
                  <a:pt x="645" y="29"/>
                  <a:pt x="655" y="25"/>
                  <a:pt x="655" y="25"/>
                </a:cubicBezTo>
                <a:cubicBezTo>
                  <a:pt x="669" y="3"/>
                  <a:pt x="650" y="0"/>
                  <a:pt x="650" y="0"/>
                </a:cubicBezTo>
              </a:path>
            </a:pathLst>
          </a:custGeom>
          <a:gradFill>
            <a:gsLst>
              <a:gs pos="0">
                <a:sysClr val="window" lastClr="FFFFFF">
                  <a:lumMod val="50000"/>
                </a:sysClr>
              </a:gs>
              <a:gs pos="25000">
                <a:sysClr val="window" lastClr="FFFFFF">
                  <a:lumMod val="65000"/>
                </a:sysClr>
              </a:gs>
              <a:gs pos="75000">
                <a:sysClr val="window" lastClr="FFFFFF">
                  <a:lumMod val="65000"/>
                </a:sysClr>
              </a:gs>
              <a:gs pos="50000">
                <a:sysClr val="window" lastClr="FFFFFF">
                  <a:lumMod val="85000"/>
                </a:sysClr>
              </a:gs>
              <a:gs pos="100000">
                <a:sysClr val="window" lastClr="FFFFFF">
                  <a:lumMod val="50000"/>
                </a:sysClr>
              </a:gs>
            </a:gsLst>
            <a:lin ang="0" scaled="1"/>
          </a:gra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nvGrpSpPr>
          <p:cNvPr id="2" name="Group 11"/>
          <p:cNvGrpSpPr/>
          <p:nvPr/>
        </p:nvGrpSpPr>
        <p:grpSpPr>
          <a:xfrm>
            <a:off x="6484471" y="8031703"/>
            <a:ext cx="1515644" cy="1030826"/>
            <a:chOff x="5005388" y="5281613"/>
            <a:chExt cx="1022350" cy="695325"/>
          </a:xfrm>
          <a:solidFill>
            <a:sysClr val="window" lastClr="FFFFFF">
              <a:lumMod val="85000"/>
            </a:sysClr>
          </a:solidFill>
        </p:grpSpPr>
        <p:sp>
          <p:nvSpPr>
            <p:cNvPr id="108" name="Freeform 74"/>
            <p:cNvSpPr>
              <a:spLocks/>
            </p:cNvSpPr>
            <p:nvPr/>
          </p:nvSpPr>
          <p:spPr bwMode="auto">
            <a:xfrm>
              <a:off x="5005388" y="5281613"/>
              <a:ext cx="265113" cy="695325"/>
            </a:xfrm>
            <a:custGeom>
              <a:avLst/>
              <a:gdLst>
                <a:gd name="T0" fmla="*/ 119 w 119"/>
                <a:gd name="T1" fmla="*/ 274 h 312"/>
                <a:gd name="T2" fmla="*/ 119 w 119"/>
                <a:gd name="T3" fmla="*/ 9 h 312"/>
                <a:gd name="T4" fmla="*/ 0 w 119"/>
                <a:gd name="T5" fmla="*/ 14 h 312"/>
                <a:gd name="T6" fmla="*/ 0 w 119"/>
                <a:gd name="T7" fmla="*/ 279 h 312"/>
                <a:gd name="T8" fmla="*/ 119 w 119"/>
                <a:gd name="T9" fmla="*/ 274 h 312"/>
              </a:gdLst>
              <a:ahLst/>
              <a:cxnLst>
                <a:cxn ang="0">
                  <a:pos x="T0" y="T1"/>
                </a:cxn>
                <a:cxn ang="0">
                  <a:pos x="T2" y="T3"/>
                </a:cxn>
                <a:cxn ang="0">
                  <a:pos x="T4" y="T5"/>
                </a:cxn>
                <a:cxn ang="0">
                  <a:pos x="T6" y="T7"/>
                </a:cxn>
                <a:cxn ang="0">
                  <a:pos x="T8" y="T9"/>
                </a:cxn>
              </a:cxnLst>
              <a:rect l="0" t="0" r="r" b="b"/>
              <a:pathLst>
                <a:path w="119" h="312">
                  <a:moveTo>
                    <a:pt x="119" y="274"/>
                  </a:moveTo>
                  <a:cubicBezTo>
                    <a:pt x="119" y="263"/>
                    <a:pt x="119" y="20"/>
                    <a:pt x="119" y="9"/>
                  </a:cubicBezTo>
                  <a:cubicBezTo>
                    <a:pt x="119" y="0"/>
                    <a:pt x="0" y="7"/>
                    <a:pt x="0" y="14"/>
                  </a:cubicBezTo>
                  <a:cubicBezTo>
                    <a:pt x="0" y="25"/>
                    <a:pt x="0" y="268"/>
                    <a:pt x="0" y="279"/>
                  </a:cubicBezTo>
                  <a:cubicBezTo>
                    <a:pt x="17" y="312"/>
                    <a:pt x="110" y="308"/>
                    <a:pt x="119" y="274"/>
                  </a:cubicBezTo>
                  <a:close/>
                </a:path>
              </a:pathLst>
            </a:custGeom>
            <a:solidFill>
              <a:sysClr val="window" lastClr="FFFFFF">
                <a:lumMod val="7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09" name="Freeform 74"/>
            <p:cNvSpPr>
              <a:spLocks/>
            </p:cNvSpPr>
            <p:nvPr/>
          </p:nvSpPr>
          <p:spPr bwMode="auto">
            <a:xfrm>
              <a:off x="5762625" y="5281613"/>
              <a:ext cx="265113" cy="695325"/>
            </a:xfrm>
            <a:custGeom>
              <a:avLst/>
              <a:gdLst>
                <a:gd name="T0" fmla="*/ 119 w 119"/>
                <a:gd name="T1" fmla="*/ 274 h 312"/>
                <a:gd name="T2" fmla="*/ 119 w 119"/>
                <a:gd name="T3" fmla="*/ 9 h 312"/>
                <a:gd name="T4" fmla="*/ 0 w 119"/>
                <a:gd name="T5" fmla="*/ 14 h 312"/>
                <a:gd name="T6" fmla="*/ 0 w 119"/>
                <a:gd name="T7" fmla="*/ 279 h 312"/>
                <a:gd name="T8" fmla="*/ 119 w 119"/>
                <a:gd name="T9" fmla="*/ 274 h 312"/>
              </a:gdLst>
              <a:ahLst/>
              <a:cxnLst>
                <a:cxn ang="0">
                  <a:pos x="T0" y="T1"/>
                </a:cxn>
                <a:cxn ang="0">
                  <a:pos x="T2" y="T3"/>
                </a:cxn>
                <a:cxn ang="0">
                  <a:pos x="T4" y="T5"/>
                </a:cxn>
                <a:cxn ang="0">
                  <a:pos x="T6" y="T7"/>
                </a:cxn>
                <a:cxn ang="0">
                  <a:pos x="T8" y="T9"/>
                </a:cxn>
              </a:cxnLst>
              <a:rect l="0" t="0" r="r" b="b"/>
              <a:pathLst>
                <a:path w="119" h="312">
                  <a:moveTo>
                    <a:pt x="119" y="274"/>
                  </a:moveTo>
                  <a:cubicBezTo>
                    <a:pt x="119" y="263"/>
                    <a:pt x="119" y="20"/>
                    <a:pt x="119" y="9"/>
                  </a:cubicBezTo>
                  <a:cubicBezTo>
                    <a:pt x="119" y="0"/>
                    <a:pt x="0" y="7"/>
                    <a:pt x="0" y="14"/>
                  </a:cubicBezTo>
                  <a:cubicBezTo>
                    <a:pt x="0" y="25"/>
                    <a:pt x="0" y="268"/>
                    <a:pt x="0" y="279"/>
                  </a:cubicBezTo>
                  <a:cubicBezTo>
                    <a:pt x="17" y="312"/>
                    <a:pt x="110" y="308"/>
                    <a:pt x="119" y="274"/>
                  </a:cubicBezTo>
                  <a:close/>
                </a:path>
              </a:pathLst>
            </a:custGeom>
            <a:solidFill>
              <a:sysClr val="window" lastClr="FFFFFF">
                <a:lumMod val="7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sp>
        <p:nvSpPr>
          <p:cNvPr id="110" name="Freeform 75"/>
          <p:cNvSpPr>
            <a:spLocks/>
          </p:cNvSpPr>
          <p:nvPr/>
        </p:nvSpPr>
        <p:spPr bwMode="auto">
          <a:xfrm>
            <a:off x="6229351" y="8693945"/>
            <a:ext cx="2026445" cy="140493"/>
          </a:xfrm>
          <a:custGeom>
            <a:avLst/>
            <a:gdLst>
              <a:gd name="T0" fmla="*/ 615 w 615"/>
              <a:gd name="T1" fmla="*/ 19 h 43"/>
              <a:gd name="T2" fmla="*/ 615 w 615"/>
              <a:gd name="T3" fmla="*/ 19 h 43"/>
              <a:gd name="T4" fmla="*/ 602 w 615"/>
              <a:gd name="T5" fmla="*/ 2 h 43"/>
              <a:gd name="T6" fmla="*/ 601 w 615"/>
              <a:gd name="T7" fmla="*/ 2 h 43"/>
              <a:gd name="T8" fmla="*/ 598 w 615"/>
              <a:gd name="T9" fmla="*/ 1 h 43"/>
              <a:gd name="T10" fmla="*/ 598 w 615"/>
              <a:gd name="T11" fmla="*/ 1 h 43"/>
              <a:gd name="T12" fmla="*/ 595 w 615"/>
              <a:gd name="T13" fmla="*/ 0 h 43"/>
              <a:gd name="T14" fmla="*/ 594 w 615"/>
              <a:gd name="T15" fmla="*/ 0 h 43"/>
              <a:gd name="T16" fmla="*/ 591 w 615"/>
              <a:gd name="T17" fmla="*/ 0 h 43"/>
              <a:gd name="T18" fmla="*/ 24 w 615"/>
              <a:gd name="T19" fmla="*/ 0 h 43"/>
              <a:gd name="T20" fmla="*/ 21 w 615"/>
              <a:gd name="T21" fmla="*/ 0 h 43"/>
              <a:gd name="T22" fmla="*/ 20 w 615"/>
              <a:gd name="T23" fmla="*/ 0 h 43"/>
              <a:gd name="T24" fmla="*/ 17 w 615"/>
              <a:gd name="T25" fmla="*/ 1 h 43"/>
              <a:gd name="T26" fmla="*/ 16 w 615"/>
              <a:gd name="T27" fmla="*/ 1 h 43"/>
              <a:gd name="T28" fmla="*/ 13 w 615"/>
              <a:gd name="T29" fmla="*/ 2 h 43"/>
              <a:gd name="T30" fmla="*/ 13 w 615"/>
              <a:gd name="T31" fmla="*/ 2 h 43"/>
              <a:gd name="T32" fmla="*/ 10 w 615"/>
              <a:gd name="T33" fmla="*/ 4 h 43"/>
              <a:gd name="T34" fmla="*/ 10 w 615"/>
              <a:gd name="T35" fmla="*/ 4 h 43"/>
              <a:gd name="T36" fmla="*/ 10 w 615"/>
              <a:gd name="T37" fmla="*/ 4 h 43"/>
              <a:gd name="T38" fmla="*/ 0 w 615"/>
              <a:gd name="T39" fmla="*/ 19 h 43"/>
              <a:gd name="T40" fmla="*/ 0 w 615"/>
              <a:gd name="T41" fmla="*/ 19 h 43"/>
              <a:gd name="T42" fmla="*/ 0 w 615"/>
              <a:gd name="T43" fmla="*/ 19 h 43"/>
              <a:gd name="T44" fmla="*/ 0 w 615"/>
              <a:gd name="T45" fmla="*/ 22 h 43"/>
              <a:gd name="T46" fmla="*/ 24 w 615"/>
              <a:gd name="T47" fmla="*/ 43 h 43"/>
              <a:gd name="T48" fmla="*/ 591 w 615"/>
              <a:gd name="T49" fmla="*/ 43 h 43"/>
              <a:gd name="T50" fmla="*/ 615 w 615"/>
              <a:gd name="T51" fmla="*/ 22 h 43"/>
              <a:gd name="T52" fmla="*/ 615 w 615"/>
              <a:gd name="T53" fmla="*/ 19 h 43"/>
              <a:gd name="T54" fmla="*/ 615 w 615"/>
              <a:gd name="T5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3">
                <a:moveTo>
                  <a:pt x="615" y="19"/>
                </a:moveTo>
                <a:cubicBezTo>
                  <a:pt x="615" y="19"/>
                  <a:pt x="615" y="19"/>
                  <a:pt x="615" y="19"/>
                </a:cubicBezTo>
                <a:cubicBezTo>
                  <a:pt x="614" y="12"/>
                  <a:pt x="609" y="6"/>
                  <a:pt x="602" y="2"/>
                </a:cubicBezTo>
                <a:cubicBezTo>
                  <a:pt x="602" y="2"/>
                  <a:pt x="602" y="2"/>
                  <a:pt x="601" y="2"/>
                </a:cubicBezTo>
                <a:cubicBezTo>
                  <a:pt x="600" y="2"/>
                  <a:pt x="599" y="1"/>
                  <a:pt x="598" y="1"/>
                </a:cubicBezTo>
                <a:cubicBezTo>
                  <a:pt x="598" y="1"/>
                  <a:pt x="598" y="1"/>
                  <a:pt x="598" y="1"/>
                </a:cubicBezTo>
                <a:cubicBezTo>
                  <a:pt x="597" y="1"/>
                  <a:pt x="596" y="1"/>
                  <a:pt x="595" y="0"/>
                </a:cubicBezTo>
                <a:cubicBezTo>
                  <a:pt x="595" y="0"/>
                  <a:pt x="595" y="0"/>
                  <a:pt x="594" y="0"/>
                </a:cubicBezTo>
                <a:cubicBezTo>
                  <a:pt x="593" y="0"/>
                  <a:pt x="592" y="0"/>
                  <a:pt x="591" y="0"/>
                </a:cubicBezTo>
                <a:cubicBezTo>
                  <a:pt x="24" y="0"/>
                  <a:pt x="24" y="0"/>
                  <a:pt x="24" y="0"/>
                </a:cubicBezTo>
                <a:cubicBezTo>
                  <a:pt x="23" y="0"/>
                  <a:pt x="22" y="0"/>
                  <a:pt x="21" y="0"/>
                </a:cubicBezTo>
                <a:cubicBezTo>
                  <a:pt x="20" y="0"/>
                  <a:pt x="20" y="0"/>
                  <a:pt x="20" y="0"/>
                </a:cubicBezTo>
                <a:cubicBezTo>
                  <a:pt x="19" y="1"/>
                  <a:pt x="18" y="1"/>
                  <a:pt x="17" y="1"/>
                </a:cubicBezTo>
                <a:cubicBezTo>
                  <a:pt x="16" y="1"/>
                  <a:pt x="16" y="1"/>
                  <a:pt x="16" y="1"/>
                </a:cubicBezTo>
                <a:cubicBezTo>
                  <a:pt x="15" y="1"/>
                  <a:pt x="14" y="2"/>
                  <a:pt x="13" y="2"/>
                </a:cubicBezTo>
                <a:cubicBezTo>
                  <a:pt x="13" y="2"/>
                  <a:pt x="13" y="2"/>
                  <a:pt x="13" y="2"/>
                </a:cubicBezTo>
                <a:cubicBezTo>
                  <a:pt x="12" y="3"/>
                  <a:pt x="11" y="3"/>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3"/>
                  <a:pt x="10" y="43"/>
                  <a:pt x="24" y="43"/>
                </a:cubicBezTo>
                <a:cubicBezTo>
                  <a:pt x="591" y="43"/>
                  <a:pt x="591" y="43"/>
                  <a:pt x="591" y="43"/>
                </a:cubicBezTo>
                <a:cubicBezTo>
                  <a:pt x="604" y="43"/>
                  <a:pt x="615" y="33"/>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1" name="Freeform 76"/>
          <p:cNvSpPr>
            <a:spLocks/>
          </p:cNvSpPr>
          <p:nvPr/>
        </p:nvSpPr>
        <p:spPr bwMode="auto">
          <a:xfrm>
            <a:off x="6229351" y="8448675"/>
            <a:ext cx="2026445" cy="145257"/>
          </a:xfrm>
          <a:custGeom>
            <a:avLst/>
            <a:gdLst>
              <a:gd name="T0" fmla="*/ 615 w 615"/>
              <a:gd name="T1" fmla="*/ 19 h 44"/>
              <a:gd name="T2" fmla="*/ 615 w 615"/>
              <a:gd name="T3" fmla="*/ 19 h 44"/>
              <a:gd name="T4" fmla="*/ 602 w 615"/>
              <a:gd name="T5" fmla="*/ 3 h 44"/>
              <a:gd name="T6" fmla="*/ 601 w 615"/>
              <a:gd name="T7" fmla="*/ 3 h 44"/>
              <a:gd name="T8" fmla="*/ 598 w 615"/>
              <a:gd name="T9" fmla="*/ 2 h 44"/>
              <a:gd name="T10" fmla="*/ 598 w 615"/>
              <a:gd name="T11" fmla="*/ 2 h 44"/>
              <a:gd name="T12" fmla="*/ 595 w 615"/>
              <a:gd name="T13" fmla="*/ 1 h 44"/>
              <a:gd name="T14" fmla="*/ 594 w 615"/>
              <a:gd name="T15" fmla="*/ 1 h 44"/>
              <a:gd name="T16" fmla="*/ 591 w 615"/>
              <a:gd name="T17" fmla="*/ 0 h 44"/>
              <a:gd name="T18" fmla="*/ 24 w 615"/>
              <a:gd name="T19" fmla="*/ 0 h 44"/>
              <a:gd name="T20" fmla="*/ 21 w 615"/>
              <a:gd name="T21" fmla="*/ 1 h 44"/>
              <a:gd name="T22" fmla="*/ 20 w 615"/>
              <a:gd name="T23" fmla="*/ 1 h 44"/>
              <a:gd name="T24" fmla="*/ 17 w 615"/>
              <a:gd name="T25" fmla="*/ 2 h 44"/>
              <a:gd name="T26" fmla="*/ 16 w 615"/>
              <a:gd name="T27" fmla="*/ 2 h 44"/>
              <a:gd name="T28" fmla="*/ 13 w 615"/>
              <a:gd name="T29" fmla="*/ 3 h 44"/>
              <a:gd name="T30" fmla="*/ 13 w 615"/>
              <a:gd name="T31" fmla="*/ 3 h 44"/>
              <a:gd name="T32" fmla="*/ 10 w 615"/>
              <a:gd name="T33" fmla="*/ 4 h 44"/>
              <a:gd name="T34" fmla="*/ 10 w 615"/>
              <a:gd name="T35" fmla="*/ 4 h 44"/>
              <a:gd name="T36" fmla="*/ 10 w 615"/>
              <a:gd name="T37" fmla="*/ 4 h 44"/>
              <a:gd name="T38" fmla="*/ 0 w 615"/>
              <a:gd name="T39" fmla="*/ 19 h 44"/>
              <a:gd name="T40" fmla="*/ 0 w 615"/>
              <a:gd name="T41" fmla="*/ 19 h 44"/>
              <a:gd name="T42" fmla="*/ 0 w 615"/>
              <a:gd name="T43" fmla="*/ 19 h 44"/>
              <a:gd name="T44" fmla="*/ 0 w 615"/>
              <a:gd name="T45" fmla="*/ 22 h 44"/>
              <a:gd name="T46" fmla="*/ 24 w 615"/>
              <a:gd name="T47" fmla="*/ 44 h 44"/>
              <a:gd name="T48" fmla="*/ 591 w 615"/>
              <a:gd name="T49" fmla="*/ 44 h 44"/>
              <a:gd name="T50" fmla="*/ 615 w 615"/>
              <a:gd name="T51" fmla="*/ 22 h 44"/>
              <a:gd name="T52" fmla="*/ 615 w 615"/>
              <a:gd name="T53" fmla="*/ 19 h 44"/>
              <a:gd name="T54" fmla="*/ 615 w 615"/>
              <a:gd name="T5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615" y="19"/>
                </a:moveTo>
                <a:cubicBezTo>
                  <a:pt x="615" y="19"/>
                  <a:pt x="615" y="19"/>
                  <a:pt x="615" y="19"/>
                </a:cubicBezTo>
                <a:cubicBezTo>
                  <a:pt x="614" y="12"/>
                  <a:pt x="609" y="6"/>
                  <a:pt x="602" y="3"/>
                </a:cubicBezTo>
                <a:cubicBezTo>
                  <a:pt x="602" y="3"/>
                  <a:pt x="602" y="3"/>
                  <a:pt x="601" y="3"/>
                </a:cubicBezTo>
                <a:cubicBezTo>
                  <a:pt x="600" y="2"/>
                  <a:pt x="599" y="2"/>
                  <a:pt x="598" y="2"/>
                </a:cubicBezTo>
                <a:cubicBezTo>
                  <a:pt x="598" y="2"/>
                  <a:pt x="598" y="2"/>
                  <a:pt x="598" y="2"/>
                </a:cubicBezTo>
                <a:cubicBezTo>
                  <a:pt x="597" y="1"/>
                  <a:pt x="596" y="1"/>
                  <a:pt x="595" y="1"/>
                </a:cubicBezTo>
                <a:cubicBezTo>
                  <a:pt x="595" y="1"/>
                  <a:pt x="595" y="1"/>
                  <a:pt x="594" y="1"/>
                </a:cubicBezTo>
                <a:cubicBezTo>
                  <a:pt x="593" y="1"/>
                  <a:pt x="592" y="0"/>
                  <a:pt x="591" y="0"/>
                </a:cubicBezTo>
                <a:cubicBezTo>
                  <a:pt x="24" y="0"/>
                  <a:pt x="24" y="0"/>
                  <a:pt x="24" y="0"/>
                </a:cubicBezTo>
                <a:cubicBezTo>
                  <a:pt x="23" y="0"/>
                  <a:pt x="22" y="1"/>
                  <a:pt x="21" y="1"/>
                </a:cubicBezTo>
                <a:cubicBezTo>
                  <a:pt x="20" y="1"/>
                  <a:pt x="20" y="1"/>
                  <a:pt x="20" y="1"/>
                </a:cubicBezTo>
                <a:cubicBezTo>
                  <a:pt x="19" y="1"/>
                  <a:pt x="18" y="1"/>
                  <a:pt x="17" y="2"/>
                </a:cubicBezTo>
                <a:cubicBezTo>
                  <a:pt x="16" y="2"/>
                  <a:pt x="16" y="2"/>
                  <a:pt x="16" y="2"/>
                </a:cubicBezTo>
                <a:cubicBezTo>
                  <a:pt x="15" y="2"/>
                  <a:pt x="14" y="2"/>
                  <a:pt x="13" y="3"/>
                </a:cubicBezTo>
                <a:cubicBezTo>
                  <a:pt x="13" y="3"/>
                  <a:pt x="13" y="3"/>
                  <a:pt x="13" y="3"/>
                </a:cubicBezTo>
                <a:cubicBezTo>
                  <a:pt x="12" y="3"/>
                  <a:pt x="11" y="4"/>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4"/>
                  <a:pt x="10" y="44"/>
                  <a:pt x="24" y="44"/>
                </a:cubicBezTo>
                <a:cubicBezTo>
                  <a:pt x="591" y="44"/>
                  <a:pt x="591" y="44"/>
                  <a:pt x="591" y="44"/>
                </a:cubicBezTo>
                <a:cubicBezTo>
                  <a:pt x="604" y="44"/>
                  <a:pt x="615" y="34"/>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2" name="Freeform 77"/>
          <p:cNvSpPr>
            <a:spLocks/>
          </p:cNvSpPr>
          <p:nvPr/>
        </p:nvSpPr>
        <p:spPr bwMode="auto">
          <a:xfrm>
            <a:off x="6229351" y="8201025"/>
            <a:ext cx="2026445" cy="145257"/>
          </a:xfrm>
          <a:custGeom>
            <a:avLst/>
            <a:gdLst>
              <a:gd name="T0" fmla="*/ 615 w 615"/>
              <a:gd name="T1" fmla="*/ 19 h 44"/>
              <a:gd name="T2" fmla="*/ 615 w 615"/>
              <a:gd name="T3" fmla="*/ 19 h 44"/>
              <a:gd name="T4" fmla="*/ 602 w 615"/>
              <a:gd name="T5" fmla="*/ 2 h 44"/>
              <a:gd name="T6" fmla="*/ 601 w 615"/>
              <a:gd name="T7" fmla="*/ 2 h 44"/>
              <a:gd name="T8" fmla="*/ 598 w 615"/>
              <a:gd name="T9" fmla="*/ 1 h 44"/>
              <a:gd name="T10" fmla="*/ 598 w 615"/>
              <a:gd name="T11" fmla="*/ 1 h 44"/>
              <a:gd name="T12" fmla="*/ 595 w 615"/>
              <a:gd name="T13" fmla="*/ 0 h 44"/>
              <a:gd name="T14" fmla="*/ 594 w 615"/>
              <a:gd name="T15" fmla="*/ 0 h 44"/>
              <a:gd name="T16" fmla="*/ 591 w 615"/>
              <a:gd name="T17" fmla="*/ 0 h 44"/>
              <a:gd name="T18" fmla="*/ 24 w 615"/>
              <a:gd name="T19" fmla="*/ 0 h 44"/>
              <a:gd name="T20" fmla="*/ 21 w 615"/>
              <a:gd name="T21" fmla="*/ 0 h 44"/>
              <a:gd name="T22" fmla="*/ 20 w 615"/>
              <a:gd name="T23" fmla="*/ 0 h 44"/>
              <a:gd name="T24" fmla="*/ 17 w 615"/>
              <a:gd name="T25" fmla="*/ 1 h 44"/>
              <a:gd name="T26" fmla="*/ 16 w 615"/>
              <a:gd name="T27" fmla="*/ 1 h 44"/>
              <a:gd name="T28" fmla="*/ 13 w 615"/>
              <a:gd name="T29" fmla="*/ 2 h 44"/>
              <a:gd name="T30" fmla="*/ 13 w 615"/>
              <a:gd name="T31" fmla="*/ 2 h 44"/>
              <a:gd name="T32" fmla="*/ 10 w 615"/>
              <a:gd name="T33" fmla="*/ 4 h 44"/>
              <a:gd name="T34" fmla="*/ 10 w 615"/>
              <a:gd name="T35" fmla="*/ 4 h 44"/>
              <a:gd name="T36" fmla="*/ 10 w 615"/>
              <a:gd name="T37" fmla="*/ 4 h 44"/>
              <a:gd name="T38" fmla="*/ 0 w 615"/>
              <a:gd name="T39" fmla="*/ 19 h 44"/>
              <a:gd name="T40" fmla="*/ 0 w 615"/>
              <a:gd name="T41" fmla="*/ 19 h 44"/>
              <a:gd name="T42" fmla="*/ 0 w 615"/>
              <a:gd name="T43" fmla="*/ 19 h 44"/>
              <a:gd name="T44" fmla="*/ 0 w 615"/>
              <a:gd name="T45" fmla="*/ 22 h 44"/>
              <a:gd name="T46" fmla="*/ 24 w 615"/>
              <a:gd name="T47" fmla="*/ 44 h 44"/>
              <a:gd name="T48" fmla="*/ 591 w 615"/>
              <a:gd name="T49" fmla="*/ 44 h 44"/>
              <a:gd name="T50" fmla="*/ 615 w 615"/>
              <a:gd name="T51" fmla="*/ 22 h 44"/>
              <a:gd name="T52" fmla="*/ 615 w 615"/>
              <a:gd name="T53" fmla="*/ 19 h 44"/>
              <a:gd name="T54" fmla="*/ 615 w 615"/>
              <a:gd name="T5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615" y="19"/>
                </a:moveTo>
                <a:cubicBezTo>
                  <a:pt x="615" y="19"/>
                  <a:pt x="615" y="19"/>
                  <a:pt x="615" y="19"/>
                </a:cubicBezTo>
                <a:cubicBezTo>
                  <a:pt x="614" y="12"/>
                  <a:pt x="609" y="6"/>
                  <a:pt x="602" y="2"/>
                </a:cubicBezTo>
                <a:cubicBezTo>
                  <a:pt x="602" y="2"/>
                  <a:pt x="602" y="2"/>
                  <a:pt x="601" y="2"/>
                </a:cubicBezTo>
                <a:cubicBezTo>
                  <a:pt x="600" y="2"/>
                  <a:pt x="599" y="1"/>
                  <a:pt x="598" y="1"/>
                </a:cubicBezTo>
                <a:cubicBezTo>
                  <a:pt x="598" y="1"/>
                  <a:pt x="598" y="1"/>
                  <a:pt x="598" y="1"/>
                </a:cubicBezTo>
                <a:cubicBezTo>
                  <a:pt x="597" y="1"/>
                  <a:pt x="596" y="1"/>
                  <a:pt x="595" y="0"/>
                </a:cubicBezTo>
                <a:cubicBezTo>
                  <a:pt x="595" y="0"/>
                  <a:pt x="595" y="0"/>
                  <a:pt x="594" y="0"/>
                </a:cubicBezTo>
                <a:cubicBezTo>
                  <a:pt x="593" y="0"/>
                  <a:pt x="592" y="0"/>
                  <a:pt x="591" y="0"/>
                </a:cubicBezTo>
                <a:cubicBezTo>
                  <a:pt x="24" y="0"/>
                  <a:pt x="24" y="0"/>
                  <a:pt x="24" y="0"/>
                </a:cubicBezTo>
                <a:cubicBezTo>
                  <a:pt x="23" y="0"/>
                  <a:pt x="22" y="0"/>
                  <a:pt x="21" y="0"/>
                </a:cubicBezTo>
                <a:cubicBezTo>
                  <a:pt x="20" y="0"/>
                  <a:pt x="20" y="0"/>
                  <a:pt x="20" y="0"/>
                </a:cubicBezTo>
                <a:cubicBezTo>
                  <a:pt x="19" y="1"/>
                  <a:pt x="18" y="1"/>
                  <a:pt x="17" y="1"/>
                </a:cubicBezTo>
                <a:cubicBezTo>
                  <a:pt x="16" y="1"/>
                  <a:pt x="16" y="1"/>
                  <a:pt x="16" y="1"/>
                </a:cubicBezTo>
                <a:cubicBezTo>
                  <a:pt x="15" y="1"/>
                  <a:pt x="14" y="2"/>
                  <a:pt x="13" y="2"/>
                </a:cubicBezTo>
                <a:cubicBezTo>
                  <a:pt x="13" y="2"/>
                  <a:pt x="13" y="2"/>
                  <a:pt x="13" y="2"/>
                </a:cubicBezTo>
                <a:cubicBezTo>
                  <a:pt x="12" y="3"/>
                  <a:pt x="11" y="3"/>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3"/>
                  <a:pt x="10" y="44"/>
                  <a:pt x="24" y="44"/>
                </a:cubicBezTo>
                <a:cubicBezTo>
                  <a:pt x="591" y="44"/>
                  <a:pt x="591" y="44"/>
                  <a:pt x="591" y="44"/>
                </a:cubicBezTo>
                <a:cubicBezTo>
                  <a:pt x="604" y="44"/>
                  <a:pt x="615" y="33"/>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3" name="Freeform 78"/>
          <p:cNvSpPr>
            <a:spLocks/>
          </p:cNvSpPr>
          <p:nvPr/>
        </p:nvSpPr>
        <p:spPr bwMode="auto">
          <a:xfrm>
            <a:off x="6229351" y="7955758"/>
            <a:ext cx="2026445" cy="147638"/>
          </a:xfrm>
          <a:custGeom>
            <a:avLst/>
            <a:gdLst>
              <a:gd name="T0" fmla="*/ 24 w 615"/>
              <a:gd name="T1" fmla="*/ 44 h 44"/>
              <a:gd name="T2" fmla="*/ 591 w 615"/>
              <a:gd name="T3" fmla="*/ 44 h 44"/>
              <a:gd name="T4" fmla="*/ 615 w 615"/>
              <a:gd name="T5" fmla="*/ 22 h 44"/>
              <a:gd name="T6" fmla="*/ 615 w 615"/>
              <a:gd name="T7" fmla="*/ 19 h 44"/>
              <a:gd name="T8" fmla="*/ 615 w 615"/>
              <a:gd name="T9" fmla="*/ 19 h 44"/>
              <a:gd name="T10" fmla="*/ 615 w 615"/>
              <a:gd name="T11" fmla="*/ 19 h 44"/>
              <a:gd name="T12" fmla="*/ 602 w 615"/>
              <a:gd name="T13" fmla="*/ 3 h 44"/>
              <a:gd name="T14" fmla="*/ 601 w 615"/>
              <a:gd name="T15" fmla="*/ 3 h 44"/>
              <a:gd name="T16" fmla="*/ 598 w 615"/>
              <a:gd name="T17" fmla="*/ 2 h 44"/>
              <a:gd name="T18" fmla="*/ 598 w 615"/>
              <a:gd name="T19" fmla="*/ 2 h 44"/>
              <a:gd name="T20" fmla="*/ 595 w 615"/>
              <a:gd name="T21" fmla="*/ 1 h 44"/>
              <a:gd name="T22" fmla="*/ 594 w 615"/>
              <a:gd name="T23" fmla="*/ 1 h 44"/>
              <a:gd name="T24" fmla="*/ 591 w 615"/>
              <a:gd name="T25" fmla="*/ 0 h 44"/>
              <a:gd name="T26" fmla="*/ 24 w 615"/>
              <a:gd name="T27" fmla="*/ 0 h 44"/>
              <a:gd name="T28" fmla="*/ 21 w 615"/>
              <a:gd name="T29" fmla="*/ 1 h 44"/>
              <a:gd name="T30" fmla="*/ 20 w 615"/>
              <a:gd name="T31" fmla="*/ 1 h 44"/>
              <a:gd name="T32" fmla="*/ 17 w 615"/>
              <a:gd name="T33" fmla="*/ 2 h 44"/>
              <a:gd name="T34" fmla="*/ 16 w 615"/>
              <a:gd name="T35" fmla="*/ 2 h 44"/>
              <a:gd name="T36" fmla="*/ 13 w 615"/>
              <a:gd name="T37" fmla="*/ 3 h 44"/>
              <a:gd name="T38" fmla="*/ 13 w 615"/>
              <a:gd name="T39" fmla="*/ 3 h 44"/>
              <a:gd name="T40" fmla="*/ 10 w 615"/>
              <a:gd name="T41" fmla="*/ 4 h 44"/>
              <a:gd name="T42" fmla="*/ 10 w 615"/>
              <a:gd name="T43" fmla="*/ 5 h 44"/>
              <a:gd name="T44" fmla="*/ 10 w 615"/>
              <a:gd name="T45" fmla="*/ 5 h 44"/>
              <a:gd name="T46" fmla="*/ 0 w 615"/>
              <a:gd name="T47" fmla="*/ 19 h 44"/>
              <a:gd name="T48" fmla="*/ 0 w 615"/>
              <a:gd name="T49" fmla="*/ 19 h 44"/>
              <a:gd name="T50" fmla="*/ 0 w 615"/>
              <a:gd name="T51" fmla="*/ 19 h 44"/>
              <a:gd name="T52" fmla="*/ 0 w 615"/>
              <a:gd name="T53" fmla="*/ 22 h 44"/>
              <a:gd name="T54" fmla="*/ 24 w 615"/>
              <a:gd name="T5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24" y="44"/>
                </a:moveTo>
                <a:cubicBezTo>
                  <a:pt x="591" y="44"/>
                  <a:pt x="591" y="44"/>
                  <a:pt x="591" y="44"/>
                </a:cubicBezTo>
                <a:cubicBezTo>
                  <a:pt x="604" y="44"/>
                  <a:pt x="615" y="34"/>
                  <a:pt x="615" y="22"/>
                </a:cubicBezTo>
                <a:cubicBezTo>
                  <a:pt x="615" y="21"/>
                  <a:pt x="615" y="20"/>
                  <a:pt x="615" y="19"/>
                </a:cubicBezTo>
                <a:cubicBezTo>
                  <a:pt x="615" y="19"/>
                  <a:pt x="615" y="19"/>
                  <a:pt x="615" y="19"/>
                </a:cubicBezTo>
                <a:cubicBezTo>
                  <a:pt x="615" y="19"/>
                  <a:pt x="615" y="19"/>
                  <a:pt x="615" y="19"/>
                </a:cubicBezTo>
                <a:cubicBezTo>
                  <a:pt x="614" y="12"/>
                  <a:pt x="609" y="6"/>
                  <a:pt x="602" y="3"/>
                </a:cubicBezTo>
                <a:cubicBezTo>
                  <a:pt x="602" y="3"/>
                  <a:pt x="602" y="3"/>
                  <a:pt x="601" y="3"/>
                </a:cubicBezTo>
                <a:cubicBezTo>
                  <a:pt x="600" y="2"/>
                  <a:pt x="599" y="2"/>
                  <a:pt x="598" y="2"/>
                </a:cubicBezTo>
                <a:cubicBezTo>
                  <a:pt x="598" y="2"/>
                  <a:pt x="598" y="2"/>
                  <a:pt x="598" y="2"/>
                </a:cubicBezTo>
                <a:cubicBezTo>
                  <a:pt x="597" y="1"/>
                  <a:pt x="596" y="1"/>
                  <a:pt x="595" y="1"/>
                </a:cubicBezTo>
                <a:cubicBezTo>
                  <a:pt x="595" y="1"/>
                  <a:pt x="595" y="1"/>
                  <a:pt x="594" y="1"/>
                </a:cubicBezTo>
                <a:cubicBezTo>
                  <a:pt x="593" y="1"/>
                  <a:pt x="592" y="0"/>
                  <a:pt x="591" y="0"/>
                </a:cubicBezTo>
                <a:cubicBezTo>
                  <a:pt x="24" y="0"/>
                  <a:pt x="24" y="0"/>
                  <a:pt x="24" y="0"/>
                </a:cubicBezTo>
                <a:cubicBezTo>
                  <a:pt x="23" y="0"/>
                  <a:pt x="22" y="1"/>
                  <a:pt x="21" y="1"/>
                </a:cubicBezTo>
                <a:cubicBezTo>
                  <a:pt x="20" y="1"/>
                  <a:pt x="20" y="1"/>
                  <a:pt x="20" y="1"/>
                </a:cubicBezTo>
                <a:cubicBezTo>
                  <a:pt x="19" y="1"/>
                  <a:pt x="18" y="1"/>
                  <a:pt x="17" y="2"/>
                </a:cubicBezTo>
                <a:cubicBezTo>
                  <a:pt x="16" y="2"/>
                  <a:pt x="16" y="2"/>
                  <a:pt x="16" y="2"/>
                </a:cubicBezTo>
                <a:cubicBezTo>
                  <a:pt x="15" y="2"/>
                  <a:pt x="14" y="2"/>
                  <a:pt x="13" y="3"/>
                </a:cubicBezTo>
                <a:cubicBezTo>
                  <a:pt x="13" y="3"/>
                  <a:pt x="13" y="3"/>
                  <a:pt x="13" y="3"/>
                </a:cubicBezTo>
                <a:cubicBezTo>
                  <a:pt x="12" y="3"/>
                  <a:pt x="11" y="4"/>
                  <a:pt x="10" y="4"/>
                </a:cubicBezTo>
                <a:cubicBezTo>
                  <a:pt x="10" y="4"/>
                  <a:pt x="10" y="4"/>
                  <a:pt x="10" y="5"/>
                </a:cubicBezTo>
                <a:cubicBezTo>
                  <a:pt x="10" y="5"/>
                  <a:pt x="10" y="5"/>
                  <a:pt x="10" y="5"/>
                </a:cubicBezTo>
                <a:cubicBezTo>
                  <a:pt x="5" y="8"/>
                  <a:pt x="1" y="13"/>
                  <a:pt x="0" y="19"/>
                </a:cubicBezTo>
                <a:cubicBezTo>
                  <a:pt x="0" y="19"/>
                  <a:pt x="0" y="19"/>
                  <a:pt x="0" y="19"/>
                </a:cubicBezTo>
                <a:cubicBezTo>
                  <a:pt x="0" y="19"/>
                  <a:pt x="0" y="19"/>
                  <a:pt x="0" y="19"/>
                </a:cubicBezTo>
                <a:cubicBezTo>
                  <a:pt x="0" y="20"/>
                  <a:pt x="0" y="21"/>
                  <a:pt x="0" y="22"/>
                </a:cubicBezTo>
                <a:cubicBezTo>
                  <a:pt x="0" y="34"/>
                  <a:pt x="10" y="44"/>
                  <a:pt x="24" y="44"/>
                </a:cubicBezTo>
                <a:close/>
              </a:path>
            </a:pathLst>
          </a:custGeom>
          <a:solidFill>
            <a:sysClr val="window" lastClr="FFFFFF">
              <a:lumMod val="65000"/>
            </a:sysClr>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4" name="Freeform 5"/>
          <p:cNvSpPr>
            <a:spLocks/>
          </p:cNvSpPr>
          <p:nvPr/>
        </p:nvSpPr>
        <p:spPr bwMode="auto">
          <a:xfrm>
            <a:off x="1212057" y="1783557"/>
            <a:ext cx="6105525" cy="1045368"/>
          </a:xfrm>
          <a:custGeom>
            <a:avLst/>
            <a:gdLst>
              <a:gd name="T0" fmla="*/ 469 w 1973"/>
              <a:gd name="T1" fmla="*/ 0 h 444"/>
              <a:gd name="T2" fmla="*/ 469 w 1973"/>
              <a:gd name="T3" fmla="*/ 0 h 444"/>
              <a:gd name="T4" fmla="*/ 157 w 1973"/>
              <a:gd name="T5" fmla="*/ 0 h 444"/>
              <a:gd name="T6" fmla="*/ 0 w 1973"/>
              <a:gd name="T7" fmla="*/ 222 h 444"/>
              <a:gd name="T8" fmla="*/ 157 w 1973"/>
              <a:gd name="T9" fmla="*/ 444 h 444"/>
              <a:gd name="T10" fmla="*/ 240 w 1973"/>
              <a:gd name="T11" fmla="*/ 444 h 444"/>
              <a:gd name="T12" fmla="*/ 469 w 1973"/>
              <a:gd name="T13" fmla="*/ 444 h 444"/>
              <a:gd name="T14" fmla="*/ 1973 w 1973"/>
              <a:gd name="T15" fmla="*/ 444 h 444"/>
              <a:gd name="T16" fmla="*/ 1973 w 1973"/>
              <a:gd name="T17" fmla="*/ 0 h 444"/>
              <a:gd name="T18" fmla="*/ 469 w 1973"/>
              <a:gd name="T19"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3" h="444">
                <a:moveTo>
                  <a:pt x="469" y="0"/>
                </a:moveTo>
                <a:lnTo>
                  <a:pt x="469" y="0"/>
                </a:lnTo>
                <a:lnTo>
                  <a:pt x="157" y="0"/>
                </a:lnTo>
                <a:lnTo>
                  <a:pt x="0" y="222"/>
                </a:lnTo>
                <a:lnTo>
                  <a:pt x="157" y="444"/>
                </a:lnTo>
                <a:lnTo>
                  <a:pt x="240" y="444"/>
                </a:lnTo>
                <a:lnTo>
                  <a:pt x="469" y="444"/>
                </a:lnTo>
                <a:lnTo>
                  <a:pt x="1973" y="444"/>
                </a:lnTo>
                <a:lnTo>
                  <a:pt x="1973" y="0"/>
                </a:lnTo>
                <a:lnTo>
                  <a:pt x="469" y="0"/>
                </a:lnTo>
                <a:close/>
              </a:path>
            </a:pathLst>
          </a:custGeom>
          <a:solidFill>
            <a:srgbClr val="E7C01F"/>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5" name="Freeform 7"/>
          <p:cNvSpPr>
            <a:spLocks/>
          </p:cNvSpPr>
          <p:nvPr/>
        </p:nvSpPr>
        <p:spPr bwMode="auto">
          <a:xfrm>
            <a:off x="8115300" y="2857501"/>
            <a:ext cx="5555457" cy="1112045"/>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close/>
              </a:path>
            </a:pathLst>
          </a:custGeom>
          <a:solidFill>
            <a:srgbClr val="DF5426"/>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6" name="Freeform 8"/>
          <p:cNvSpPr>
            <a:spLocks/>
          </p:cNvSpPr>
          <p:nvPr/>
        </p:nvSpPr>
        <p:spPr bwMode="auto">
          <a:xfrm>
            <a:off x="8115300" y="2857501"/>
            <a:ext cx="4333875" cy="1112045"/>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path>
            </a:pathLst>
          </a:custGeom>
          <a:no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7" name="Freeform 9"/>
          <p:cNvSpPr>
            <a:spLocks/>
          </p:cNvSpPr>
          <p:nvPr/>
        </p:nvSpPr>
        <p:spPr bwMode="auto">
          <a:xfrm>
            <a:off x="904876" y="3936207"/>
            <a:ext cx="4998245" cy="1171575"/>
          </a:xfrm>
          <a:custGeom>
            <a:avLst/>
            <a:gdLst>
              <a:gd name="T0" fmla="*/ 431 w 1620"/>
              <a:gd name="T1" fmla="*/ 0 h 498"/>
              <a:gd name="T2" fmla="*/ 431 w 1620"/>
              <a:gd name="T3" fmla="*/ 0 h 498"/>
              <a:gd name="T4" fmla="*/ 144 w 1620"/>
              <a:gd name="T5" fmla="*/ 0 h 498"/>
              <a:gd name="T6" fmla="*/ 0 w 1620"/>
              <a:gd name="T7" fmla="*/ 249 h 498"/>
              <a:gd name="T8" fmla="*/ 144 w 1620"/>
              <a:gd name="T9" fmla="*/ 498 h 498"/>
              <a:gd name="T10" fmla="*/ 192 w 1620"/>
              <a:gd name="T11" fmla="*/ 498 h 498"/>
              <a:gd name="T12" fmla="*/ 431 w 1620"/>
              <a:gd name="T13" fmla="*/ 498 h 498"/>
              <a:gd name="T14" fmla="*/ 1620 w 1620"/>
              <a:gd name="T15" fmla="*/ 498 h 498"/>
              <a:gd name="T16" fmla="*/ 1620 w 1620"/>
              <a:gd name="T17" fmla="*/ 0 h 498"/>
              <a:gd name="T18" fmla="*/ 431 w 1620"/>
              <a:gd name="T1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498">
                <a:moveTo>
                  <a:pt x="431" y="0"/>
                </a:moveTo>
                <a:lnTo>
                  <a:pt x="431" y="0"/>
                </a:lnTo>
                <a:lnTo>
                  <a:pt x="144" y="0"/>
                </a:lnTo>
                <a:lnTo>
                  <a:pt x="0" y="249"/>
                </a:lnTo>
                <a:lnTo>
                  <a:pt x="144" y="498"/>
                </a:lnTo>
                <a:lnTo>
                  <a:pt x="192" y="498"/>
                </a:lnTo>
                <a:lnTo>
                  <a:pt x="431" y="498"/>
                </a:lnTo>
                <a:lnTo>
                  <a:pt x="1620" y="498"/>
                </a:lnTo>
                <a:lnTo>
                  <a:pt x="1620" y="0"/>
                </a:lnTo>
                <a:lnTo>
                  <a:pt x="431" y="0"/>
                </a:lnTo>
                <a:close/>
              </a:path>
            </a:pathLst>
          </a:custGeom>
          <a:solidFill>
            <a:srgbClr val="BE224F"/>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8" name="Freeform 10"/>
          <p:cNvSpPr>
            <a:spLocks/>
          </p:cNvSpPr>
          <p:nvPr/>
        </p:nvSpPr>
        <p:spPr bwMode="auto">
          <a:xfrm>
            <a:off x="8353425" y="5093495"/>
            <a:ext cx="4543425" cy="1271588"/>
          </a:xfrm>
          <a:custGeom>
            <a:avLst/>
            <a:gdLst>
              <a:gd name="T0" fmla="*/ 1351 w 1506"/>
              <a:gd name="T1" fmla="*/ 1 h 540"/>
              <a:gd name="T2" fmla="*/ 1251 w 1506"/>
              <a:gd name="T3" fmla="*/ 1 h 540"/>
              <a:gd name="T4" fmla="*/ 1251 w 1506"/>
              <a:gd name="T5" fmla="*/ 0 h 540"/>
              <a:gd name="T6" fmla="*/ 0 w 1506"/>
              <a:gd name="T7" fmla="*/ 0 h 540"/>
              <a:gd name="T8" fmla="*/ 0 w 1506"/>
              <a:gd name="T9" fmla="*/ 540 h 540"/>
              <a:gd name="T10" fmla="*/ 1040 w 1506"/>
              <a:gd name="T11" fmla="*/ 540 h 540"/>
              <a:gd name="T12" fmla="*/ 1251 w 1506"/>
              <a:gd name="T13" fmla="*/ 540 h 540"/>
              <a:gd name="T14" fmla="*/ 1351 w 1506"/>
              <a:gd name="T15" fmla="*/ 540 h 540"/>
              <a:gd name="T16" fmla="*/ 1506 w 1506"/>
              <a:gd name="T17" fmla="*/ 270 h 540"/>
              <a:gd name="T18" fmla="*/ 1351 w 1506"/>
              <a:gd name="T19" fmla="*/ 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6" h="540">
                <a:moveTo>
                  <a:pt x="1351" y="1"/>
                </a:moveTo>
                <a:lnTo>
                  <a:pt x="1251" y="1"/>
                </a:lnTo>
                <a:lnTo>
                  <a:pt x="1251" y="0"/>
                </a:lnTo>
                <a:lnTo>
                  <a:pt x="0" y="0"/>
                </a:lnTo>
                <a:lnTo>
                  <a:pt x="0" y="540"/>
                </a:lnTo>
                <a:lnTo>
                  <a:pt x="1040" y="540"/>
                </a:lnTo>
                <a:lnTo>
                  <a:pt x="1251" y="540"/>
                </a:lnTo>
                <a:lnTo>
                  <a:pt x="1351" y="540"/>
                </a:lnTo>
                <a:lnTo>
                  <a:pt x="1506" y="270"/>
                </a:lnTo>
                <a:lnTo>
                  <a:pt x="1351" y="1"/>
                </a:lnTo>
                <a:close/>
              </a:path>
            </a:pathLst>
          </a:custGeom>
          <a:solidFill>
            <a:srgbClr val="139392"/>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19" name="Freeform 12"/>
          <p:cNvSpPr>
            <a:spLocks/>
          </p:cNvSpPr>
          <p:nvPr/>
        </p:nvSpPr>
        <p:spPr bwMode="auto">
          <a:xfrm>
            <a:off x="1731170" y="6281738"/>
            <a:ext cx="4481513" cy="1219200"/>
          </a:xfrm>
          <a:custGeom>
            <a:avLst/>
            <a:gdLst>
              <a:gd name="T0" fmla="*/ 1401 w 1401"/>
              <a:gd name="T1" fmla="*/ 0 h 499"/>
              <a:gd name="T2" fmla="*/ 144 w 1401"/>
              <a:gd name="T3" fmla="*/ 0 h 499"/>
              <a:gd name="T4" fmla="*/ 0 w 1401"/>
              <a:gd name="T5" fmla="*/ 249 h 499"/>
              <a:gd name="T6" fmla="*/ 144 w 1401"/>
              <a:gd name="T7" fmla="*/ 499 h 499"/>
              <a:gd name="T8" fmla="*/ 1401 w 1401"/>
              <a:gd name="T9" fmla="*/ 499 h 499"/>
              <a:gd name="T10" fmla="*/ 1401 w 1401"/>
              <a:gd name="T11" fmla="*/ 0 h 499"/>
            </a:gdLst>
            <a:ahLst/>
            <a:cxnLst>
              <a:cxn ang="0">
                <a:pos x="T0" y="T1"/>
              </a:cxn>
              <a:cxn ang="0">
                <a:pos x="T2" y="T3"/>
              </a:cxn>
              <a:cxn ang="0">
                <a:pos x="T4" y="T5"/>
              </a:cxn>
              <a:cxn ang="0">
                <a:pos x="T6" y="T7"/>
              </a:cxn>
              <a:cxn ang="0">
                <a:pos x="T8" y="T9"/>
              </a:cxn>
              <a:cxn ang="0">
                <a:pos x="T10" y="T11"/>
              </a:cxn>
            </a:cxnLst>
            <a:rect l="0" t="0" r="r" b="b"/>
            <a:pathLst>
              <a:path w="1401" h="499">
                <a:moveTo>
                  <a:pt x="1401" y="0"/>
                </a:moveTo>
                <a:lnTo>
                  <a:pt x="144" y="0"/>
                </a:lnTo>
                <a:lnTo>
                  <a:pt x="0" y="249"/>
                </a:lnTo>
                <a:lnTo>
                  <a:pt x="144" y="499"/>
                </a:lnTo>
                <a:lnTo>
                  <a:pt x="1401" y="499"/>
                </a:lnTo>
                <a:lnTo>
                  <a:pt x="1401" y="0"/>
                </a:lnTo>
                <a:close/>
              </a:path>
            </a:pathLst>
          </a:custGeom>
          <a:solidFill>
            <a:srgbClr val="24567F"/>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0" name="Freeform 56"/>
          <p:cNvSpPr>
            <a:spLocks/>
          </p:cNvSpPr>
          <p:nvPr/>
        </p:nvSpPr>
        <p:spPr bwMode="auto">
          <a:xfrm>
            <a:off x="5450683" y="1783558"/>
            <a:ext cx="3576638" cy="1078706"/>
          </a:xfrm>
          <a:custGeom>
            <a:avLst/>
            <a:gdLst>
              <a:gd name="T0" fmla="*/ 524 w 1047"/>
              <a:gd name="T1" fmla="*/ 316 h 316"/>
              <a:gd name="T2" fmla="*/ 1047 w 1047"/>
              <a:gd name="T3" fmla="*/ 234 h 316"/>
              <a:gd name="T4" fmla="*/ 524 w 1047"/>
              <a:gd name="T5" fmla="*/ 0 h 316"/>
              <a:gd name="T6" fmla="*/ 0 w 1047"/>
              <a:gd name="T7" fmla="*/ 238 h 316"/>
              <a:gd name="T8" fmla="*/ 524 w 1047"/>
              <a:gd name="T9" fmla="*/ 316 h 316"/>
            </a:gdLst>
            <a:ahLst/>
            <a:cxnLst>
              <a:cxn ang="0">
                <a:pos x="T0" y="T1"/>
              </a:cxn>
              <a:cxn ang="0">
                <a:pos x="T2" y="T3"/>
              </a:cxn>
              <a:cxn ang="0">
                <a:pos x="T4" y="T5"/>
              </a:cxn>
              <a:cxn ang="0">
                <a:pos x="T6" y="T7"/>
              </a:cxn>
              <a:cxn ang="0">
                <a:pos x="T8" y="T9"/>
              </a:cxn>
            </a:cxnLst>
            <a:rect l="0" t="0" r="r" b="b"/>
            <a:pathLst>
              <a:path w="1047" h="316">
                <a:moveTo>
                  <a:pt x="524" y="316"/>
                </a:moveTo>
                <a:cubicBezTo>
                  <a:pt x="725" y="316"/>
                  <a:pt x="911" y="287"/>
                  <a:pt x="1047" y="234"/>
                </a:cubicBezTo>
                <a:cubicBezTo>
                  <a:pt x="919" y="92"/>
                  <a:pt x="731" y="0"/>
                  <a:pt x="524" y="0"/>
                </a:cubicBezTo>
                <a:cubicBezTo>
                  <a:pt x="308" y="0"/>
                  <a:pt x="128" y="96"/>
                  <a:pt x="0" y="238"/>
                </a:cubicBezTo>
                <a:cubicBezTo>
                  <a:pt x="136" y="291"/>
                  <a:pt x="324" y="316"/>
                  <a:pt x="524" y="316"/>
                </a:cubicBezTo>
              </a:path>
            </a:pathLst>
          </a:custGeom>
          <a:gradFill>
            <a:gsLst>
              <a:gs pos="0">
                <a:srgbClr val="E7C01F">
                  <a:lumMod val="75000"/>
                </a:srgbClr>
              </a:gs>
              <a:gs pos="25000">
                <a:srgbClr val="E7C01F"/>
              </a:gs>
              <a:gs pos="75000">
                <a:srgbClr val="E7C01F"/>
              </a:gs>
              <a:gs pos="50000">
                <a:srgbClr val="E7C01F">
                  <a:lumMod val="60000"/>
                  <a:lumOff val="40000"/>
                </a:srgbClr>
              </a:gs>
              <a:gs pos="100000">
                <a:srgbClr val="E7C01F">
                  <a:lumMod val="75000"/>
                </a:srgbClr>
              </a:gs>
            </a:gsLst>
            <a:lin ang="0" scaled="1"/>
          </a:gra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1" name="Freeform 57"/>
          <p:cNvSpPr>
            <a:spLocks/>
          </p:cNvSpPr>
          <p:nvPr/>
        </p:nvSpPr>
        <p:spPr bwMode="auto">
          <a:xfrm>
            <a:off x="5033549" y="5087492"/>
            <a:ext cx="4417491" cy="1332072"/>
          </a:xfrm>
          <a:custGeom>
            <a:avLst/>
            <a:gdLst>
              <a:gd name="T0" fmla="*/ 646 w 1293"/>
              <a:gd name="T1" fmla="*/ 38 h 390"/>
              <a:gd name="T2" fmla="*/ 0 w 1293"/>
              <a:gd name="T3" fmla="*/ 0 h 390"/>
              <a:gd name="T4" fmla="*/ 76 w 1293"/>
              <a:gd name="T5" fmla="*/ 138 h 390"/>
              <a:gd name="T6" fmla="*/ 212 w 1293"/>
              <a:gd name="T7" fmla="*/ 378 h 390"/>
              <a:gd name="T8" fmla="*/ 649 w 1293"/>
              <a:gd name="T9" fmla="*/ 390 h 390"/>
              <a:gd name="T10" fmla="*/ 1076 w 1293"/>
              <a:gd name="T11" fmla="*/ 378 h 390"/>
              <a:gd name="T12" fmla="*/ 1194 w 1293"/>
              <a:gd name="T13" fmla="*/ 166 h 390"/>
              <a:gd name="T14" fmla="*/ 1293 w 1293"/>
              <a:gd name="T15" fmla="*/ 0 h 390"/>
              <a:gd name="T16" fmla="*/ 646 w 1293"/>
              <a:gd name="T17" fmla="*/ 3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3" h="390">
                <a:moveTo>
                  <a:pt x="646" y="38"/>
                </a:moveTo>
                <a:cubicBezTo>
                  <a:pt x="422" y="38"/>
                  <a:pt x="205" y="25"/>
                  <a:pt x="0" y="0"/>
                </a:cubicBezTo>
                <a:cubicBezTo>
                  <a:pt x="20" y="49"/>
                  <a:pt x="46" y="95"/>
                  <a:pt x="76" y="138"/>
                </a:cubicBezTo>
                <a:cubicBezTo>
                  <a:pt x="78" y="142"/>
                  <a:pt x="167" y="268"/>
                  <a:pt x="212" y="378"/>
                </a:cubicBezTo>
                <a:cubicBezTo>
                  <a:pt x="355" y="386"/>
                  <a:pt x="501" y="390"/>
                  <a:pt x="649" y="390"/>
                </a:cubicBezTo>
                <a:cubicBezTo>
                  <a:pt x="794" y="390"/>
                  <a:pt x="936" y="386"/>
                  <a:pt x="1076" y="378"/>
                </a:cubicBezTo>
                <a:cubicBezTo>
                  <a:pt x="1111" y="293"/>
                  <a:pt x="1169" y="203"/>
                  <a:pt x="1194" y="166"/>
                </a:cubicBezTo>
                <a:cubicBezTo>
                  <a:pt x="1234" y="116"/>
                  <a:pt x="1267" y="60"/>
                  <a:pt x="1293" y="0"/>
                </a:cubicBezTo>
                <a:cubicBezTo>
                  <a:pt x="1088" y="25"/>
                  <a:pt x="871" y="38"/>
                  <a:pt x="646" y="38"/>
                </a:cubicBezTo>
              </a:path>
            </a:pathLst>
          </a:custGeom>
          <a:gradFill>
            <a:gsLst>
              <a:gs pos="0">
                <a:srgbClr val="139392">
                  <a:lumMod val="50000"/>
                </a:srgbClr>
              </a:gs>
              <a:gs pos="25000">
                <a:srgbClr val="139392">
                  <a:lumMod val="75000"/>
                </a:srgbClr>
              </a:gs>
              <a:gs pos="75000">
                <a:srgbClr val="139392">
                  <a:lumMod val="75000"/>
                </a:srgbClr>
              </a:gs>
              <a:gs pos="50000">
                <a:srgbClr val="139392"/>
              </a:gs>
              <a:gs pos="100000">
                <a:srgbClr val="139392">
                  <a:lumMod val="50000"/>
                </a:srgbClr>
              </a:gs>
            </a:gsLst>
            <a:lin ang="0" scaled="1"/>
          </a:gradFill>
          <a:ln w="9525">
            <a:gradFill flip="none" rotWithShape="1">
              <a:gsLst>
                <a:gs pos="25000">
                  <a:srgbClr val="139392">
                    <a:lumMod val="75000"/>
                  </a:srgbClr>
                </a:gs>
                <a:gs pos="0">
                  <a:srgbClr val="139392">
                    <a:lumMod val="50000"/>
                  </a:srgbClr>
                </a:gs>
                <a:gs pos="50000">
                  <a:srgbClr val="139392"/>
                </a:gs>
                <a:gs pos="75000">
                  <a:srgbClr val="139392">
                    <a:lumMod val="75000"/>
                  </a:srgbClr>
                </a:gs>
                <a:gs pos="100000">
                  <a:srgbClr val="139392">
                    <a:lumMod val="50000"/>
                  </a:srgbClr>
                </a:gs>
              </a:gsLst>
              <a:lin ang="0" scaled="1"/>
              <a:tileRect/>
            </a:grad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2" name="Freeform 58"/>
          <p:cNvSpPr>
            <a:spLocks/>
          </p:cNvSpPr>
          <p:nvPr/>
        </p:nvSpPr>
        <p:spPr bwMode="auto">
          <a:xfrm>
            <a:off x="4838207" y="2571619"/>
            <a:ext cx="4805814" cy="1435625"/>
          </a:xfrm>
          <a:custGeom>
            <a:avLst/>
            <a:gdLst>
              <a:gd name="T0" fmla="*/ 703 w 1407"/>
              <a:gd name="T1" fmla="*/ 85 h 420"/>
              <a:gd name="T2" fmla="*/ 173 w 1407"/>
              <a:gd name="T3" fmla="*/ 0 h 420"/>
              <a:gd name="T4" fmla="*/ 0 w 1407"/>
              <a:gd name="T5" fmla="*/ 349 h 420"/>
              <a:gd name="T6" fmla="*/ 702 w 1407"/>
              <a:gd name="T7" fmla="*/ 420 h 420"/>
              <a:gd name="T8" fmla="*/ 1407 w 1407"/>
              <a:gd name="T9" fmla="*/ 350 h 420"/>
              <a:gd name="T10" fmla="*/ 1233 w 1407"/>
              <a:gd name="T11" fmla="*/ 0 h 420"/>
              <a:gd name="T12" fmla="*/ 703 w 1407"/>
              <a:gd name="T13" fmla="*/ 85 h 420"/>
            </a:gdLst>
            <a:ahLst/>
            <a:cxnLst>
              <a:cxn ang="0">
                <a:pos x="T0" y="T1"/>
              </a:cxn>
              <a:cxn ang="0">
                <a:pos x="T2" y="T3"/>
              </a:cxn>
              <a:cxn ang="0">
                <a:pos x="T4" y="T5"/>
              </a:cxn>
              <a:cxn ang="0">
                <a:pos x="T6" y="T7"/>
              </a:cxn>
              <a:cxn ang="0">
                <a:pos x="T8" y="T9"/>
              </a:cxn>
              <a:cxn ang="0">
                <a:pos x="T10" y="T11"/>
              </a:cxn>
              <a:cxn ang="0">
                <a:pos x="T12" y="T13"/>
              </a:cxn>
            </a:cxnLst>
            <a:rect l="0" t="0" r="r" b="b"/>
            <a:pathLst>
              <a:path w="1407" h="420">
                <a:moveTo>
                  <a:pt x="703" y="85"/>
                </a:moveTo>
                <a:cubicBezTo>
                  <a:pt x="499" y="85"/>
                  <a:pt x="312" y="53"/>
                  <a:pt x="173" y="0"/>
                </a:cubicBezTo>
                <a:cubicBezTo>
                  <a:pt x="85" y="96"/>
                  <a:pt x="23" y="216"/>
                  <a:pt x="0" y="349"/>
                </a:cubicBezTo>
                <a:cubicBezTo>
                  <a:pt x="210" y="394"/>
                  <a:pt x="449" y="420"/>
                  <a:pt x="702" y="420"/>
                </a:cubicBezTo>
                <a:cubicBezTo>
                  <a:pt x="957" y="420"/>
                  <a:pt x="1197" y="395"/>
                  <a:pt x="1407" y="350"/>
                </a:cubicBezTo>
                <a:cubicBezTo>
                  <a:pt x="1384" y="217"/>
                  <a:pt x="1322" y="96"/>
                  <a:pt x="1233" y="0"/>
                </a:cubicBezTo>
                <a:cubicBezTo>
                  <a:pt x="1095" y="53"/>
                  <a:pt x="908" y="85"/>
                  <a:pt x="703" y="85"/>
                </a:cubicBezTo>
              </a:path>
            </a:pathLst>
          </a:custGeom>
          <a:gradFill>
            <a:gsLst>
              <a:gs pos="0">
                <a:srgbClr val="DF5426">
                  <a:lumMod val="50000"/>
                </a:srgbClr>
              </a:gs>
              <a:gs pos="25000">
                <a:srgbClr val="DF5426">
                  <a:lumMod val="75000"/>
                </a:srgbClr>
              </a:gs>
              <a:gs pos="75000">
                <a:srgbClr val="DF5426">
                  <a:lumMod val="75000"/>
                </a:srgbClr>
              </a:gs>
              <a:gs pos="50000">
                <a:srgbClr val="DF5426"/>
              </a:gs>
              <a:gs pos="100000">
                <a:srgbClr val="DF5426">
                  <a:lumMod val="50000"/>
                </a:srgbClr>
              </a:gs>
            </a:gsLst>
            <a:lin ang="0" scaled="1"/>
          </a:gradFill>
          <a:ln w="12700">
            <a:gradFill flip="none" rotWithShape="1">
              <a:gsLst>
                <a:gs pos="25000">
                  <a:srgbClr val="DF5426">
                    <a:lumMod val="75000"/>
                  </a:srgbClr>
                </a:gs>
                <a:gs pos="0">
                  <a:srgbClr val="DF5426">
                    <a:lumMod val="50000"/>
                  </a:srgbClr>
                </a:gs>
                <a:gs pos="50000">
                  <a:srgbClr val="DF5426"/>
                </a:gs>
                <a:gs pos="75000">
                  <a:srgbClr val="DF5426">
                    <a:lumMod val="75000"/>
                  </a:srgbClr>
                </a:gs>
                <a:gs pos="100000">
                  <a:srgbClr val="DF5426">
                    <a:lumMod val="50000"/>
                  </a:srgbClr>
                </a:gs>
              </a:gsLst>
              <a:lin ang="10800000" scaled="1"/>
              <a:tileRect/>
            </a:grad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3" name="Freeform 59"/>
          <p:cNvSpPr>
            <a:spLocks/>
          </p:cNvSpPr>
          <p:nvPr/>
        </p:nvSpPr>
        <p:spPr bwMode="auto">
          <a:xfrm>
            <a:off x="4788695" y="3764758"/>
            <a:ext cx="4907756" cy="1452563"/>
          </a:xfrm>
          <a:custGeom>
            <a:avLst/>
            <a:gdLst>
              <a:gd name="T0" fmla="*/ 717 w 1437"/>
              <a:gd name="T1" fmla="*/ 71 h 425"/>
              <a:gd name="T2" fmla="*/ 11 w 1437"/>
              <a:gd name="T3" fmla="*/ 0 h 425"/>
              <a:gd name="T4" fmla="*/ 0 w 1437"/>
              <a:gd name="T5" fmla="*/ 119 h 425"/>
              <a:gd name="T6" fmla="*/ 55 w 1437"/>
              <a:gd name="T7" fmla="*/ 387 h 425"/>
              <a:gd name="T8" fmla="*/ 718 w 1437"/>
              <a:gd name="T9" fmla="*/ 425 h 425"/>
              <a:gd name="T10" fmla="*/ 1382 w 1437"/>
              <a:gd name="T11" fmla="*/ 387 h 425"/>
              <a:gd name="T12" fmla="*/ 1437 w 1437"/>
              <a:gd name="T13" fmla="*/ 119 h 425"/>
              <a:gd name="T14" fmla="*/ 1426 w 1437"/>
              <a:gd name="T15" fmla="*/ 0 h 425"/>
              <a:gd name="T16" fmla="*/ 717 w 1437"/>
              <a:gd name="T17" fmla="*/ 7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7" h="425">
                <a:moveTo>
                  <a:pt x="717" y="71"/>
                </a:moveTo>
                <a:cubicBezTo>
                  <a:pt x="462" y="71"/>
                  <a:pt x="222" y="45"/>
                  <a:pt x="11" y="0"/>
                </a:cubicBezTo>
                <a:cubicBezTo>
                  <a:pt x="4" y="39"/>
                  <a:pt x="0" y="79"/>
                  <a:pt x="0" y="119"/>
                </a:cubicBezTo>
                <a:cubicBezTo>
                  <a:pt x="0" y="214"/>
                  <a:pt x="20" y="304"/>
                  <a:pt x="55" y="387"/>
                </a:cubicBezTo>
                <a:cubicBezTo>
                  <a:pt x="265" y="412"/>
                  <a:pt x="488" y="425"/>
                  <a:pt x="718" y="425"/>
                </a:cubicBezTo>
                <a:cubicBezTo>
                  <a:pt x="949" y="425"/>
                  <a:pt x="1172" y="412"/>
                  <a:pt x="1382" y="387"/>
                </a:cubicBezTo>
                <a:cubicBezTo>
                  <a:pt x="1417" y="304"/>
                  <a:pt x="1437" y="214"/>
                  <a:pt x="1437" y="119"/>
                </a:cubicBezTo>
                <a:cubicBezTo>
                  <a:pt x="1437" y="79"/>
                  <a:pt x="1433" y="39"/>
                  <a:pt x="1426" y="0"/>
                </a:cubicBezTo>
                <a:cubicBezTo>
                  <a:pt x="1215" y="45"/>
                  <a:pt x="973" y="71"/>
                  <a:pt x="717" y="71"/>
                </a:cubicBezTo>
              </a:path>
            </a:pathLst>
          </a:custGeom>
          <a:gradFill>
            <a:gsLst>
              <a:gs pos="0">
                <a:srgbClr val="BE224F">
                  <a:lumMod val="50000"/>
                </a:srgbClr>
              </a:gs>
              <a:gs pos="25000">
                <a:srgbClr val="BE224F">
                  <a:lumMod val="75000"/>
                </a:srgbClr>
              </a:gs>
              <a:gs pos="75000">
                <a:srgbClr val="BE224F">
                  <a:lumMod val="75000"/>
                </a:srgbClr>
              </a:gs>
              <a:gs pos="50000">
                <a:srgbClr val="BE224F"/>
              </a:gs>
              <a:gs pos="100000">
                <a:srgbClr val="BE224F">
                  <a:lumMod val="50000"/>
                </a:srgbClr>
              </a:gs>
            </a:gsLst>
            <a:lin ang="0" scaled="1"/>
          </a:gra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4" name="Freeform 60"/>
          <p:cNvSpPr>
            <a:spLocks/>
          </p:cNvSpPr>
          <p:nvPr/>
        </p:nvSpPr>
        <p:spPr bwMode="auto">
          <a:xfrm>
            <a:off x="9644063" y="3755233"/>
            <a:ext cx="14288" cy="11906"/>
          </a:xfrm>
          <a:custGeom>
            <a:avLst/>
            <a:gdLst>
              <a:gd name="T0" fmla="*/ 4 w 4"/>
              <a:gd name="T1" fmla="*/ 3 h 4"/>
              <a:gd name="T2" fmla="*/ 0 w 4"/>
              <a:gd name="T3" fmla="*/ 0 h 4"/>
              <a:gd name="T4" fmla="*/ 0 w 4"/>
              <a:gd name="T5" fmla="*/ 4 h 4"/>
              <a:gd name="T6" fmla="*/ 4 w 4"/>
              <a:gd name="T7" fmla="*/ 3 h 4"/>
            </a:gdLst>
            <a:ahLst/>
            <a:cxnLst>
              <a:cxn ang="0">
                <a:pos x="T0" y="T1"/>
              </a:cxn>
              <a:cxn ang="0">
                <a:pos x="T2" y="T3"/>
              </a:cxn>
              <a:cxn ang="0">
                <a:pos x="T4" y="T5"/>
              </a:cxn>
              <a:cxn ang="0">
                <a:pos x="T6" y="T7"/>
              </a:cxn>
            </a:cxnLst>
            <a:rect l="0" t="0" r="r" b="b"/>
            <a:pathLst>
              <a:path w="4" h="4">
                <a:moveTo>
                  <a:pt x="4" y="3"/>
                </a:moveTo>
                <a:cubicBezTo>
                  <a:pt x="4" y="3"/>
                  <a:pt x="4" y="0"/>
                  <a:pt x="0" y="0"/>
                </a:cubicBezTo>
                <a:cubicBezTo>
                  <a:pt x="0" y="4"/>
                  <a:pt x="0" y="4"/>
                  <a:pt x="0" y="4"/>
                </a:cubicBezTo>
                <a:lnTo>
                  <a:pt x="4" y="3"/>
                </a:lnTo>
                <a:close/>
              </a:path>
            </a:pathLst>
          </a:custGeom>
          <a:solidFill>
            <a:srgbClr val="231F20"/>
          </a:solidFill>
          <a:ln w="9525">
            <a:no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5" name="Freeform 61"/>
          <p:cNvSpPr>
            <a:spLocks/>
          </p:cNvSpPr>
          <p:nvPr/>
        </p:nvSpPr>
        <p:spPr bwMode="auto">
          <a:xfrm>
            <a:off x="5758421" y="6379556"/>
            <a:ext cx="2951268" cy="1075544"/>
          </a:xfrm>
          <a:custGeom>
            <a:avLst/>
            <a:gdLst>
              <a:gd name="T0" fmla="*/ 437 w 864"/>
              <a:gd name="T1" fmla="*/ 12 h 315"/>
              <a:gd name="T2" fmla="*/ 0 w 864"/>
              <a:gd name="T3" fmla="*/ 0 h 315"/>
              <a:gd name="T4" fmla="*/ 11 w 864"/>
              <a:gd name="T5" fmla="*/ 27 h 315"/>
              <a:gd name="T6" fmla="*/ 155 w 864"/>
              <a:gd name="T7" fmla="*/ 315 h 315"/>
              <a:gd name="T8" fmla="*/ 431 w 864"/>
              <a:gd name="T9" fmla="*/ 315 h 315"/>
              <a:gd name="T10" fmla="*/ 434 w 864"/>
              <a:gd name="T11" fmla="*/ 315 h 315"/>
              <a:gd name="T12" fmla="*/ 709 w 864"/>
              <a:gd name="T13" fmla="*/ 315 h 315"/>
              <a:gd name="T14" fmla="*/ 854 w 864"/>
              <a:gd name="T15" fmla="*/ 27 h 315"/>
              <a:gd name="T16" fmla="*/ 864 w 864"/>
              <a:gd name="T17" fmla="*/ 0 h 315"/>
              <a:gd name="T18" fmla="*/ 437 w 864"/>
              <a:gd name="T19" fmla="*/ 1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315">
                <a:moveTo>
                  <a:pt x="437" y="12"/>
                </a:moveTo>
                <a:cubicBezTo>
                  <a:pt x="289" y="12"/>
                  <a:pt x="143" y="8"/>
                  <a:pt x="0" y="0"/>
                </a:cubicBezTo>
                <a:cubicBezTo>
                  <a:pt x="4" y="9"/>
                  <a:pt x="8" y="18"/>
                  <a:pt x="11" y="27"/>
                </a:cubicBezTo>
                <a:cubicBezTo>
                  <a:pt x="52" y="145"/>
                  <a:pt x="50" y="315"/>
                  <a:pt x="155" y="315"/>
                </a:cubicBezTo>
                <a:cubicBezTo>
                  <a:pt x="431" y="315"/>
                  <a:pt x="431" y="315"/>
                  <a:pt x="431" y="315"/>
                </a:cubicBezTo>
                <a:cubicBezTo>
                  <a:pt x="434" y="315"/>
                  <a:pt x="434" y="315"/>
                  <a:pt x="434" y="315"/>
                </a:cubicBezTo>
                <a:cubicBezTo>
                  <a:pt x="709" y="315"/>
                  <a:pt x="709" y="315"/>
                  <a:pt x="709" y="315"/>
                </a:cubicBezTo>
                <a:cubicBezTo>
                  <a:pt x="814" y="315"/>
                  <a:pt x="812" y="145"/>
                  <a:pt x="854" y="27"/>
                </a:cubicBezTo>
                <a:cubicBezTo>
                  <a:pt x="857" y="18"/>
                  <a:pt x="860" y="9"/>
                  <a:pt x="864" y="0"/>
                </a:cubicBezTo>
                <a:cubicBezTo>
                  <a:pt x="724" y="8"/>
                  <a:pt x="582" y="12"/>
                  <a:pt x="437" y="12"/>
                </a:cubicBezTo>
              </a:path>
            </a:pathLst>
          </a:custGeom>
          <a:gradFill flip="none" rotWithShape="1">
            <a:gsLst>
              <a:gs pos="0">
                <a:srgbClr val="24567F">
                  <a:lumMod val="50000"/>
                </a:srgbClr>
              </a:gs>
              <a:gs pos="25000">
                <a:srgbClr val="24567F">
                  <a:lumMod val="75000"/>
                </a:srgbClr>
              </a:gs>
              <a:gs pos="75000">
                <a:srgbClr val="24567F">
                  <a:lumMod val="75000"/>
                </a:srgbClr>
              </a:gs>
              <a:gs pos="50000">
                <a:srgbClr val="24567F"/>
              </a:gs>
              <a:gs pos="100000">
                <a:srgbClr val="24567F">
                  <a:lumMod val="50000"/>
                </a:srgbClr>
              </a:gs>
            </a:gsLst>
            <a:lin ang="0" scaled="1"/>
            <a:tileRect/>
          </a:gradFill>
          <a:ln w="15875">
            <a:gradFill flip="none" rotWithShape="1">
              <a:gsLst>
                <a:gs pos="25000">
                  <a:srgbClr val="24567F">
                    <a:lumMod val="75000"/>
                  </a:srgbClr>
                </a:gs>
                <a:gs pos="0">
                  <a:srgbClr val="24567F">
                    <a:lumMod val="50000"/>
                  </a:srgbClr>
                </a:gs>
                <a:gs pos="75000">
                  <a:srgbClr val="24567F">
                    <a:lumMod val="75000"/>
                  </a:srgbClr>
                </a:gs>
                <a:gs pos="50000">
                  <a:srgbClr val="24567F"/>
                </a:gs>
                <a:gs pos="100000">
                  <a:srgbClr val="24567F">
                    <a:lumMod val="50000"/>
                  </a:srgbClr>
                </a:gs>
              </a:gsLst>
              <a:lin ang="0" scaled="1"/>
              <a:tileRect/>
            </a:gradFill>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6" name="Freeform 6"/>
          <p:cNvSpPr>
            <a:spLocks noEditPoints="1"/>
          </p:cNvSpPr>
          <p:nvPr/>
        </p:nvSpPr>
        <p:spPr bwMode="auto">
          <a:xfrm>
            <a:off x="6912770" y="6560345"/>
            <a:ext cx="711993" cy="714375"/>
          </a:xfrm>
          <a:custGeom>
            <a:avLst/>
            <a:gdLst>
              <a:gd name="T0" fmla="*/ 2626 w 3517"/>
              <a:gd name="T1" fmla="*/ 2260 h 3518"/>
              <a:gd name="T2" fmla="*/ 3015 w 3517"/>
              <a:gd name="T3" fmla="*/ 2649 h 3518"/>
              <a:gd name="T4" fmla="*/ 3074 w 3517"/>
              <a:gd name="T5" fmla="*/ 2773 h 3518"/>
              <a:gd name="T6" fmla="*/ 2967 w 3517"/>
              <a:gd name="T7" fmla="*/ 2858 h 3518"/>
              <a:gd name="T8" fmla="*/ 2428 w 3517"/>
              <a:gd name="T9" fmla="*/ 2797 h 3518"/>
              <a:gd name="T10" fmla="*/ 2442 w 3517"/>
              <a:gd name="T11" fmla="*/ 2240 h 3518"/>
              <a:gd name="T12" fmla="*/ 2570 w 3517"/>
              <a:gd name="T13" fmla="*/ 1982 h 3518"/>
              <a:gd name="T14" fmla="*/ 2219 w 3517"/>
              <a:gd name="T15" fmla="*/ 2129 h 3518"/>
              <a:gd name="T16" fmla="*/ 2008 w 3517"/>
              <a:gd name="T17" fmla="*/ 2443 h 3518"/>
              <a:gd name="T18" fmla="*/ 2008 w 3517"/>
              <a:gd name="T19" fmla="*/ 2834 h 3518"/>
              <a:gd name="T20" fmla="*/ 2219 w 3517"/>
              <a:gd name="T21" fmla="*/ 3146 h 3518"/>
              <a:gd name="T22" fmla="*/ 2570 w 3517"/>
              <a:gd name="T23" fmla="*/ 3294 h 3518"/>
              <a:gd name="T24" fmla="*/ 2951 w 3517"/>
              <a:gd name="T25" fmla="*/ 3218 h 3518"/>
              <a:gd name="T26" fmla="*/ 3217 w 3517"/>
              <a:gd name="T27" fmla="*/ 2952 h 3518"/>
              <a:gd name="T28" fmla="*/ 3293 w 3517"/>
              <a:gd name="T29" fmla="*/ 2571 h 3518"/>
              <a:gd name="T30" fmla="*/ 3146 w 3517"/>
              <a:gd name="T31" fmla="*/ 2219 h 3518"/>
              <a:gd name="T32" fmla="*/ 2834 w 3517"/>
              <a:gd name="T33" fmla="*/ 2009 h 3518"/>
              <a:gd name="T34" fmla="*/ 1539 w 3517"/>
              <a:gd name="T35" fmla="*/ 2418 h 3518"/>
              <a:gd name="T36" fmla="*/ 439 w 3517"/>
              <a:gd name="T37" fmla="*/ 2418 h 3518"/>
              <a:gd name="T38" fmla="*/ 2929 w 3517"/>
              <a:gd name="T39" fmla="*/ 1809 h 3518"/>
              <a:gd name="T40" fmla="*/ 3284 w 3517"/>
              <a:gd name="T41" fmla="*/ 2042 h 3518"/>
              <a:gd name="T42" fmla="*/ 3488 w 3517"/>
              <a:gd name="T43" fmla="*/ 2416 h 3518"/>
              <a:gd name="T44" fmla="*/ 3488 w 3517"/>
              <a:gd name="T45" fmla="*/ 2860 h 3518"/>
              <a:gd name="T46" fmla="*/ 3284 w 3517"/>
              <a:gd name="T47" fmla="*/ 3234 h 3518"/>
              <a:gd name="T48" fmla="*/ 2929 w 3517"/>
              <a:gd name="T49" fmla="*/ 3468 h 3518"/>
              <a:gd name="T50" fmla="*/ 2487 w 3517"/>
              <a:gd name="T51" fmla="*/ 3505 h 3518"/>
              <a:gd name="T52" fmla="*/ 2096 w 3517"/>
              <a:gd name="T53" fmla="*/ 3330 h 3518"/>
              <a:gd name="T54" fmla="*/ 1835 w 3517"/>
              <a:gd name="T55" fmla="*/ 2997 h 3518"/>
              <a:gd name="T56" fmla="*/ 1761 w 3517"/>
              <a:gd name="T57" fmla="*/ 2563 h 3518"/>
              <a:gd name="T58" fmla="*/ 1903 w 3517"/>
              <a:gd name="T59" fmla="*/ 2154 h 3518"/>
              <a:gd name="T60" fmla="*/ 2214 w 3517"/>
              <a:gd name="T61" fmla="*/ 1867 h 3518"/>
              <a:gd name="T62" fmla="*/ 2638 w 3517"/>
              <a:gd name="T63" fmla="*/ 1759 h 3518"/>
              <a:gd name="T64" fmla="*/ 1099 w 3517"/>
              <a:gd name="T65" fmla="*/ 1320 h 3518"/>
              <a:gd name="T66" fmla="*/ 879 w 3517"/>
              <a:gd name="T67" fmla="*/ 1320 h 3518"/>
              <a:gd name="T68" fmla="*/ 329 w 3517"/>
              <a:gd name="T69" fmla="*/ 550 h 3518"/>
              <a:gd name="T70" fmla="*/ 420 w 3517"/>
              <a:gd name="T71" fmla="*/ 727 h 3518"/>
              <a:gd name="T72" fmla="*/ 619 w 3517"/>
              <a:gd name="T73" fmla="*/ 758 h 3518"/>
              <a:gd name="T74" fmla="*/ 758 w 3517"/>
              <a:gd name="T75" fmla="*/ 619 h 3518"/>
              <a:gd name="T76" fmla="*/ 2090 w 3517"/>
              <a:gd name="T77" fmla="*/ 585 h 3518"/>
              <a:gd name="T78" fmla="*/ 2207 w 3517"/>
              <a:gd name="T79" fmla="*/ 746 h 3518"/>
              <a:gd name="T80" fmla="*/ 2409 w 3517"/>
              <a:gd name="T81" fmla="*/ 746 h 3518"/>
              <a:gd name="T82" fmla="*/ 2525 w 3517"/>
              <a:gd name="T83" fmla="*/ 585 h 3518"/>
              <a:gd name="T84" fmla="*/ 2729 w 3517"/>
              <a:gd name="T85" fmla="*/ 468 h 3518"/>
              <a:gd name="T86" fmla="*/ 2854 w 3517"/>
              <a:gd name="T87" fmla="*/ 643 h 3518"/>
              <a:gd name="T88" fmla="*/ 220 w 3517"/>
              <a:gd name="T89" fmla="*/ 2616 h 3518"/>
              <a:gd name="T90" fmla="*/ 238 w 3517"/>
              <a:gd name="T91" fmla="*/ 2858 h 3518"/>
              <a:gd name="T92" fmla="*/ 46 w 3517"/>
              <a:gd name="T93" fmla="*/ 2759 h 3518"/>
              <a:gd name="T94" fmla="*/ 3 w 3517"/>
              <a:gd name="T95" fmla="*/ 643 h 3518"/>
              <a:gd name="T96" fmla="*/ 128 w 3517"/>
              <a:gd name="T97" fmla="*/ 468 h 3518"/>
              <a:gd name="T98" fmla="*/ 2356 w 3517"/>
              <a:gd name="T99" fmla="*/ 12 h 3518"/>
              <a:gd name="T100" fmla="*/ 2418 w 3517"/>
              <a:gd name="T101" fmla="*/ 550 h 3518"/>
              <a:gd name="T102" fmla="*/ 2333 w 3517"/>
              <a:gd name="T103" fmla="*/ 657 h 3518"/>
              <a:gd name="T104" fmla="*/ 2209 w 3517"/>
              <a:gd name="T105" fmla="*/ 598 h 3518"/>
              <a:gd name="T106" fmla="*/ 2222 w 3517"/>
              <a:gd name="T107" fmla="*/ 42 h 3518"/>
              <a:gd name="T108" fmla="*/ 574 w 3517"/>
              <a:gd name="T109" fmla="*/ 3 h 3518"/>
              <a:gd name="T110" fmla="*/ 660 w 3517"/>
              <a:gd name="T111" fmla="*/ 110 h 3518"/>
              <a:gd name="T112" fmla="*/ 598 w 3517"/>
              <a:gd name="T113" fmla="*/ 648 h 3518"/>
              <a:gd name="T114" fmla="*/ 464 w 3517"/>
              <a:gd name="T115" fmla="*/ 618 h 3518"/>
              <a:gd name="T116" fmla="*/ 451 w 3517"/>
              <a:gd name="T117" fmla="*/ 62 h 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7" h="3518">
                <a:moveTo>
                  <a:pt x="2528" y="2199"/>
                </a:moveTo>
                <a:lnTo>
                  <a:pt x="2552" y="2201"/>
                </a:lnTo>
                <a:lnTo>
                  <a:pt x="2576" y="2210"/>
                </a:lnTo>
                <a:lnTo>
                  <a:pt x="2596" y="2222"/>
                </a:lnTo>
                <a:lnTo>
                  <a:pt x="2613" y="2240"/>
                </a:lnTo>
                <a:lnTo>
                  <a:pt x="2626" y="2260"/>
                </a:lnTo>
                <a:lnTo>
                  <a:pt x="2635" y="2283"/>
                </a:lnTo>
                <a:lnTo>
                  <a:pt x="2638" y="2308"/>
                </a:lnTo>
                <a:lnTo>
                  <a:pt x="2638" y="2638"/>
                </a:lnTo>
                <a:lnTo>
                  <a:pt x="2967" y="2638"/>
                </a:lnTo>
                <a:lnTo>
                  <a:pt x="2992" y="2641"/>
                </a:lnTo>
                <a:lnTo>
                  <a:pt x="3015" y="2649"/>
                </a:lnTo>
                <a:lnTo>
                  <a:pt x="3036" y="2662"/>
                </a:lnTo>
                <a:lnTo>
                  <a:pt x="3053" y="2679"/>
                </a:lnTo>
                <a:lnTo>
                  <a:pt x="3066" y="2699"/>
                </a:lnTo>
                <a:lnTo>
                  <a:pt x="3074" y="2723"/>
                </a:lnTo>
                <a:lnTo>
                  <a:pt x="3077" y="2749"/>
                </a:lnTo>
                <a:lnTo>
                  <a:pt x="3074" y="2773"/>
                </a:lnTo>
                <a:lnTo>
                  <a:pt x="3066" y="2797"/>
                </a:lnTo>
                <a:lnTo>
                  <a:pt x="3053" y="2817"/>
                </a:lnTo>
                <a:lnTo>
                  <a:pt x="3036" y="2834"/>
                </a:lnTo>
                <a:lnTo>
                  <a:pt x="3015" y="2847"/>
                </a:lnTo>
                <a:lnTo>
                  <a:pt x="2992" y="2856"/>
                </a:lnTo>
                <a:lnTo>
                  <a:pt x="2967" y="2858"/>
                </a:lnTo>
                <a:lnTo>
                  <a:pt x="2528" y="2858"/>
                </a:lnTo>
                <a:lnTo>
                  <a:pt x="2502" y="2856"/>
                </a:lnTo>
                <a:lnTo>
                  <a:pt x="2480" y="2847"/>
                </a:lnTo>
                <a:lnTo>
                  <a:pt x="2459" y="2834"/>
                </a:lnTo>
                <a:lnTo>
                  <a:pt x="2442" y="2817"/>
                </a:lnTo>
                <a:lnTo>
                  <a:pt x="2428" y="2797"/>
                </a:lnTo>
                <a:lnTo>
                  <a:pt x="2421" y="2773"/>
                </a:lnTo>
                <a:lnTo>
                  <a:pt x="2418" y="2749"/>
                </a:lnTo>
                <a:lnTo>
                  <a:pt x="2418" y="2308"/>
                </a:lnTo>
                <a:lnTo>
                  <a:pt x="2421" y="2283"/>
                </a:lnTo>
                <a:lnTo>
                  <a:pt x="2428" y="2260"/>
                </a:lnTo>
                <a:lnTo>
                  <a:pt x="2442" y="2240"/>
                </a:lnTo>
                <a:lnTo>
                  <a:pt x="2459" y="2222"/>
                </a:lnTo>
                <a:lnTo>
                  <a:pt x="2480" y="2210"/>
                </a:lnTo>
                <a:lnTo>
                  <a:pt x="2502" y="2201"/>
                </a:lnTo>
                <a:lnTo>
                  <a:pt x="2528" y="2199"/>
                </a:lnTo>
                <a:close/>
                <a:moveTo>
                  <a:pt x="2638" y="1979"/>
                </a:moveTo>
                <a:lnTo>
                  <a:pt x="2570" y="1982"/>
                </a:lnTo>
                <a:lnTo>
                  <a:pt x="2504" y="1993"/>
                </a:lnTo>
                <a:lnTo>
                  <a:pt x="2441" y="2009"/>
                </a:lnTo>
                <a:lnTo>
                  <a:pt x="2381" y="2031"/>
                </a:lnTo>
                <a:lnTo>
                  <a:pt x="2323" y="2059"/>
                </a:lnTo>
                <a:lnTo>
                  <a:pt x="2269" y="2092"/>
                </a:lnTo>
                <a:lnTo>
                  <a:pt x="2219" y="2129"/>
                </a:lnTo>
                <a:lnTo>
                  <a:pt x="2172" y="2172"/>
                </a:lnTo>
                <a:lnTo>
                  <a:pt x="2129" y="2219"/>
                </a:lnTo>
                <a:lnTo>
                  <a:pt x="2090" y="2270"/>
                </a:lnTo>
                <a:lnTo>
                  <a:pt x="2057" y="2324"/>
                </a:lnTo>
                <a:lnTo>
                  <a:pt x="2029" y="2382"/>
                </a:lnTo>
                <a:lnTo>
                  <a:pt x="2008" y="2443"/>
                </a:lnTo>
                <a:lnTo>
                  <a:pt x="1991" y="2506"/>
                </a:lnTo>
                <a:lnTo>
                  <a:pt x="1981" y="2571"/>
                </a:lnTo>
                <a:lnTo>
                  <a:pt x="1978" y="2638"/>
                </a:lnTo>
                <a:lnTo>
                  <a:pt x="1981" y="2706"/>
                </a:lnTo>
                <a:lnTo>
                  <a:pt x="1991" y="2771"/>
                </a:lnTo>
                <a:lnTo>
                  <a:pt x="2008" y="2834"/>
                </a:lnTo>
                <a:lnTo>
                  <a:pt x="2029" y="2895"/>
                </a:lnTo>
                <a:lnTo>
                  <a:pt x="2057" y="2952"/>
                </a:lnTo>
                <a:lnTo>
                  <a:pt x="2090" y="3006"/>
                </a:lnTo>
                <a:lnTo>
                  <a:pt x="2129" y="3058"/>
                </a:lnTo>
                <a:lnTo>
                  <a:pt x="2172" y="3105"/>
                </a:lnTo>
                <a:lnTo>
                  <a:pt x="2219" y="3146"/>
                </a:lnTo>
                <a:lnTo>
                  <a:pt x="2269" y="3185"/>
                </a:lnTo>
                <a:lnTo>
                  <a:pt x="2323" y="3218"/>
                </a:lnTo>
                <a:lnTo>
                  <a:pt x="2381" y="3246"/>
                </a:lnTo>
                <a:lnTo>
                  <a:pt x="2441" y="3268"/>
                </a:lnTo>
                <a:lnTo>
                  <a:pt x="2504" y="3284"/>
                </a:lnTo>
                <a:lnTo>
                  <a:pt x="2570" y="3294"/>
                </a:lnTo>
                <a:lnTo>
                  <a:pt x="2638" y="3297"/>
                </a:lnTo>
                <a:lnTo>
                  <a:pt x="2705" y="3294"/>
                </a:lnTo>
                <a:lnTo>
                  <a:pt x="2770" y="3284"/>
                </a:lnTo>
                <a:lnTo>
                  <a:pt x="2834" y="3268"/>
                </a:lnTo>
                <a:lnTo>
                  <a:pt x="2893" y="3246"/>
                </a:lnTo>
                <a:lnTo>
                  <a:pt x="2951" y="3218"/>
                </a:lnTo>
                <a:lnTo>
                  <a:pt x="3006" y="3185"/>
                </a:lnTo>
                <a:lnTo>
                  <a:pt x="3057" y="3146"/>
                </a:lnTo>
                <a:lnTo>
                  <a:pt x="3103" y="3105"/>
                </a:lnTo>
                <a:lnTo>
                  <a:pt x="3146" y="3058"/>
                </a:lnTo>
                <a:lnTo>
                  <a:pt x="3184" y="3006"/>
                </a:lnTo>
                <a:lnTo>
                  <a:pt x="3217" y="2952"/>
                </a:lnTo>
                <a:lnTo>
                  <a:pt x="3245" y="2895"/>
                </a:lnTo>
                <a:lnTo>
                  <a:pt x="3267" y="2834"/>
                </a:lnTo>
                <a:lnTo>
                  <a:pt x="3284" y="2771"/>
                </a:lnTo>
                <a:lnTo>
                  <a:pt x="3293" y="2706"/>
                </a:lnTo>
                <a:lnTo>
                  <a:pt x="3297" y="2638"/>
                </a:lnTo>
                <a:lnTo>
                  <a:pt x="3293" y="2571"/>
                </a:lnTo>
                <a:lnTo>
                  <a:pt x="3284" y="2506"/>
                </a:lnTo>
                <a:lnTo>
                  <a:pt x="3267" y="2443"/>
                </a:lnTo>
                <a:lnTo>
                  <a:pt x="3245" y="2382"/>
                </a:lnTo>
                <a:lnTo>
                  <a:pt x="3217" y="2324"/>
                </a:lnTo>
                <a:lnTo>
                  <a:pt x="3184" y="2270"/>
                </a:lnTo>
                <a:lnTo>
                  <a:pt x="3146" y="2219"/>
                </a:lnTo>
                <a:lnTo>
                  <a:pt x="3103" y="2172"/>
                </a:lnTo>
                <a:lnTo>
                  <a:pt x="3057" y="2129"/>
                </a:lnTo>
                <a:lnTo>
                  <a:pt x="3006" y="2092"/>
                </a:lnTo>
                <a:lnTo>
                  <a:pt x="2951" y="2059"/>
                </a:lnTo>
                <a:lnTo>
                  <a:pt x="2893" y="2031"/>
                </a:lnTo>
                <a:lnTo>
                  <a:pt x="2834" y="2009"/>
                </a:lnTo>
                <a:lnTo>
                  <a:pt x="2770" y="1993"/>
                </a:lnTo>
                <a:lnTo>
                  <a:pt x="2705" y="1982"/>
                </a:lnTo>
                <a:lnTo>
                  <a:pt x="2638" y="1979"/>
                </a:lnTo>
                <a:close/>
                <a:moveTo>
                  <a:pt x="1099" y="1979"/>
                </a:moveTo>
                <a:lnTo>
                  <a:pt x="1539" y="1979"/>
                </a:lnTo>
                <a:lnTo>
                  <a:pt x="1539" y="2418"/>
                </a:lnTo>
                <a:lnTo>
                  <a:pt x="1099" y="2418"/>
                </a:lnTo>
                <a:lnTo>
                  <a:pt x="1099" y="1979"/>
                </a:lnTo>
                <a:close/>
                <a:moveTo>
                  <a:pt x="439" y="1979"/>
                </a:moveTo>
                <a:lnTo>
                  <a:pt x="879" y="1979"/>
                </a:lnTo>
                <a:lnTo>
                  <a:pt x="879" y="2418"/>
                </a:lnTo>
                <a:lnTo>
                  <a:pt x="439" y="2418"/>
                </a:lnTo>
                <a:lnTo>
                  <a:pt x="439" y="1979"/>
                </a:lnTo>
                <a:close/>
                <a:moveTo>
                  <a:pt x="2638" y="1759"/>
                </a:moveTo>
                <a:lnTo>
                  <a:pt x="2714" y="1763"/>
                </a:lnTo>
                <a:lnTo>
                  <a:pt x="2788" y="1772"/>
                </a:lnTo>
                <a:lnTo>
                  <a:pt x="2859" y="1787"/>
                </a:lnTo>
                <a:lnTo>
                  <a:pt x="2929" y="1809"/>
                </a:lnTo>
                <a:lnTo>
                  <a:pt x="2996" y="1835"/>
                </a:lnTo>
                <a:lnTo>
                  <a:pt x="3060" y="1867"/>
                </a:lnTo>
                <a:lnTo>
                  <a:pt x="3121" y="1904"/>
                </a:lnTo>
                <a:lnTo>
                  <a:pt x="3179" y="1945"/>
                </a:lnTo>
                <a:lnTo>
                  <a:pt x="3233" y="1991"/>
                </a:lnTo>
                <a:lnTo>
                  <a:pt x="3284" y="2042"/>
                </a:lnTo>
                <a:lnTo>
                  <a:pt x="3330" y="2096"/>
                </a:lnTo>
                <a:lnTo>
                  <a:pt x="3371" y="2154"/>
                </a:lnTo>
                <a:lnTo>
                  <a:pt x="3409" y="2215"/>
                </a:lnTo>
                <a:lnTo>
                  <a:pt x="3440" y="2279"/>
                </a:lnTo>
                <a:lnTo>
                  <a:pt x="3467" y="2347"/>
                </a:lnTo>
                <a:lnTo>
                  <a:pt x="3488" y="2416"/>
                </a:lnTo>
                <a:lnTo>
                  <a:pt x="3504" y="2489"/>
                </a:lnTo>
                <a:lnTo>
                  <a:pt x="3514" y="2563"/>
                </a:lnTo>
                <a:lnTo>
                  <a:pt x="3517" y="2638"/>
                </a:lnTo>
                <a:lnTo>
                  <a:pt x="3514" y="2714"/>
                </a:lnTo>
                <a:lnTo>
                  <a:pt x="3504" y="2788"/>
                </a:lnTo>
                <a:lnTo>
                  <a:pt x="3488" y="2860"/>
                </a:lnTo>
                <a:lnTo>
                  <a:pt x="3467" y="2929"/>
                </a:lnTo>
                <a:lnTo>
                  <a:pt x="3440" y="2997"/>
                </a:lnTo>
                <a:lnTo>
                  <a:pt x="3409" y="3061"/>
                </a:lnTo>
                <a:lnTo>
                  <a:pt x="3371" y="3123"/>
                </a:lnTo>
                <a:lnTo>
                  <a:pt x="3330" y="3181"/>
                </a:lnTo>
                <a:lnTo>
                  <a:pt x="3284" y="3234"/>
                </a:lnTo>
                <a:lnTo>
                  <a:pt x="3233" y="3284"/>
                </a:lnTo>
                <a:lnTo>
                  <a:pt x="3179" y="3330"/>
                </a:lnTo>
                <a:lnTo>
                  <a:pt x="3121" y="3372"/>
                </a:lnTo>
                <a:lnTo>
                  <a:pt x="3060" y="3410"/>
                </a:lnTo>
                <a:lnTo>
                  <a:pt x="2996" y="3442"/>
                </a:lnTo>
                <a:lnTo>
                  <a:pt x="2929" y="3468"/>
                </a:lnTo>
                <a:lnTo>
                  <a:pt x="2859" y="3490"/>
                </a:lnTo>
                <a:lnTo>
                  <a:pt x="2788" y="3505"/>
                </a:lnTo>
                <a:lnTo>
                  <a:pt x="2714" y="3514"/>
                </a:lnTo>
                <a:lnTo>
                  <a:pt x="2638" y="3518"/>
                </a:lnTo>
                <a:lnTo>
                  <a:pt x="2562" y="3514"/>
                </a:lnTo>
                <a:lnTo>
                  <a:pt x="2487" y="3505"/>
                </a:lnTo>
                <a:lnTo>
                  <a:pt x="2415" y="3490"/>
                </a:lnTo>
                <a:lnTo>
                  <a:pt x="2346" y="3468"/>
                </a:lnTo>
                <a:lnTo>
                  <a:pt x="2279" y="3442"/>
                </a:lnTo>
                <a:lnTo>
                  <a:pt x="2214" y="3410"/>
                </a:lnTo>
                <a:lnTo>
                  <a:pt x="2153" y="3372"/>
                </a:lnTo>
                <a:lnTo>
                  <a:pt x="2096" y="3330"/>
                </a:lnTo>
                <a:lnTo>
                  <a:pt x="2041" y="3284"/>
                </a:lnTo>
                <a:lnTo>
                  <a:pt x="1991" y="3234"/>
                </a:lnTo>
                <a:lnTo>
                  <a:pt x="1945" y="3181"/>
                </a:lnTo>
                <a:lnTo>
                  <a:pt x="1903" y="3123"/>
                </a:lnTo>
                <a:lnTo>
                  <a:pt x="1867" y="3061"/>
                </a:lnTo>
                <a:lnTo>
                  <a:pt x="1835" y="2997"/>
                </a:lnTo>
                <a:lnTo>
                  <a:pt x="1808" y="2929"/>
                </a:lnTo>
                <a:lnTo>
                  <a:pt x="1787" y="2860"/>
                </a:lnTo>
                <a:lnTo>
                  <a:pt x="1771" y="2788"/>
                </a:lnTo>
                <a:lnTo>
                  <a:pt x="1761" y="2714"/>
                </a:lnTo>
                <a:lnTo>
                  <a:pt x="1758" y="2638"/>
                </a:lnTo>
                <a:lnTo>
                  <a:pt x="1761" y="2563"/>
                </a:lnTo>
                <a:lnTo>
                  <a:pt x="1771" y="2489"/>
                </a:lnTo>
                <a:lnTo>
                  <a:pt x="1787" y="2416"/>
                </a:lnTo>
                <a:lnTo>
                  <a:pt x="1808" y="2347"/>
                </a:lnTo>
                <a:lnTo>
                  <a:pt x="1835" y="2279"/>
                </a:lnTo>
                <a:lnTo>
                  <a:pt x="1867" y="2215"/>
                </a:lnTo>
                <a:lnTo>
                  <a:pt x="1903" y="2154"/>
                </a:lnTo>
                <a:lnTo>
                  <a:pt x="1945" y="2096"/>
                </a:lnTo>
                <a:lnTo>
                  <a:pt x="1991" y="2042"/>
                </a:lnTo>
                <a:lnTo>
                  <a:pt x="2041" y="1991"/>
                </a:lnTo>
                <a:lnTo>
                  <a:pt x="2096" y="1945"/>
                </a:lnTo>
                <a:lnTo>
                  <a:pt x="2153" y="1904"/>
                </a:lnTo>
                <a:lnTo>
                  <a:pt x="2214" y="1867"/>
                </a:lnTo>
                <a:lnTo>
                  <a:pt x="2279" y="1835"/>
                </a:lnTo>
                <a:lnTo>
                  <a:pt x="2346" y="1809"/>
                </a:lnTo>
                <a:lnTo>
                  <a:pt x="2415" y="1787"/>
                </a:lnTo>
                <a:lnTo>
                  <a:pt x="2487" y="1772"/>
                </a:lnTo>
                <a:lnTo>
                  <a:pt x="2562" y="1763"/>
                </a:lnTo>
                <a:lnTo>
                  <a:pt x="2638" y="1759"/>
                </a:lnTo>
                <a:close/>
                <a:moveTo>
                  <a:pt x="1758" y="1320"/>
                </a:moveTo>
                <a:lnTo>
                  <a:pt x="2197" y="1320"/>
                </a:lnTo>
                <a:lnTo>
                  <a:pt x="2197" y="1759"/>
                </a:lnTo>
                <a:lnTo>
                  <a:pt x="1758" y="1759"/>
                </a:lnTo>
                <a:lnTo>
                  <a:pt x="1758" y="1320"/>
                </a:lnTo>
                <a:close/>
                <a:moveTo>
                  <a:pt x="1099" y="1320"/>
                </a:moveTo>
                <a:lnTo>
                  <a:pt x="1539" y="1320"/>
                </a:lnTo>
                <a:lnTo>
                  <a:pt x="1539" y="1759"/>
                </a:lnTo>
                <a:lnTo>
                  <a:pt x="1099" y="1759"/>
                </a:lnTo>
                <a:lnTo>
                  <a:pt x="1099" y="1320"/>
                </a:lnTo>
                <a:close/>
                <a:moveTo>
                  <a:pt x="439" y="1320"/>
                </a:moveTo>
                <a:lnTo>
                  <a:pt x="879" y="1320"/>
                </a:lnTo>
                <a:lnTo>
                  <a:pt x="879" y="1759"/>
                </a:lnTo>
                <a:lnTo>
                  <a:pt x="439" y="1759"/>
                </a:lnTo>
                <a:lnTo>
                  <a:pt x="439" y="1320"/>
                </a:lnTo>
                <a:close/>
                <a:moveTo>
                  <a:pt x="238" y="440"/>
                </a:moveTo>
                <a:lnTo>
                  <a:pt x="329" y="440"/>
                </a:lnTo>
                <a:lnTo>
                  <a:pt x="329" y="550"/>
                </a:lnTo>
                <a:lnTo>
                  <a:pt x="332" y="585"/>
                </a:lnTo>
                <a:lnTo>
                  <a:pt x="341" y="619"/>
                </a:lnTo>
                <a:lnTo>
                  <a:pt x="354" y="650"/>
                </a:lnTo>
                <a:lnTo>
                  <a:pt x="372" y="679"/>
                </a:lnTo>
                <a:lnTo>
                  <a:pt x="394" y="705"/>
                </a:lnTo>
                <a:lnTo>
                  <a:pt x="420" y="727"/>
                </a:lnTo>
                <a:lnTo>
                  <a:pt x="448" y="746"/>
                </a:lnTo>
                <a:lnTo>
                  <a:pt x="480" y="758"/>
                </a:lnTo>
                <a:lnTo>
                  <a:pt x="514" y="767"/>
                </a:lnTo>
                <a:lnTo>
                  <a:pt x="550" y="770"/>
                </a:lnTo>
                <a:lnTo>
                  <a:pt x="585" y="767"/>
                </a:lnTo>
                <a:lnTo>
                  <a:pt x="619" y="758"/>
                </a:lnTo>
                <a:lnTo>
                  <a:pt x="650" y="746"/>
                </a:lnTo>
                <a:lnTo>
                  <a:pt x="679" y="727"/>
                </a:lnTo>
                <a:lnTo>
                  <a:pt x="705" y="705"/>
                </a:lnTo>
                <a:lnTo>
                  <a:pt x="727" y="679"/>
                </a:lnTo>
                <a:lnTo>
                  <a:pt x="744" y="650"/>
                </a:lnTo>
                <a:lnTo>
                  <a:pt x="758" y="619"/>
                </a:lnTo>
                <a:lnTo>
                  <a:pt x="767" y="585"/>
                </a:lnTo>
                <a:lnTo>
                  <a:pt x="769" y="550"/>
                </a:lnTo>
                <a:lnTo>
                  <a:pt x="769" y="440"/>
                </a:lnTo>
                <a:lnTo>
                  <a:pt x="2088" y="440"/>
                </a:lnTo>
                <a:lnTo>
                  <a:pt x="2088" y="550"/>
                </a:lnTo>
                <a:lnTo>
                  <a:pt x="2090" y="585"/>
                </a:lnTo>
                <a:lnTo>
                  <a:pt x="2099" y="619"/>
                </a:lnTo>
                <a:lnTo>
                  <a:pt x="2113" y="650"/>
                </a:lnTo>
                <a:lnTo>
                  <a:pt x="2130" y="679"/>
                </a:lnTo>
                <a:lnTo>
                  <a:pt x="2152" y="705"/>
                </a:lnTo>
                <a:lnTo>
                  <a:pt x="2178" y="727"/>
                </a:lnTo>
                <a:lnTo>
                  <a:pt x="2207" y="746"/>
                </a:lnTo>
                <a:lnTo>
                  <a:pt x="2238" y="758"/>
                </a:lnTo>
                <a:lnTo>
                  <a:pt x="2272" y="767"/>
                </a:lnTo>
                <a:lnTo>
                  <a:pt x="2307" y="770"/>
                </a:lnTo>
                <a:lnTo>
                  <a:pt x="2344" y="767"/>
                </a:lnTo>
                <a:lnTo>
                  <a:pt x="2377" y="758"/>
                </a:lnTo>
                <a:lnTo>
                  <a:pt x="2409" y="746"/>
                </a:lnTo>
                <a:lnTo>
                  <a:pt x="2438" y="727"/>
                </a:lnTo>
                <a:lnTo>
                  <a:pt x="2464" y="705"/>
                </a:lnTo>
                <a:lnTo>
                  <a:pt x="2485" y="679"/>
                </a:lnTo>
                <a:lnTo>
                  <a:pt x="2503" y="650"/>
                </a:lnTo>
                <a:lnTo>
                  <a:pt x="2516" y="619"/>
                </a:lnTo>
                <a:lnTo>
                  <a:pt x="2525" y="585"/>
                </a:lnTo>
                <a:lnTo>
                  <a:pt x="2528" y="550"/>
                </a:lnTo>
                <a:lnTo>
                  <a:pt x="2528" y="440"/>
                </a:lnTo>
                <a:lnTo>
                  <a:pt x="2620" y="440"/>
                </a:lnTo>
                <a:lnTo>
                  <a:pt x="2658" y="443"/>
                </a:lnTo>
                <a:lnTo>
                  <a:pt x="2695" y="453"/>
                </a:lnTo>
                <a:lnTo>
                  <a:pt x="2729" y="468"/>
                </a:lnTo>
                <a:lnTo>
                  <a:pt x="2760" y="487"/>
                </a:lnTo>
                <a:lnTo>
                  <a:pt x="2788" y="510"/>
                </a:lnTo>
                <a:lnTo>
                  <a:pt x="2811" y="539"/>
                </a:lnTo>
                <a:lnTo>
                  <a:pt x="2830" y="570"/>
                </a:lnTo>
                <a:lnTo>
                  <a:pt x="2845" y="605"/>
                </a:lnTo>
                <a:lnTo>
                  <a:pt x="2854" y="643"/>
                </a:lnTo>
                <a:lnTo>
                  <a:pt x="2857" y="681"/>
                </a:lnTo>
                <a:lnTo>
                  <a:pt x="2857" y="1539"/>
                </a:lnTo>
                <a:lnTo>
                  <a:pt x="2638" y="1539"/>
                </a:lnTo>
                <a:lnTo>
                  <a:pt x="2638" y="1100"/>
                </a:lnTo>
                <a:lnTo>
                  <a:pt x="220" y="1100"/>
                </a:lnTo>
                <a:lnTo>
                  <a:pt x="220" y="2616"/>
                </a:lnTo>
                <a:lnTo>
                  <a:pt x="222" y="2627"/>
                </a:lnTo>
                <a:lnTo>
                  <a:pt x="229" y="2635"/>
                </a:lnTo>
                <a:lnTo>
                  <a:pt x="238" y="2638"/>
                </a:lnTo>
                <a:lnTo>
                  <a:pt x="1539" y="2638"/>
                </a:lnTo>
                <a:lnTo>
                  <a:pt x="1539" y="2858"/>
                </a:lnTo>
                <a:lnTo>
                  <a:pt x="238" y="2858"/>
                </a:lnTo>
                <a:lnTo>
                  <a:pt x="200" y="2854"/>
                </a:lnTo>
                <a:lnTo>
                  <a:pt x="162" y="2846"/>
                </a:lnTo>
                <a:lnTo>
                  <a:pt x="128" y="2831"/>
                </a:lnTo>
                <a:lnTo>
                  <a:pt x="97" y="2812"/>
                </a:lnTo>
                <a:lnTo>
                  <a:pt x="69" y="2787"/>
                </a:lnTo>
                <a:lnTo>
                  <a:pt x="46" y="2759"/>
                </a:lnTo>
                <a:lnTo>
                  <a:pt x="27" y="2727"/>
                </a:lnTo>
                <a:lnTo>
                  <a:pt x="12" y="2693"/>
                </a:lnTo>
                <a:lnTo>
                  <a:pt x="3" y="2656"/>
                </a:lnTo>
                <a:lnTo>
                  <a:pt x="0" y="2616"/>
                </a:lnTo>
                <a:lnTo>
                  <a:pt x="0" y="681"/>
                </a:lnTo>
                <a:lnTo>
                  <a:pt x="3" y="643"/>
                </a:lnTo>
                <a:lnTo>
                  <a:pt x="12" y="605"/>
                </a:lnTo>
                <a:lnTo>
                  <a:pt x="27" y="570"/>
                </a:lnTo>
                <a:lnTo>
                  <a:pt x="46" y="539"/>
                </a:lnTo>
                <a:lnTo>
                  <a:pt x="69" y="510"/>
                </a:lnTo>
                <a:lnTo>
                  <a:pt x="97" y="487"/>
                </a:lnTo>
                <a:lnTo>
                  <a:pt x="128" y="468"/>
                </a:lnTo>
                <a:lnTo>
                  <a:pt x="162" y="453"/>
                </a:lnTo>
                <a:lnTo>
                  <a:pt x="200" y="443"/>
                </a:lnTo>
                <a:lnTo>
                  <a:pt x="238" y="440"/>
                </a:lnTo>
                <a:close/>
                <a:moveTo>
                  <a:pt x="2307" y="0"/>
                </a:moveTo>
                <a:lnTo>
                  <a:pt x="2333" y="3"/>
                </a:lnTo>
                <a:lnTo>
                  <a:pt x="2356" y="12"/>
                </a:lnTo>
                <a:lnTo>
                  <a:pt x="2377" y="25"/>
                </a:lnTo>
                <a:lnTo>
                  <a:pt x="2393" y="42"/>
                </a:lnTo>
                <a:lnTo>
                  <a:pt x="2407" y="62"/>
                </a:lnTo>
                <a:lnTo>
                  <a:pt x="2414" y="85"/>
                </a:lnTo>
                <a:lnTo>
                  <a:pt x="2418" y="110"/>
                </a:lnTo>
                <a:lnTo>
                  <a:pt x="2418" y="550"/>
                </a:lnTo>
                <a:lnTo>
                  <a:pt x="2414" y="576"/>
                </a:lnTo>
                <a:lnTo>
                  <a:pt x="2407" y="598"/>
                </a:lnTo>
                <a:lnTo>
                  <a:pt x="2393" y="618"/>
                </a:lnTo>
                <a:lnTo>
                  <a:pt x="2377" y="635"/>
                </a:lnTo>
                <a:lnTo>
                  <a:pt x="2356" y="648"/>
                </a:lnTo>
                <a:lnTo>
                  <a:pt x="2333" y="657"/>
                </a:lnTo>
                <a:lnTo>
                  <a:pt x="2307" y="660"/>
                </a:lnTo>
                <a:lnTo>
                  <a:pt x="2283" y="657"/>
                </a:lnTo>
                <a:lnTo>
                  <a:pt x="2259" y="648"/>
                </a:lnTo>
                <a:lnTo>
                  <a:pt x="2239" y="635"/>
                </a:lnTo>
                <a:lnTo>
                  <a:pt x="2222" y="618"/>
                </a:lnTo>
                <a:lnTo>
                  <a:pt x="2209" y="598"/>
                </a:lnTo>
                <a:lnTo>
                  <a:pt x="2201" y="576"/>
                </a:lnTo>
                <a:lnTo>
                  <a:pt x="2197" y="550"/>
                </a:lnTo>
                <a:lnTo>
                  <a:pt x="2197" y="110"/>
                </a:lnTo>
                <a:lnTo>
                  <a:pt x="2201" y="85"/>
                </a:lnTo>
                <a:lnTo>
                  <a:pt x="2209" y="62"/>
                </a:lnTo>
                <a:lnTo>
                  <a:pt x="2222" y="42"/>
                </a:lnTo>
                <a:lnTo>
                  <a:pt x="2239" y="25"/>
                </a:lnTo>
                <a:lnTo>
                  <a:pt x="2259" y="12"/>
                </a:lnTo>
                <a:lnTo>
                  <a:pt x="2283" y="3"/>
                </a:lnTo>
                <a:lnTo>
                  <a:pt x="2307" y="0"/>
                </a:lnTo>
                <a:close/>
                <a:moveTo>
                  <a:pt x="550" y="0"/>
                </a:moveTo>
                <a:lnTo>
                  <a:pt x="574" y="3"/>
                </a:lnTo>
                <a:lnTo>
                  <a:pt x="598" y="12"/>
                </a:lnTo>
                <a:lnTo>
                  <a:pt x="618" y="25"/>
                </a:lnTo>
                <a:lnTo>
                  <a:pt x="635" y="42"/>
                </a:lnTo>
                <a:lnTo>
                  <a:pt x="648" y="62"/>
                </a:lnTo>
                <a:lnTo>
                  <a:pt x="656" y="85"/>
                </a:lnTo>
                <a:lnTo>
                  <a:pt x="660" y="110"/>
                </a:lnTo>
                <a:lnTo>
                  <a:pt x="660" y="550"/>
                </a:lnTo>
                <a:lnTo>
                  <a:pt x="656" y="576"/>
                </a:lnTo>
                <a:lnTo>
                  <a:pt x="648" y="598"/>
                </a:lnTo>
                <a:lnTo>
                  <a:pt x="635" y="618"/>
                </a:lnTo>
                <a:lnTo>
                  <a:pt x="618" y="635"/>
                </a:lnTo>
                <a:lnTo>
                  <a:pt x="598" y="648"/>
                </a:lnTo>
                <a:lnTo>
                  <a:pt x="574" y="657"/>
                </a:lnTo>
                <a:lnTo>
                  <a:pt x="550" y="660"/>
                </a:lnTo>
                <a:lnTo>
                  <a:pt x="524" y="657"/>
                </a:lnTo>
                <a:lnTo>
                  <a:pt x="501" y="648"/>
                </a:lnTo>
                <a:lnTo>
                  <a:pt x="481" y="635"/>
                </a:lnTo>
                <a:lnTo>
                  <a:pt x="464" y="618"/>
                </a:lnTo>
                <a:lnTo>
                  <a:pt x="451" y="598"/>
                </a:lnTo>
                <a:lnTo>
                  <a:pt x="443" y="576"/>
                </a:lnTo>
                <a:lnTo>
                  <a:pt x="439" y="550"/>
                </a:lnTo>
                <a:lnTo>
                  <a:pt x="439" y="110"/>
                </a:lnTo>
                <a:lnTo>
                  <a:pt x="443" y="85"/>
                </a:lnTo>
                <a:lnTo>
                  <a:pt x="451" y="62"/>
                </a:lnTo>
                <a:lnTo>
                  <a:pt x="464" y="42"/>
                </a:lnTo>
                <a:lnTo>
                  <a:pt x="481" y="25"/>
                </a:lnTo>
                <a:lnTo>
                  <a:pt x="501" y="12"/>
                </a:lnTo>
                <a:lnTo>
                  <a:pt x="524" y="3"/>
                </a:lnTo>
                <a:lnTo>
                  <a:pt x="550" y="0"/>
                </a:lnTo>
                <a:close/>
              </a:path>
            </a:pathLst>
          </a:custGeom>
          <a:solidFill>
            <a:sysClr val="window" lastClr="FFFFFF"/>
          </a:solid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nvGrpSpPr>
          <p:cNvPr id="3" name="Group 45"/>
          <p:cNvGrpSpPr/>
          <p:nvPr/>
        </p:nvGrpSpPr>
        <p:grpSpPr>
          <a:xfrm>
            <a:off x="6833372" y="5489165"/>
            <a:ext cx="869423" cy="714476"/>
            <a:chOff x="1370013" y="2038351"/>
            <a:chExt cx="481013" cy="395288"/>
          </a:xfrm>
          <a:solidFill>
            <a:sysClr val="window" lastClr="FFFFFF"/>
          </a:solidFill>
        </p:grpSpPr>
        <p:sp>
          <p:nvSpPr>
            <p:cNvPr id="128" name="Freeform 11"/>
            <p:cNvSpPr>
              <a:spLocks/>
            </p:cNvSpPr>
            <p:nvPr/>
          </p:nvSpPr>
          <p:spPr bwMode="auto">
            <a:xfrm>
              <a:off x="1370013" y="2066926"/>
              <a:ext cx="419100" cy="366713"/>
            </a:xfrm>
            <a:custGeom>
              <a:avLst/>
              <a:gdLst>
                <a:gd name="T0" fmla="*/ 2249 w 2905"/>
                <a:gd name="T1" fmla="*/ 239 h 2540"/>
                <a:gd name="T2" fmla="*/ 2885 w 2905"/>
                <a:gd name="T3" fmla="*/ 968 h 2540"/>
                <a:gd name="T4" fmla="*/ 2609 w 2905"/>
                <a:gd name="T5" fmla="*/ 1645 h 2540"/>
                <a:gd name="T6" fmla="*/ 2513 w 2905"/>
                <a:gd name="T7" fmla="*/ 1837 h 2540"/>
                <a:gd name="T8" fmla="*/ 2362 w 2905"/>
                <a:gd name="T9" fmla="*/ 1977 h 2540"/>
                <a:gd name="T10" fmla="*/ 2169 w 2905"/>
                <a:gd name="T11" fmla="*/ 2102 h 2540"/>
                <a:gd name="T12" fmla="*/ 2044 w 2905"/>
                <a:gd name="T13" fmla="*/ 2294 h 2540"/>
                <a:gd name="T14" fmla="*/ 1903 w 2905"/>
                <a:gd name="T15" fmla="*/ 2444 h 2540"/>
                <a:gd name="T16" fmla="*/ 1710 w 2905"/>
                <a:gd name="T17" fmla="*/ 2540 h 2540"/>
                <a:gd name="T18" fmla="*/ 1191 w 2905"/>
                <a:gd name="T19" fmla="*/ 2359 h 2540"/>
                <a:gd name="T20" fmla="*/ 1027 w 2905"/>
                <a:gd name="T21" fmla="*/ 2380 h 2540"/>
                <a:gd name="T22" fmla="*/ 934 w 2905"/>
                <a:gd name="T23" fmla="*/ 2229 h 2540"/>
                <a:gd name="T24" fmla="*/ 907 w 2905"/>
                <a:gd name="T25" fmla="*/ 2175 h 2540"/>
                <a:gd name="T26" fmla="*/ 745 w 2905"/>
                <a:gd name="T27" fmla="*/ 2107 h 2540"/>
                <a:gd name="T28" fmla="*/ 735 w 2905"/>
                <a:gd name="T29" fmla="*/ 1941 h 2540"/>
                <a:gd name="T30" fmla="*/ 612 w 2905"/>
                <a:gd name="T31" fmla="*/ 1952 h 2540"/>
                <a:gd name="T32" fmla="*/ 495 w 2905"/>
                <a:gd name="T33" fmla="*/ 1816 h 2540"/>
                <a:gd name="T34" fmla="*/ 490 w 2905"/>
                <a:gd name="T35" fmla="*/ 1730 h 2540"/>
                <a:gd name="T36" fmla="*/ 323 w 2905"/>
                <a:gd name="T37" fmla="*/ 1690 h 2540"/>
                <a:gd name="T38" fmla="*/ 284 w 2905"/>
                <a:gd name="T39" fmla="*/ 1525 h 2540"/>
                <a:gd name="T40" fmla="*/ 0 w 2905"/>
                <a:gd name="T41" fmla="*/ 904 h 2540"/>
                <a:gd name="T42" fmla="*/ 87 w 2905"/>
                <a:gd name="T43" fmla="*/ 837 h 2540"/>
                <a:gd name="T44" fmla="*/ 629 w 2905"/>
                <a:gd name="T45" fmla="*/ 1240 h 2540"/>
                <a:gd name="T46" fmla="*/ 771 w 2905"/>
                <a:gd name="T47" fmla="*/ 1357 h 2540"/>
                <a:gd name="T48" fmla="*/ 760 w 2905"/>
                <a:gd name="T49" fmla="*/ 1479 h 2540"/>
                <a:gd name="T50" fmla="*/ 927 w 2905"/>
                <a:gd name="T51" fmla="*/ 1489 h 2540"/>
                <a:gd name="T52" fmla="*/ 996 w 2905"/>
                <a:gd name="T53" fmla="*/ 1649 h 2540"/>
                <a:gd name="T54" fmla="*/ 1050 w 2905"/>
                <a:gd name="T55" fmla="*/ 1676 h 2540"/>
                <a:gd name="T56" fmla="*/ 1201 w 2905"/>
                <a:gd name="T57" fmla="*/ 1769 h 2540"/>
                <a:gd name="T58" fmla="*/ 1181 w 2905"/>
                <a:gd name="T59" fmla="*/ 1932 h 2540"/>
                <a:gd name="T60" fmla="*/ 1344 w 2905"/>
                <a:gd name="T61" fmla="*/ 1912 h 2540"/>
                <a:gd name="T62" fmla="*/ 1438 w 2905"/>
                <a:gd name="T63" fmla="*/ 2062 h 2540"/>
                <a:gd name="T64" fmla="*/ 1716 w 2905"/>
                <a:gd name="T65" fmla="*/ 2402 h 2540"/>
                <a:gd name="T66" fmla="*/ 1809 w 2905"/>
                <a:gd name="T67" fmla="*/ 2325 h 2540"/>
                <a:gd name="T68" fmla="*/ 1567 w 2905"/>
                <a:gd name="T69" fmla="*/ 2025 h 2540"/>
                <a:gd name="T70" fmla="*/ 1633 w 2905"/>
                <a:gd name="T71" fmla="*/ 1939 h 2540"/>
                <a:gd name="T72" fmla="*/ 1936 w 2905"/>
                <a:gd name="T73" fmla="*/ 2183 h 2540"/>
                <a:gd name="T74" fmla="*/ 2029 w 2905"/>
                <a:gd name="T75" fmla="*/ 2106 h 2540"/>
                <a:gd name="T76" fmla="*/ 1786 w 2905"/>
                <a:gd name="T77" fmla="*/ 1806 h 2540"/>
                <a:gd name="T78" fmla="*/ 1853 w 2905"/>
                <a:gd name="T79" fmla="*/ 1720 h 2540"/>
                <a:gd name="T80" fmla="*/ 2156 w 2905"/>
                <a:gd name="T81" fmla="*/ 1965 h 2540"/>
                <a:gd name="T82" fmla="*/ 2249 w 2905"/>
                <a:gd name="T83" fmla="*/ 1887 h 2540"/>
                <a:gd name="T84" fmla="*/ 2006 w 2905"/>
                <a:gd name="T85" fmla="*/ 1587 h 2540"/>
                <a:gd name="T86" fmla="*/ 2074 w 2905"/>
                <a:gd name="T87" fmla="*/ 1501 h 2540"/>
                <a:gd name="T88" fmla="*/ 2377 w 2905"/>
                <a:gd name="T89" fmla="*/ 1746 h 2540"/>
                <a:gd name="T90" fmla="*/ 2469 w 2905"/>
                <a:gd name="T91" fmla="*/ 1669 h 2540"/>
                <a:gd name="T92" fmla="*/ 2438 w 2905"/>
                <a:gd name="T93" fmla="*/ 1591 h 2540"/>
                <a:gd name="T94" fmla="*/ 2295 w 2905"/>
                <a:gd name="T95" fmla="*/ 1449 h 2540"/>
                <a:gd name="T96" fmla="*/ 2062 w 2905"/>
                <a:gd name="T97" fmla="*/ 1218 h 2540"/>
                <a:gd name="T98" fmla="*/ 1813 w 2905"/>
                <a:gd name="T99" fmla="*/ 970 h 2540"/>
                <a:gd name="T100" fmla="*/ 1616 w 2905"/>
                <a:gd name="T101" fmla="*/ 775 h 2540"/>
                <a:gd name="T102" fmla="*/ 1537 w 2905"/>
                <a:gd name="T103" fmla="*/ 706 h 2540"/>
                <a:gd name="T104" fmla="*/ 1428 w 2905"/>
                <a:gd name="T105" fmla="*/ 754 h 2540"/>
                <a:gd name="T106" fmla="*/ 1226 w 2905"/>
                <a:gd name="T107" fmla="*/ 1069 h 2540"/>
                <a:gd name="T108" fmla="*/ 976 w 2905"/>
                <a:gd name="T109" fmla="*/ 1147 h 2540"/>
                <a:gd name="T110" fmla="*/ 796 w 2905"/>
                <a:gd name="T111" fmla="*/ 1004 h 2540"/>
                <a:gd name="T112" fmla="*/ 1064 w 2905"/>
                <a:gd name="T113" fmla="*/ 203 h 2540"/>
                <a:gd name="T114" fmla="*/ 1158 w 2905"/>
                <a:gd name="T115" fmla="*/ 94 h 2540"/>
                <a:gd name="T116" fmla="*/ 1338 w 2905"/>
                <a:gd name="T117" fmla="*/ 10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5" h="2540">
                  <a:moveTo>
                    <a:pt x="1451" y="0"/>
                  </a:moveTo>
                  <a:lnTo>
                    <a:pt x="1493" y="3"/>
                  </a:lnTo>
                  <a:lnTo>
                    <a:pt x="1538" y="11"/>
                  </a:lnTo>
                  <a:lnTo>
                    <a:pt x="1585" y="23"/>
                  </a:lnTo>
                  <a:lnTo>
                    <a:pt x="2221" y="222"/>
                  </a:lnTo>
                  <a:lnTo>
                    <a:pt x="2236" y="229"/>
                  </a:lnTo>
                  <a:lnTo>
                    <a:pt x="2249" y="239"/>
                  </a:lnTo>
                  <a:lnTo>
                    <a:pt x="2885" y="870"/>
                  </a:lnTo>
                  <a:lnTo>
                    <a:pt x="2896" y="886"/>
                  </a:lnTo>
                  <a:lnTo>
                    <a:pt x="2903" y="902"/>
                  </a:lnTo>
                  <a:lnTo>
                    <a:pt x="2905" y="919"/>
                  </a:lnTo>
                  <a:lnTo>
                    <a:pt x="2903" y="936"/>
                  </a:lnTo>
                  <a:lnTo>
                    <a:pt x="2896" y="954"/>
                  </a:lnTo>
                  <a:lnTo>
                    <a:pt x="2885" y="968"/>
                  </a:lnTo>
                  <a:lnTo>
                    <a:pt x="2445" y="1405"/>
                  </a:lnTo>
                  <a:lnTo>
                    <a:pt x="2552" y="1511"/>
                  </a:lnTo>
                  <a:lnTo>
                    <a:pt x="2572" y="1534"/>
                  </a:lnTo>
                  <a:lnTo>
                    <a:pt x="2588" y="1560"/>
                  </a:lnTo>
                  <a:lnTo>
                    <a:pt x="2599" y="1587"/>
                  </a:lnTo>
                  <a:lnTo>
                    <a:pt x="2606" y="1615"/>
                  </a:lnTo>
                  <a:lnTo>
                    <a:pt x="2609" y="1645"/>
                  </a:lnTo>
                  <a:lnTo>
                    <a:pt x="2608" y="1675"/>
                  </a:lnTo>
                  <a:lnTo>
                    <a:pt x="2603" y="1705"/>
                  </a:lnTo>
                  <a:lnTo>
                    <a:pt x="2594" y="1734"/>
                  </a:lnTo>
                  <a:lnTo>
                    <a:pt x="2580" y="1762"/>
                  </a:lnTo>
                  <a:lnTo>
                    <a:pt x="2562" y="1790"/>
                  </a:lnTo>
                  <a:lnTo>
                    <a:pt x="2540" y="1815"/>
                  </a:lnTo>
                  <a:lnTo>
                    <a:pt x="2513" y="1837"/>
                  </a:lnTo>
                  <a:lnTo>
                    <a:pt x="2484" y="1857"/>
                  </a:lnTo>
                  <a:lnTo>
                    <a:pt x="2453" y="1870"/>
                  </a:lnTo>
                  <a:lnTo>
                    <a:pt x="2421" y="1879"/>
                  </a:lnTo>
                  <a:lnTo>
                    <a:pt x="2389" y="1883"/>
                  </a:lnTo>
                  <a:lnTo>
                    <a:pt x="2385" y="1915"/>
                  </a:lnTo>
                  <a:lnTo>
                    <a:pt x="2376" y="1947"/>
                  </a:lnTo>
                  <a:lnTo>
                    <a:pt x="2362" y="1977"/>
                  </a:lnTo>
                  <a:lnTo>
                    <a:pt x="2343" y="2007"/>
                  </a:lnTo>
                  <a:lnTo>
                    <a:pt x="2319" y="2033"/>
                  </a:lnTo>
                  <a:lnTo>
                    <a:pt x="2293" y="2056"/>
                  </a:lnTo>
                  <a:lnTo>
                    <a:pt x="2263" y="2075"/>
                  </a:lnTo>
                  <a:lnTo>
                    <a:pt x="2233" y="2089"/>
                  </a:lnTo>
                  <a:lnTo>
                    <a:pt x="2201" y="2098"/>
                  </a:lnTo>
                  <a:lnTo>
                    <a:pt x="2169" y="2102"/>
                  </a:lnTo>
                  <a:lnTo>
                    <a:pt x="2164" y="2134"/>
                  </a:lnTo>
                  <a:lnTo>
                    <a:pt x="2155" y="2166"/>
                  </a:lnTo>
                  <a:lnTo>
                    <a:pt x="2142" y="2196"/>
                  </a:lnTo>
                  <a:lnTo>
                    <a:pt x="2123" y="2226"/>
                  </a:lnTo>
                  <a:lnTo>
                    <a:pt x="2100" y="2252"/>
                  </a:lnTo>
                  <a:lnTo>
                    <a:pt x="2073" y="2275"/>
                  </a:lnTo>
                  <a:lnTo>
                    <a:pt x="2044" y="2294"/>
                  </a:lnTo>
                  <a:lnTo>
                    <a:pt x="2012" y="2308"/>
                  </a:lnTo>
                  <a:lnTo>
                    <a:pt x="1981" y="2316"/>
                  </a:lnTo>
                  <a:lnTo>
                    <a:pt x="1948" y="2321"/>
                  </a:lnTo>
                  <a:lnTo>
                    <a:pt x="1944" y="2352"/>
                  </a:lnTo>
                  <a:lnTo>
                    <a:pt x="1935" y="2385"/>
                  </a:lnTo>
                  <a:lnTo>
                    <a:pt x="1922" y="2415"/>
                  </a:lnTo>
                  <a:lnTo>
                    <a:pt x="1903" y="2444"/>
                  </a:lnTo>
                  <a:lnTo>
                    <a:pt x="1880" y="2471"/>
                  </a:lnTo>
                  <a:lnTo>
                    <a:pt x="1854" y="2492"/>
                  </a:lnTo>
                  <a:lnTo>
                    <a:pt x="1828" y="2510"/>
                  </a:lnTo>
                  <a:lnTo>
                    <a:pt x="1799" y="2524"/>
                  </a:lnTo>
                  <a:lnTo>
                    <a:pt x="1770" y="2533"/>
                  </a:lnTo>
                  <a:lnTo>
                    <a:pt x="1739" y="2539"/>
                  </a:lnTo>
                  <a:lnTo>
                    <a:pt x="1710" y="2540"/>
                  </a:lnTo>
                  <a:lnTo>
                    <a:pt x="1680" y="2537"/>
                  </a:lnTo>
                  <a:lnTo>
                    <a:pt x="1650" y="2530"/>
                  </a:lnTo>
                  <a:lnTo>
                    <a:pt x="1623" y="2519"/>
                  </a:lnTo>
                  <a:lnTo>
                    <a:pt x="1597" y="2503"/>
                  </a:lnTo>
                  <a:lnTo>
                    <a:pt x="1574" y="2483"/>
                  </a:lnTo>
                  <a:lnTo>
                    <a:pt x="1320" y="2231"/>
                  </a:lnTo>
                  <a:lnTo>
                    <a:pt x="1191" y="2359"/>
                  </a:lnTo>
                  <a:lnTo>
                    <a:pt x="1172" y="2375"/>
                  </a:lnTo>
                  <a:lnTo>
                    <a:pt x="1150" y="2387"/>
                  </a:lnTo>
                  <a:lnTo>
                    <a:pt x="1127" y="2394"/>
                  </a:lnTo>
                  <a:lnTo>
                    <a:pt x="1102" y="2396"/>
                  </a:lnTo>
                  <a:lnTo>
                    <a:pt x="1077" y="2395"/>
                  </a:lnTo>
                  <a:lnTo>
                    <a:pt x="1052" y="2389"/>
                  </a:lnTo>
                  <a:lnTo>
                    <a:pt x="1027" y="2380"/>
                  </a:lnTo>
                  <a:lnTo>
                    <a:pt x="1005" y="2365"/>
                  </a:lnTo>
                  <a:lnTo>
                    <a:pt x="983" y="2347"/>
                  </a:lnTo>
                  <a:lnTo>
                    <a:pt x="965" y="2326"/>
                  </a:lnTo>
                  <a:lnTo>
                    <a:pt x="951" y="2303"/>
                  </a:lnTo>
                  <a:lnTo>
                    <a:pt x="941" y="2278"/>
                  </a:lnTo>
                  <a:lnTo>
                    <a:pt x="935" y="2254"/>
                  </a:lnTo>
                  <a:lnTo>
                    <a:pt x="934" y="2229"/>
                  </a:lnTo>
                  <a:lnTo>
                    <a:pt x="936" y="2204"/>
                  </a:lnTo>
                  <a:lnTo>
                    <a:pt x="944" y="2181"/>
                  </a:lnTo>
                  <a:lnTo>
                    <a:pt x="955" y="2160"/>
                  </a:lnTo>
                  <a:lnTo>
                    <a:pt x="971" y="2140"/>
                  </a:lnTo>
                  <a:lnTo>
                    <a:pt x="952" y="2157"/>
                  </a:lnTo>
                  <a:lnTo>
                    <a:pt x="930" y="2168"/>
                  </a:lnTo>
                  <a:lnTo>
                    <a:pt x="907" y="2175"/>
                  </a:lnTo>
                  <a:lnTo>
                    <a:pt x="882" y="2178"/>
                  </a:lnTo>
                  <a:lnTo>
                    <a:pt x="857" y="2176"/>
                  </a:lnTo>
                  <a:lnTo>
                    <a:pt x="832" y="2170"/>
                  </a:lnTo>
                  <a:lnTo>
                    <a:pt x="808" y="2161"/>
                  </a:lnTo>
                  <a:lnTo>
                    <a:pt x="784" y="2147"/>
                  </a:lnTo>
                  <a:lnTo>
                    <a:pt x="763" y="2128"/>
                  </a:lnTo>
                  <a:lnTo>
                    <a:pt x="745" y="2107"/>
                  </a:lnTo>
                  <a:lnTo>
                    <a:pt x="730" y="2084"/>
                  </a:lnTo>
                  <a:lnTo>
                    <a:pt x="721" y="2060"/>
                  </a:lnTo>
                  <a:lnTo>
                    <a:pt x="715" y="2035"/>
                  </a:lnTo>
                  <a:lnTo>
                    <a:pt x="714" y="2011"/>
                  </a:lnTo>
                  <a:lnTo>
                    <a:pt x="716" y="1986"/>
                  </a:lnTo>
                  <a:lnTo>
                    <a:pt x="723" y="1963"/>
                  </a:lnTo>
                  <a:lnTo>
                    <a:pt x="735" y="1941"/>
                  </a:lnTo>
                  <a:lnTo>
                    <a:pt x="751" y="1922"/>
                  </a:lnTo>
                  <a:lnTo>
                    <a:pt x="731" y="1938"/>
                  </a:lnTo>
                  <a:lnTo>
                    <a:pt x="710" y="1949"/>
                  </a:lnTo>
                  <a:lnTo>
                    <a:pt x="686" y="1956"/>
                  </a:lnTo>
                  <a:lnTo>
                    <a:pt x="662" y="1959"/>
                  </a:lnTo>
                  <a:lnTo>
                    <a:pt x="636" y="1957"/>
                  </a:lnTo>
                  <a:lnTo>
                    <a:pt x="612" y="1952"/>
                  </a:lnTo>
                  <a:lnTo>
                    <a:pt x="588" y="1942"/>
                  </a:lnTo>
                  <a:lnTo>
                    <a:pt x="564" y="1928"/>
                  </a:lnTo>
                  <a:lnTo>
                    <a:pt x="543" y="1909"/>
                  </a:lnTo>
                  <a:lnTo>
                    <a:pt x="524" y="1888"/>
                  </a:lnTo>
                  <a:lnTo>
                    <a:pt x="511" y="1866"/>
                  </a:lnTo>
                  <a:lnTo>
                    <a:pt x="501" y="1841"/>
                  </a:lnTo>
                  <a:lnTo>
                    <a:pt x="495" y="1816"/>
                  </a:lnTo>
                  <a:lnTo>
                    <a:pt x="494" y="1792"/>
                  </a:lnTo>
                  <a:lnTo>
                    <a:pt x="497" y="1767"/>
                  </a:lnTo>
                  <a:lnTo>
                    <a:pt x="504" y="1744"/>
                  </a:lnTo>
                  <a:lnTo>
                    <a:pt x="515" y="1722"/>
                  </a:lnTo>
                  <a:lnTo>
                    <a:pt x="530" y="1703"/>
                  </a:lnTo>
                  <a:lnTo>
                    <a:pt x="511" y="1719"/>
                  </a:lnTo>
                  <a:lnTo>
                    <a:pt x="490" y="1730"/>
                  </a:lnTo>
                  <a:lnTo>
                    <a:pt x="466" y="1737"/>
                  </a:lnTo>
                  <a:lnTo>
                    <a:pt x="442" y="1740"/>
                  </a:lnTo>
                  <a:lnTo>
                    <a:pt x="417" y="1738"/>
                  </a:lnTo>
                  <a:lnTo>
                    <a:pt x="392" y="1733"/>
                  </a:lnTo>
                  <a:lnTo>
                    <a:pt x="367" y="1723"/>
                  </a:lnTo>
                  <a:lnTo>
                    <a:pt x="344" y="1709"/>
                  </a:lnTo>
                  <a:lnTo>
                    <a:pt x="323" y="1690"/>
                  </a:lnTo>
                  <a:lnTo>
                    <a:pt x="305" y="1670"/>
                  </a:lnTo>
                  <a:lnTo>
                    <a:pt x="291" y="1647"/>
                  </a:lnTo>
                  <a:lnTo>
                    <a:pt x="281" y="1622"/>
                  </a:lnTo>
                  <a:lnTo>
                    <a:pt x="275" y="1597"/>
                  </a:lnTo>
                  <a:lnTo>
                    <a:pt x="273" y="1573"/>
                  </a:lnTo>
                  <a:lnTo>
                    <a:pt x="276" y="1549"/>
                  </a:lnTo>
                  <a:lnTo>
                    <a:pt x="284" y="1525"/>
                  </a:lnTo>
                  <a:lnTo>
                    <a:pt x="295" y="1504"/>
                  </a:lnTo>
                  <a:lnTo>
                    <a:pt x="311" y="1485"/>
                  </a:lnTo>
                  <a:lnTo>
                    <a:pt x="432" y="1363"/>
                  </a:lnTo>
                  <a:lnTo>
                    <a:pt x="20" y="952"/>
                  </a:lnTo>
                  <a:lnTo>
                    <a:pt x="9" y="938"/>
                  </a:lnTo>
                  <a:lnTo>
                    <a:pt x="2" y="921"/>
                  </a:lnTo>
                  <a:lnTo>
                    <a:pt x="0" y="904"/>
                  </a:lnTo>
                  <a:lnTo>
                    <a:pt x="2" y="887"/>
                  </a:lnTo>
                  <a:lnTo>
                    <a:pt x="9" y="870"/>
                  </a:lnTo>
                  <a:lnTo>
                    <a:pt x="20" y="855"/>
                  </a:lnTo>
                  <a:lnTo>
                    <a:pt x="35" y="844"/>
                  </a:lnTo>
                  <a:lnTo>
                    <a:pt x="51" y="837"/>
                  </a:lnTo>
                  <a:lnTo>
                    <a:pt x="69" y="835"/>
                  </a:lnTo>
                  <a:lnTo>
                    <a:pt x="87" y="837"/>
                  </a:lnTo>
                  <a:lnTo>
                    <a:pt x="103" y="844"/>
                  </a:lnTo>
                  <a:lnTo>
                    <a:pt x="118" y="855"/>
                  </a:lnTo>
                  <a:lnTo>
                    <a:pt x="531" y="1267"/>
                  </a:lnTo>
                  <a:lnTo>
                    <a:pt x="554" y="1253"/>
                  </a:lnTo>
                  <a:lnTo>
                    <a:pt x="577" y="1243"/>
                  </a:lnTo>
                  <a:lnTo>
                    <a:pt x="603" y="1239"/>
                  </a:lnTo>
                  <a:lnTo>
                    <a:pt x="629" y="1240"/>
                  </a:lnTo>
                  <a:lnTo>
                    <a:pt x="656" y="1245"/>
                  </a:lnTo>
                  <a:lnTo>
                    <a:pt x="681" y="1255"/>
                  </a:lnTo>
                  <a:lnTo>
                    <a:pt x="706" y="1269"/>
                  </a:lnTo>
                  <a:lnTo>
                    <a:pt x="728" y="1288"/>
                  </a:lnTo>
                  <a:lnTo>
                    <a:pt x="747" y="1309"/>
                  </a:lnTo>
                  <a:lnTo>
                    <a:pt x="761" y="1333"/>
                  </a:lnTo>
                  <a:lnTo>
                    <a:pt x="771" y="1357"/>
                  </a:lnTo>
                  <a:lnTo>
                    <a:pt x="776" y="1381"/>
                  </a:lnTo>
                  <a:lnTo>
                    <a:pt x="778" y="1407"/>
                  </a:lnTo>
                  <a:lnTo>
                    <a:pt x="775" y="1431"/>
                  </a:lnTo>
                  <a:lnTo>
                    <a:pt x="768" y="1454"/>
                  </a:lnTo>
                  <a:lnTo>
                    <a:pt x="757" y="1476"/>
                  </a:lnTo>
                  <a:lnTo>
                    <a:pt x="741" y="1495"/>
                  </a:lnTo>
                  <a:lnTo>
                    <a:pt x="760" y="1479"/>
                  </a:lnTo>
                  <a:lnTo>
                    <a:pt x="781" y="1467"/>
                  </a:lnTo>
                  <a:lnTo>
                    <a:pt x="805" y="1460"/>
                  </a:lnTo>
                  <a:lnTo>
                    <a:pt x="829" y="1457"/>
                  </a:lnTo>
                  <a:lnTo>
                    <a:pt x="855" y="1459"/>
                  </a:lnTo>
                  <a:lnTo>
                    <a:pt x="879" y="1464"/>
                  </a:lnTo>
                  <a:lnTo>
                    <a:pt x="904" y="1475"/>
                  </a:lnTo>
                  <a:lnTo>
                    <a:pt x="927" y="1489"/>
                  </a:lnTo>
                  <a:lnTo>
                    <a:pt x="949" y="1507"/>
                  </a:lnTo>
                  <a:lnTo>
                    <a:pt x="967" y="1528"/>
                  </a:lnTo>
                  <a:lnTo>
                    <a:pt x="981" y="1551"/>
                  </a:lnTo>
                  <a:lnTo>
                    <a:pt x="990" y="1575"/>
                  </a:lnTo>
                  <a:lnTo>
                    <a:pt x="997" y="1600"/>
                  </a:lnTo>
                  <a:lnTo>
                    <a:pt x="998" y="1625"/>
                  </a:lnTo>
                  <a:lnTo>
                    <a:pt x="996" y="1649"/>
                  </a:lnTo>
                  <a:lnTo>
                    <a:pt x="988" y="1672"/>
                  </a:lnTo>
                  <a:lnTo>
                    <a:pt x="977" y="1694"/>
                  </a:lnTo>
                  <a:lnTo>
                    <a:pt x="961" y="1714"/>
                  </a:lnTo>
                  <a:lnTo>
                    <a:pt x="980" y="1698"/>
                  </a:lnTo>
                  <a:lnTo>
                    <a:pt x="1002" y="1686"/>
                  </a:lnTo>
                  <a:lnTo>
                    <a:pt x="1025" y="1679"/>
                  </a:lnTo>
                  <a:lnTo>
                    <a:pt x="1050" y="1676"/>
                  </a:lnTo>
                  <a:lnTo>
                    <a:pt x="1075" y="1678"/>
                  </a:lnTo>
                  <a:lnTo>
                    <a:pt x="1100" y="1683"/>
                  </a:lnTo>
                  <a:lnTo>
                    <a:pt x="1124" y="1693"/>
                  </a:lnTo>
                  <a:lnTo>
                    <a:pt x="1148" y="1708"/>
                  </a:lnTo>
                  <a:lnTo>
                    <a:pt x="1169" y="1725"/>
                  </a:lnTo>
                  <a:lnTo>
                    <a:pt x="1187" y="1746"/>
                  </a:lnTo>
                  <a:lnTo>
                    <a:pt x="1201" y="1769"/>
                  </a:lnTo>
                  <a:lnTo>
                    <a:pt x="1211" y="1794"/>
                  </a:lnTo>
                  <a:lnTo>
                    <a:pt x="1217" y="1818"/>
                  </a:lnTo>
                  <a:lnTo>
                    <a:pt x="1218" y="1843"/>
                  </a:lnTo>
                  <a:lnTo>
                    <a:pt x="1215" y="1868"/>
                  </a:lnTo>
                  <a:lnTo>
                    <a:pt x="1208" y="1891"/>
                  </a:lnTo>
                  <a:lnTo>
                    <a:pt x="1196" y="1912"/>
                  </a:lnTo>
                  <a:lnTo>
                    <a:pt x="1181" y="1932"/>
                  </a:lnTo>
                  <a:lnTo>
                    <a:pt x="1201" y="1916"/>
                  </a:lnTo>
                  <a:lnTo>
                    <a:pt x="1222" y="1905"/>
                  </a:lnTo>
                  <a:lnTo>
                    <a:pt x="1245" y="1898"/>
                  </a:lnTo>
                  <a:lnTo>
                    <a:pt x="1270" y="1895"/>
                  </a:lnTo>
                  <a:lnTo>
                    <a:pt x="1294" y="1896"/>
                  </a:lnTo>
                  <a:lnTo>
                    <a:pt x="1320" y="1902"/>
                  </a:lnTo>
                  <a:lnTo>
                    <a:pt x="1344" y="1912"/>
                  </a:lnTo>
                  <a:lnTo>
                    <a:pt x="1367" y="1926"/>
                  </a:lnTo>
                  <a:lnTo>
                    <a:pt x="1388" y="1944"/>
                  </a:lnTo>
                  <a:lnTo>
                    <a:pt x="1407" y="1965"/>
                  </a:lnTo>
                  <a:lnTo>
                    <a:pt x="1421" y="1988"/>
                  </a:lnTo>
                  <a:lnTo>
                    <a:pt x="1431" y="2013"/>
                  </a:lnTo>
                  <a:lnTo>
                    <a:pt x="1436" y="2037"/>
                  </a:lnTo>
                  <a:lnTo>
                    <a:pt x="1438" y="2062"/>
                  </a:lnTo>
                  <a:lnTo>
                    <a:pt x="1435" y="2087"/>
                  </a:lnTo>
                  <a:lnTo>
                    <a:pt x="1428" y="2110"/>
                  </a:lnTo>
                  <a:lnTo>
                    <a:pt x="1416" y="2131"/>
                  </a:lnTo>
                  <a:lnTo>
                    <a:pt x="1672" y="2386"/>
                  </a:lnTo>
                  <a:lnTo>
                    <a:pt x="1685" y="2395"/>
                  </a:lnTo>
                  <a:lnTo>
                    <a:pt x="1699" y="2401"/>
                  </a:lnTo>
                  <a:lnTo>
                    <a:pt x="1716" y="2402"/>
                  </a:lnTo>
                  <a:lnTo>
                    <a:pt x="1733" y="2400"/>
                  </a:lnTo>
                  <a:lnTo>
                    <a:pt x="1750" y="2395"/>
                  </a:lnTo>
                  <a:lnTo>
                    <a:pt x="1767" y="2386"/>
                  </a:lnTo>
                  <a:lnTo>
                    <a:pt x="1782" y="2374"/>
                  </a:lnTo>
                  <a:lnTo>
                    <a:pt x="1794" y="2358"/>
                  </a:lnTo>
                  <a:lnTo>
                    <a:pt x="1803" y="2342"/>
                  </a:lnTo>
                  <a:lnTo>
                    <a:pt x="1809" y="2325"/>
                  </a:lnTo>
                  <a:lnTo>
                    <a:pt x="1811" y="2308"/>
                  </a:lnTo>
                  <a:lnTo>
                    <a:pt x="1809" y="2291"/>
                  </a:lnTo>
                  <a:lnTo>
                    <a:pt x="1803" y="2276"/>
                  </a:lnTo>
                  <a:lnTo>
                    <a:pt x="1794" y="2264"/>
                  </a:lnTo>
                  <a:lnTo>
                    <a:pt x="1584" y="2055"/>
                  </a:lnTo>
                  <a:lnTo>
                    <a:pt x="1573" y="2041"/>
                  </a:lnTo>
                  <a:lnTo>
                    <a:pt x="1567" y="2025"/>
                  </a:lnTo>
                  <a:lnTo>
                    <a:pt x="1564" y="2007"/>
                  </a:lnTo>
                  <a:lnTo>
                    <a:pt x="1567" y="1989"/>
                  </a:lnTo>
                  <a:lnTo>
                    <a:pt x="1573" y="1973"/>
                  </a:lnTo>
                  <a:lnTo>
                    <a:pt x="1584" y="1958"/>
                  </a:lnTo>
                  <a:lnTo>
                    <a:pt x="1599" y="1947"/>
                  </a:lnTo>
                  <a:lnTo>
                    <a:pt x="1616" y="1941"/>
                  </a:lnTo>
                  <a:lnTo>
                    <a:pt x="1633" y="1939"/>
                  </a:lnTo>
                  <a:lnTo>
                    <a:pt x="1650" y="1941"/>
                  </a:lnTo>
                  <a:lnTo>
                    <a:pt x="1668" y="1947"/>
                  </a:lnTo>
                  <a:lnTo>
                    <a:pt x="1682" y="1958"/>
                  </a:lnTo>
                  <a:lnTo>
                    <a:pt x="1892" y="2167"/>
                  </a:lnTo>
                  <a:lnTo>
                    <a:pt x="1904" y="2176"/>
                  </a:lnTo>
                  <a:lnTo>
                    <a:pt x="1920" y="2182"/>
                  </a:lnTo>
                  <a:lnTo>
                    <a:pt x="1936" y="2183"/>
                  </a:lnTo>
                  <a:lnTo>
                    <a:pt x="1953" y="2182"/>
                  </a:lnTo>
                  <a:lnTo>
                    <a:pt x="1971" y="2176"/>
                  </a:lnTo>
                  <a:lnTo>
                    <a:pt x="1987" y="2167"/>
                  </a:lnTo>
                  <a:lnTo>
                    <a:pt x="2002" y="2155"/>
                  </a:lnTo>
                  <a:lnTo>
                    <a:pt x="2015" y="2139"/>
                  </a:lnTo>
                  <a:lnTo>
                    <a:pt x="2024" y="2123"/>
                  </a:lnTo>
                  <a:lnTo>
                    <a:pt x="2029" y="2106"/>
                  </a:lnTo>
                  <a:lnTo>
                    <a:pt x="2031" y="2089"/>
                  </a:lnTo>
                  <a:lnTo>
                    <a:pt x="2029" y="2073"/>
                  </a:lnTo>
                  <a:lnTo>
                    <a:pt x="2024" y="2058"/>
                  </a:lnTo>
                  <a:lnTo>
                    <a:pt x="2015" y="2045"/>
                  </a:lnTo>
                  <a:lnTo>
                    <a:pt x="1804" y="1837"/>
                  </a:lnTo>
                  <a:lnTo>
                    <a:pt x="1793" y="1822"/>
                  </a:lnTo>
                  <a:lnTo>
                    <a:pt x="1786" y="1806"/>
                  </a:lnTo>
                  <a:lnTo>
                    <a:pt x="1784" y="1788"/>
                  </a:lnTo>
                  <a:lnTo>
                    <a:pt x="1786" y="1770"/>
                  </a:lnTo>
                  <a:lnTo>
                    <a:pt x="1793" y="1754"/>
                  </a:lnTo>
                  <a:lnTo>
                    <a:pt x="1804" y="1740"/>
                  </a:lnTo>
                  <a:lnTo>
                    <a:pt x="1820" y="1729"/>
                  </a:lnTo>
                  <a:lnTo>
                    <a:pt x="1836" y="1722"/>
                  </a:lnTo>
                  <a:lnTo>
                    <a:pt x="1853" y="1720"/>
                  </a:lnTo>
                  <a:lnTo>
                    <a:pt x="1871" y="1722"/>
                  </a:lnTo>
                  <a:lnTo>
                    <a:pt x="1887" y="1729"/>
                  </a:lnTo>
                  <a:lnTo>
                    <a:pt x="1902" y="1740"/>
                  </a:lnTo>
                  <a:lnTo>
                    <a:pt x="2112" y="1948"/>
                  </a:lnTo>
                  <a:lnTo>
                    <a:pt x="2125" y="1957"/>
                  </a:lnTo>
                  <a:lnTo>
                    <a:pt x="2140" y="1963"/>
                  </a:lnTo>
                  <a:lnTo>
                    <a:pt x="2156" y="1965"/>
                  </a:lnTo>
                  <a:lnTo>
                    <a:pt x="2174" y="1963"/>
                  </a:lnTo>
                  <a:lnTo>
                    <a:pt x="2190" y="1957"/>
                  </a:lnTo>
                  <a:lnTo>
                    <a:pt x="2207" y="1949"/>
                  </a:lnTo>
                  <a:lnTo>
                    <a:pt x="2223" y="1936"/>
                  </a:lnTo>
                  <a:lnTo>
                    <a:pt x="2235" y="1920"/>
                  </a:lnTo>
                  <a:lnTo>
                    <a:pt x="2244" y="1904"/>
                  </a:lnTo>
                  <a:lnTo>
                    <a:pt x="2249" y="1887"/>
                  </a:lnTo>
                  <a:lnTo>
                    <a:pt x="2251" y="1871"/>
                  </a:lnTo>
                  <a:lnTo>
                    <a:pt x="2249" y="1855"/>
                  </a:lnTo>
                  <a:lnTo>
                    <a:pt x="2244" y="1839"/>
                  </a:lnTo>
                  <a:lnTo>
                    <a:pt x="2234" y="1826"/>
                  </a:lnTo>
                  <a:lnTo>
                    <a:pt x="2025" y="1618"/>
                  </a:lnTo>
                  <a:lnTo>
                    <a:pt x="2013" y="1603"/>
                  </a:lnTo>
                  <a:lnTo>
                    <a:pt x="2006" y="1587"/>
                  </a:lnTo>
                  <a:lnTo>
                    <a:pt x="2004" y="1570"/>
                  </a:lnTo>
                  <a:lnTo>
                    <a:pt x="2006" y="1553"/>
                  </a:lnTo>
                  <a:lnTo>
                    <a:pt x="2013" y="1535"/>
                  </a:lnTo>
                  <a:lnTo>
                    <a:pt x="2025" y="1521"/>
                  </a:lnTo>
                  <a:lnTo>
                    <a:pt x="2039" y="1510"/>
                  </a:lnTo>
                  <a:lnTo>
                    <a:pt x="2055" y="1503"/>
                  </a:lnTo>
                  <a:lnTo>
                    <a:pt x="2074" y="1501"/>
                  </a:lnTo>
                  <a:lnTo>
                    <a:pt x="2091" y="1503"/>
                  </a:lnTo>
                  <a:lnTo>
                    <a:pt x="2107" y="1510"/>
                  </a:lnTo>
                  <a:lnTo>
                    <a:pt x="2122" y="1521"/>
                  </a:lnTo>
                  <a:lnTo>
                    <a:pt x="2332" y="1729"/>
                  </a:lnTo>
                  <a:lnTo>
                    <a:pt x="2345" y="1739"/>
                  </a:lnTo>
                  <a:lnTo>
                    <a:pt x="2359" y="1744"/>
                  </a:lnTo>
                  <a:lnTo>
                    <a:pt x="2377" y="1746"/>
                  </a:lnTo>
                  <a:lnTo>
                    <a:pt x="2393" y="1744"/>
                  </a:lnTo>
                  <a:lnTo>
                    <a:pt x="2410" y="1739"/>
                  </a:lnTo>
                  <a:lnTo>
                    <a:pt x="2427" y="1730"/>
                  </a:lnTo>
                  <a:lnTo>
                    <a:pt x="2442" y="1718"/>
                  </a:lnTo>
                  <a:lnTo>
                    <a:pt x="2455" y="1703"/>
                  </a:lnTo>
                  <a:lnTo>
                    <a:pt x="2463" y="1685"/>
                  </a:lnTo>
                  <a:lnTo>
                    <a:pt x="2469" y="1669"/>
                  </a:lnTo>
                  <a:lnTo>
                    <a:pt x="2471" y="1652"/>
                  </a:lnTo>
                  <a:lnTo>
                    <a:pt x="2469" y="1636"/>
                  </a:lnTo>
                  <a:lnTo>
                    <a:pt x="2463" y="1620"/>
                  </a:lnTo>
                  <a:lnTo>
                    <a:pt x="2454" y="1608"/>
                  </a:lnTo>
                  <a:lnTo>
                    <a:pt x="2452" y="1606"/>
                  </a:lnTo>
                  <a:lnTo>
                    <a:pt x="2447" y="1600"/>
                  </a:lnTo>
                  <a:lnTo>
                    <a:pt x="2438" y="1591"/>
                  </a:lnTo>
                  <a:lnTo>
                    <a:pt x="2426" y="1579"/>
                  </a:lnTo>
                  <a:lnTo>
                    <a:pt x="2410" y="1564"/>
                  </a:lnTo>
                  <a:lnTo>
                    <a:pt x="2392" y="1545"/>
                  </a:lnTo>
                  <a:lnTo>
                    <a:pt x="2372" y="1525"/>
                  </a:lnTo>
                  <a:lnTo>
                    <a:pt x="2348" y="1502"/>
                  </a:lnTo>
                  <a:lnTo>
                    <a:pt x="2323" y="1477"/>
                  </a:lnTo>
                  <a:lnTo>
                    <a:pt x="2295" y="1449"/>
                  </a:lnTo>
                  <a:lnTo>
                    <a:pt x="2265" y="1420"/>
                  </a:lnTo>
                  <a:lnTo>
                    <a:pt x="2235" y="1389"/>
                  </a:lnTo>
                  <a:lnTo>
                    <a:pt x="2202" y="1357"/>
                  </a:lnTo>
                  <a:lnTo>
                    <a:pt x="2169" y="1323"/>
                  </a:lnTo>
                  <a:lnTo>
                    <a:pt x="2134" y="1289"/>
                  </a:lnTo>
                  <a:lnTo>
                    <a:pt x="2099" y="1254"/>
                  </a:lnTo>
                  <a:lnTo>
                    <a:pt x="2062" y="1218"/>
                  </a:lnTo>
                  <a:lnTo>
                    <a:pt x="2027" y="1182"/>
                  </a:lnTo>
                  <a:lnTo>
                    <a:pt x="1990" y="1146"/>
                  </a:lnTo>
                  <a:lnTo>
                    <a:pt x="1954" y="1110"/>
                  </a:lnTo>
                  <a:lnTo>
                    <a:pt x="1918" y="1074"/>
                  </a:lnTo>
                  <a:lnTo>
                    <a:pt x="1882" y="1039"/>
                  </a:lnTo>
                  <a:lnTo>
                    <a:pt x="1847" y="1003"/>
                  </a:lnTo>
                  <a:lnTo>
                    <a:pt x="1813" y="970"/>
                  </a:lnTo>
                  <a:lnTo>
                    <a:pt x="1780" y="937"/>
                  </a:lnTo>
                  <a:lnTo>
                    <a:pt x="1748" y="906"/>
                  </a:lnTo>
                  <a:lnTo>
                    <a:pt x="1718" y="875"/>
                  </a:lnTo>
                  <a:lnTo>
                    <a:pt x="1689" y="847"/>
                  </a:lnTo>
                  <a:lnTo>
                    <a:pt x="1663" y="821"/>
                  </a:lnTo>
                  <a:lnTo>
                    <a:pt x="1638" y="797"/>
                  </a:lnTo>
                  <a:lnTo>
                    <a:pt x="1616" y="775"/>
                  </a:lnTo>
                  <a:lnTo>
                    <a:pt x="1596" y="756"/>
                  </a:lnTo>
                  <a:lnTo>
                    <a:pt x="1579" y="740"/>
                  </a:lnTo>
                  <a:lnTo>
                    <a:pt x="1565" y="725"/>
                  </a:lnTo>
                  <a:lnTo>
                    <a:pt x="1560" y="721"/>
                  </a:lnTo>
                  <a:lnTo>
                    <a:pt x="1553" y="715"/>
                  </a:lnTo>
                  <a:lnTo>
                    <a:pt x="1546" y="711"/>
                  </a:lnTo>
                  <a:lnTo>
                    <a:pt x="1537" y="706"/>
                  </a:lnTo>
                  <a:lnTo>
                    <a:pt x="1527" y="704"/>
                  </a:lnTo>
                  <a:lnTo>
                    <a:pt x="1515" y="703"/>
                  </a:lnTo>
                  <a:lnTo>
                    <a:pt x="1501" y="705"/>
                  </a:lnTo>
                  <a:lnTo>
                    <a:pt x="1485" y="711"/>
                  </a:lnTo>
                  <a:lnTo>
                    <a:pt x="1468" y="720"/>
                  </a:lnTo>
                  <a:lnTo>
                    <a:pt x="1449" y="735"/>
                  </a:lnTo>
                  <a:lnTo>
                    <a:pt x="1428" y="754"/>
                  </a:lnTo>
                  <a:lnTo>
                    <a:pt x="1405" y="779"/>
                  </a:lnTo>
                  <a:lnTo>
                    <a:pt x="1383" y="808"/>
                  </a:lnTo>
                  <a:lnTo>
                    <a:pt x="1366" y="837"/>
                  </a:lnTo>
                  <a:lnTo>
                    <a:pt x="1270" y="1012"/>
                  </a:lnTo>
                  <a:lnTo>
                    <a:pt x="1259" y="1031"/>
                  </a:lnTo>
                  <a:lnTo>
                    <a:pt x="1244" y="1050"/>
                  </a:lnTo>
                  <a:lnTo>
                    <a:pt x="1226" y="1069"/>
                  </a:lnTo>
                  <a:lnTo>
                    <a:pt x="1194" y="1096"/>
                  </a:lnTo>
                  <a:lnTo>
                    <a:pt x="1161" y="1119"/>
                  </a:lnTo>
                  <a:lnTo>
                    <a:pt x="1125" y="1136"/>
                  </a:lnTo>
                  <a:lnTo>
                    <a:pt x="1089" y="1147"/>
                  </a:lnTo>
                  <a:lnTo>
                    <a:pt x="1052" y="1153"/>
                  </a:lnTo>
                  <a:lnTo>
                    <a:pt x="1014" y="1153"/>
                  </a:lnTo>
                  <a:lnTo>
                    <a:pt x="976" y="1147"/>
                  </a:lnTo>
                  <a:lnTo>
                    <a:pt x="944" y="1137"/>
                  </a:lnTo>
                  <a:lnTo>
                    <a:pt x="913" y="1123"/>
                  </a:lnTo>
                  <a:lnTo>
                    <a:pt x="883" y="1106"/>
                  </a:lnTo>
                  <a:lnTo>
                    <a:pt x="858" y="1085"/>
                  </a:lnTo>
                  <a:lnTo>
                    <a:pt x="833" y="1061"/>
                  </a:lnTo>
                  <a:lnTo>
                    <a:pt x="813" y="1034"/>
                  </a:lnTo>
                  <a:lnTo>
                    <a:pt x="796" y="1004"/>
                  </a:lnTo>
                  <a:lnTo>
                    <a:pt x="784" y="980"/>
                  </a:lnTo>
                  <a:lnTo>
                    <a:pt x="777" y="955"/>
                  </a:lnTo>
                  <a:lnTo>
                    <a:pt x="772" y="930"/>
                  </a:lnTo>
                  <a:lnTo>
                    <a:pt x="772" y="908"/>
                  </a:lnTo>
                  <a:lnTo>
                    <a:pt x="774" y="886"/>
                  </a:lnTo>
                  <a:lnTo>
                    <a:pt x="781" y="866"/>
                  </a:lnTo>
                  <a:lnTo>
                    <a:pt x="1064" y="203"/>
                  </a:lnTo>
                  <a:lnTo>
                    <a:pt x="1074" y="185"/>
                  </a:lnTo>
                  <a:lnTo>
                    <a:pt x="1086" y="166"/>
                  </a:lnTo>
                  <a:lnTo>
                    <a:pt x="1102" y="147"/>
                  </a:lnTo>
                  <a:lnTo>
                    <a:pt x="1120" y="126"/>
                  </a:lnTo>
                  <a:lnTo>
                    <a:pt x="1130" y="117"/>
                  </a:lnTo>
                  <a:lnTo>
                    <a:pt x="1142" y="106"/>
                  </a:lnTo>
                  <a:lnTo>
                    <a:pt x="1158" y="94"/>
                  </a:lnTo>
                  <a:lnTo>
                    <a:pt x="1176" y="81"/>
                  </a:lnTo>
                  <a:lnTo>
                    <a:pt x="1196" y="67"/>
                  </a:lnTo>
                  <a:lnTo>
                    <a:pt x="1220" y="53"/>
                  </a:lnTo>
                  <a:lnTo>
                    <a:pt x="1245" y="40"/>
                  </a:lnTo>
                  <a:lnTo>
                    <a:pt x="1274" y="28"/>
                  </a:lnTo>
                  <a:lnTo>
                    <a:pt x="1305" y="18"/>
                  </a:lnTo>
                  <a:lnTo>
                    <a:pt x="1338" y="10"/>
                  </a:lnTo>
                  <a:lnTo>
                    <a:pt x="1373" y="3"/>
                  </a:lnTo>
                  <a:lnTo>
                    <a:pt x="1412" y="0"/>
                  </a:lnTo>
                  <a:lnTo>
                    <a:pt x="1451"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29" name="Freeform 12"/>
            <p:cNvSpPr>
              <a:spLocks noEditPoints="1"/>
            </p:cNvSpPr>
            <p:nvPr/>
          </p:nvSpPr>
          <p:spPr bwMode="auto">
            <a:xfrm>
              <a:off x="1701801" y="2038351"/>
              <a:ext cx="149225" cy="147638"/>
            </a:xfrm>
            <a:custGeom>
              <a:avLst/>
              <a:gdLst>
                <a:gd name="T0" fmla="*/ 671 w 1031"/>
                <a:gd name="T1" fmla="*/ 657 h 1025"/>
                <a:gd name="T2" fmla="*/ 626 w 1031"/>
                <a:gd name="T3" fmla="*/ 679 h 1025"/>
                <a:gd name="T4" fmla="*/ 595 w 1031"/>
                <a:gd name="T5" fmla="*/ 718 h 1025"/>
                <a:gd name="T6" fmla="*/ 584 w 1031"/>
                <a:gd name="T7" fmla="*/ 766 h 1025"/>
                <a:gd name="T8" fmla="*/ 595 w 1031"/>
                <a:gd name="T9" fmla="*/ 817 h 1025"/>
                <a:gd name="T10" fmla="*/ 626 w 1031"/>
                <a:gd name="T11" fmla="*/ 854 h 1025"/>
                <a:gd name="T12" fmla="*/ 671 w 1031"/>
                <a:gd name="T13" fmla="*/ 877 h 1025"/>
                <a:gd name="T14" fmla="*/ 723 w 1031"/>
                <a:gd name="T15" fmla="*/ 877 h 1025"/>
                <a:gd name="T16" fmla="*/ 768 w 1031"/>
                <a:gd name="T17" fmla="*/ 854 h 1025"/>
                <a:gd name="T18" fmla="*/ 800 w 1031"/>
                <a:gd name="T19" fmla="*/ 816 h 1025"/>
                <a:gd name="T20" fmla="*/ 811 w 1031"/>
                <a:gd name="T21" fmla="*/ 766 h 1025"/>
                <a:gd name="T22" fmla="*/ 800 w 1031"/>
                <a:gd name="T23" fmla="*/ 718 h 1025"/>
                <a:gd name="T24" fmla="*/ 768 w 1031"/>
                <a:gd name="T25" fmla="*/ 679 h 1025"/>
                <a:gd name="T26" fmla="*/ 723 w 1031"/>
                <a:gd name="T27" fmla="*/ 657 h 1025"/>
                <a:gd name="T28" fmla="*/ 345 w 1031"/>
                <a:gd name="T29" fmla="*/ 0 h 1025"/>
                <a:gd name="T30" fmla="*/ 391 w 1031"/>
                <a:gd name="T31" fmla="*/ 12 h 1025"/>
                <a:gd name="T32" fmla="*/ 432 w 1031"/>
                <a:gd name="T33" fmla="*/ 39 h 1025"/>
                <a:gd name="T34" fmla="*/ 1007 w 1031"/>
                <a:gd name="T35" fmla="*/ 615 h 1025"/>
                <a:gd name="T36" fmla="*/ 1027 w 1031"/>
                <a:gd name="T37" fmla="*/ 659 h 1025"/>
                <a:gd name="T38" fmla="*/ 1031 w 1031"/>
                <a:gd name="T39" fmla="*/ 705 h 1025"/>
                <a:gd name="T40" fmla="*/ 1019 w 1031"/>
                <a:gd name="T41" fmla="*/ 751 h 1025"/>
                <a:gd name="T42" fmla="*/ 992 w 1031"/>
                <a:gd name="T43" fmla="*/ 791 h 1025"/>
                <a:gd name="T44" fmla="*/ 776 w 1031"/>
                <a:gd name="T45" fmla="*/ 1001 h 1025"/>
                <a:gd name="T46" fmla="*/ 732 w 1031"/>
                <a:gd name="T47" fmla="*/ 1021 h 1025"/>
                <a:gd name="T48" fmla="*/ 686 w 1031"/>
                <a:gd name="T49" fmla="*/ 1025 h 1025"/>
                <a:gd name="T50" fmla="*/ 640 w 1031"/>
                <a:gd name="T51" fmla="*/ 1013 h 1025"/>
                <a:gd name="T52" fmla="*/ 600 w 1031"/>
                <a:gd name="T53" fmla="*/ 985 h 1025"/>
                <a:gd name="T54" fmla="*/ 24 w 1031"/>
                <a:gd name="T55" fmla="*/ 409 h 1025"/>
                <a:gd name="T56" fmla="*/ 4 w 1031"/>
                <a:gd name="T57" fmla="*/ 367 h 1025"/>
                <a:gd name="T58" fmla="*/ 0 w 1031"/>
                <a:gd name="T59" fmla="*/ 320 h 1025"/>
                <a:gd name="T60" fmla="*/ 11 w 1031"/>
                <a:gd name="T61" fmla="*/ 275 h 1025"/>
                <a:gd name="T62" fmla="*/ 40 w 1031"/>
                <a:gd name="T63" fmla="*/ 234 h 1025"/>
                <a:gd name="T64" fmla="*/ 255 w 1031"/>
                <a:gd name="T65" fmla="*/ 24 h 1025"/>
                <a:gd name="T66" fmla="*/ 298 w 1031"/>
                <a:gd name="T67" fmla="*/ 4 h 1025"/>
                <a:gd name="T68" fmla="*/ 345 w 1031"/>
                <a:gd name="T69"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1" h="1025">
                  <a:moveTo>
                    <a:pt x="698" y="654"/>
                  </a:moveTo>
                  <a:lnTo>
                    <a:pt x="671" y="657"/>
                  </a:lnTo>
                  <a:lnTo>
                    <a:pt x="648" y="665"/>
                  </a:lnTo>
                  <a:lnTo>
                    <a:pt x="626" y="679"/>
                  </a:lnTo>
                  <a:lnTo>
                    <a:pt x="609" y="696"/>
                  </a:lnTo>
                  <a:lnTo>
                    <a:pt x="595" y="718"/>
                  </a:lnTo>
                  <a:lnTo>
                    <a:pt x="587" y="741"/>
                  </a:lnTo>
                  <a:lnTo>
                    <a:pt x="584" y="766"/>
                  </a:lnTo>
                  <a:lnTo>
                    <a:pt x="587" y="793"/>
                  </a:lnTo>
                  <a:lnTo>
                    <a:pt x="595" y="817"/>
                  </a:lnTo>
                  <a:lnTo>
                    <a:pt x="609" y="837"/>
                  </a:lnTo>
                  <a:lnTo>
                    <a:pt x="626" y="854"/>
                  </a:lnTo>
                  <a:lnTo>
                    <a:pt x="648" y="868"/>
                  </a:lnTo>
                  <a:lnTo>
                    <a:pt x="671" y="877"/>
                  </a:lnTo>
                  <a:lnTo>
                    <a:pt x="698" y="880"/>
                  </a:lnTo>
                  <a:lnTo>
                    <a:pt x="723" y="877"/>
                  </a:lnTo>
                  <a:lnTo>
                    <a:pt x="748" y="868"/>
                  </a:lnTo>
                  <a:lnTo>
                    <a:pt x="768" y="854"/>
                  </a:lnTo>
                  <a:lnTo>
                    <a:pt x="785" y="837"/>
                  </a:lnTo>
                  <a:lnTo>
                    <a:pt x="800" y="816"/>
                  </a:lnTo>
                  <a:lnTo>
                    <a:pt x="808" y="793"/>
                  </a:lnTo>
                  <a:lnTo>
                    <a:pt x="811" y="766"/>
                  </a:lnTo>
                  <a:lnTo>
                    <a:pt x="808" y="741"/>
                  </a:lnTo>
                  <a:lnTo>
                    <a:pt x="800" y="718"/>
                  </a:lnTo>
                  <a:lnTo>
                    <a:pt x="785" y="696"/>
                  </a:lnTo>
                  <a:lnTo>
                    <a:pt x="768" y="679"/>
                  </a:lnTo>
                  <a:lnTo>
                    <a:pt x="748" y="665"/>
                  </a:lnTo>
                  <a:lnTo>
                    <a:pt x="723" y="657"/>
                  </a:lnTo>
                  <a:lnTo>
                    <a:pt x="698" y="654"/>
                  </a:lnTo>
                  <a:close/>
                  <a:moveTo>
                    <a:pt x="345" y="0"/>
                  </a:moveTo>
                  <a:lnTo>
                    <a:pt x="368" y="4"/>
                  </a:lnTo>
                  <a:lnTo>
                    <a:pt x="391" y="12"/>
                  </a:lnTo>
                  <a:lnTo>
                    <a:pt x="412" y="24"/>
                  </a:lnTo>
                  <a:lnTo>
                    <a:pt x="432" y="39"/>
                  </a:lnTo>
                  <a:lnTo>
                    <a:pt x="992" y="596"/>
                  </a:lnTo>
                  <a:lnTo>
                    <a:pt x="1007" y="615"/>
                  </a:lnTo>
                  <a:lnTo>
                    <a:pt x="1019" y="637"/>
                  </a:lnTo>
                  <a:lnTo>
                    <a:pt x="1027" y="659"/>
                  </a:lnTo>
                  <a:lnTo>
                    <a:pt x="1031" y="682"/>
                  </a:lnTo>
                  <a:lnTo>
                    <a:pt x="1031" y="705"/>
                  </a:lnTo>
                  <a:lnTo>
                    <a:pt x="1027" y="729"/>
                  </a:lnTo>
                  <a:lnTo>
                    <a:pt x="1019" y="751"/>
                  </a:lnTo>
                  <a:lnTo>
                    <a:pt x="1007" y="771"/>
                  </a:lnTo>
                  <a:lnTo>
                    <a:pt x="992" y="791"/>
                  </a:lnTo>
                  <a:lnTo>
                    <a:pt x="796" y="985"/>
                  </a:lnTo>
                  <a:lnTo>
                    <a:pt x="776" y="1001"/>
                  </a:lnTo>
                  <a:lnTo>
                    <a:pt x="755" y="1013"/>
                  </a:lnTo>
                  <a:lnTo>
                    <a:pt x="732" y="1021"/>
                  </a:lnTo>
                  <a:lnTo>
                    <a:pt x="709" y="1025"/>
                  </a:lnTo>
                  <a:lnTo>
                    <a:pt x="686" y="1025"/>
                  </a:lnTo>
                  <a:lnTo>
                    <a:pt x="663" y="1021"/>
                  </a:lnTo>
                  <a:lnTo>
                    <a:pt x="640" y="1013"/>
                  </a:lnTo>
                  <a:lnTo>
                    <a:pt x="619" y="1001"/>
                  </a:lnTo>
                  <a:lnTo>
                    <a:pt x="600" y="985"/>
                  </a:lnTo>
                  <a:lnTo>
                    <a:pt x="40" y="429"/>
                  </a:lnTo>
                  <a:lnTo>
                    <a:pt x="24" y="409"/>
                  </a:lnTo>
                  <a:lnTo>
                    <a:pt x="11" y="389"/>
                  </a:lnTo>
                  <a:lnTo>
                    <a:pt x="4" y="367"/>
                  </a:lnTo>
                  <a:lnTo>
                    <a:pt x="0" y="344"/>
                  </a:lnTo>
                  <a:lnTo>
                    <a:pt x="0" y="320"/>
                  </a:lnTo>
                  <a:lnTo>
                    <a:pt x="4" y="297"/>
                  </a:lnTo>
                  <a:lnTo>
                    <a:pt x="11" y="275"/>
                  </a:lnTo>
                  <a:lnTo>
                    <a:pt x="24" y="253"/>
                  </a:lnTo>
                  <a:lnTo>
                    <a:pt x="40" y="234"/>
                  </a:lnTo>
                  <a:lnTo>
                    <a:pt x="236" y="39"/>
                  </a:lnTo>
                  <a:lnTo>
                    <a:pt x="255" y="24"/>
                  </a:lnTo>
                  <a:lnTo>
                    <a:pt x="275" y="12"/>
                  </a:lnTo>
                  <a:lnTo>
                    <a:pt x="298" y="4"/>
                  </a:lnTo>
                  <a:lnTo>
                    <a:pt x="321" y="0"/>
                  </a:lnTo>
                  <a:lnTo>
                    <a:pt x="345"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grpSp>
        <p:nvGrpSpPr>
          <p:cNvPr id="4" name="Group 65"/>
          <p:cNvGrpSpPr/>
          <p:nvPr/>
        </p:nvGrpSpPr>
        <p:grpSpPr>
          <a:xfrm>
            <a:off x="6907324" y="3113696"/>
            <a:ext cx="721520" cy="716757"/>
            <a:chOff x="1835150" y="2667001"/>
            <a:chExt cx="481013" cy="477838"/>
          </a:xfrm>
          <a:solidFill>
            <a:sysClr val="window" lastClr="FFFFFF"/>
          </a:solidFill>
        </p:grpSpPr>
        <p:sp>
          <p:nvSpPr>
            <p:cNvPr id="131" name="Freeform 17"/>
            <p:cNvSpPr>
              <a:spLocks/>
            </p:cNvSpPr>
            <p:nvPr/>
          </p:nvSpPr>
          <p:spPr bwMode="auto">
            <a:xfrm>
              <a:off x="2192338" y="2776538"/>
              <a:ext cx="123825" cy="42863"/>
            </a:xfrm>
            <a:custGeom>
              <a:avLst/>
              <a:gdLst>
                <a:gd name="T0" fmla="*/ 0 w 860"/>
                <a:gd name="T1" fmla="*/ 0 h 300"/>
                <a:gd name="T2" fmla="*/ 709 w 860"/>
                <a:gd name="T3" fmla="*/ 0 h 300"/>
                <a:gd name="T4" fmla="*/ 739 w 860"/>
                <a:gd name="T5" fmla="*/ 3 h 300"/>
                <a:gd name="T6" fmla="*/ 768 w 860"/>
                <a:gd name="T7" fmla="*/ 11 h 300"/>
                <a:gd name="T8" fmla="*/ 793 w 860"/>
                <a:gd name="T9" fmla="*/ 26 h 300"/>
                <a:gd name="T10" fmla="*/ 816 w 860"/>
                <a:gd name="T11" fmla="*/ 43 h 300"/>
                <a:gd name="T12" fmla="*/ 834 w 860"/>
                <a:gd name="T13" fmla="*/ 66 h 300"/>
                <a:gd name="T14" fmla="*/ 849 w 860"/>
                <a:gd name="T15" fmla="*/ 91 h 300"/>
                <a:gd name="T16" fmla="*/ 857 w 860"/>
                <a:gd name="T17" fmla="*/ 119 h 300"/>
                <a:gd name="T18" fmla="*/ 860 w 860"/>
                <a:gd name="T19" fmla="*/ 149 h 300"/>
                <a:gd name="T20" fmla="*/ 857 w 860"/>
                <a:gd name="T21" fmla="*/ 180 h 300"/>
                <a:gd name="T22" fmla="*/ 849 w 860"/>
                <a:gd name="T23" fmla="*/ 209 h 300"/>
                <a:gd name="T24" fmla="*/ 834 w 860"/>
                <a:gd name="T25" fmla="*/ 234 h 300"/>
                <a:gd name="T26" fmla="*/ 816 w 860"/>
                <a:gd name="T27" fmla="*/ 256 h 300"/>
                <a:gd name="T28" fmla="*/ 793 w 860"/>
                <a:gd name="T29" fmla="*/ 274 h 300"/>
                <a:gd name="T30" fmla="*/ 768 w 860"/>
                <a:gd name="T31" fmla="*/ 289 h 300"/>
                <a:gd name="T32" fmla="*/ 739 w 860"/>
                <a:gd name="T33" fmla="*/ 297 h 300"/>
                <a:gd name="T34" fmla="*/ 709 w 860"/>
                <a:gd name="T35" fmla="*/ 300 h 300"/>
                <a:gd name="T36" fmla="*/ 246 w 860"/>
                <a:gd name="T37" fmla="*/ 300 h 300"/>
                <a:gd name="T38" fmla="*/ 205 w 860"/>
                <a:gd name="T39" fmla="*/ 234 h 300"/>
                <a:gd name="T40" fmla="*/ 159 w 860"/>
                <a:gd name="T41" fmla="*/ 170 h 300"/>
                <a:gd name="T42" fmla="*/ 110 w 860"/>
                <a:gd name="T43" fmla="*/ 110 h 300"/>
                <a:gd name="T44" fmla="*/ 57 w 860"/>
                <a:gd name="T45" fmla="*/ 53 h 300"/>
                <a:gd name="T46" fmla="*/ 0 w 860"/>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0" h="300">
                  <a:moveTo>
                    <a:pt x="0" y="0"/>
                  </a:moveTo>
                  <a:lnTo>
                    <a:pt x="709" y="0"/>
                  </a:lnTo>
                  <a:lnTo>
                    <a:pt x="739" y="3"/>
                  </a:lnTo>
                  <a:lnTo>
                    <a:pt x="768" y="11"/>
                  </a:lnTo>
                  <a:lnTo>
                    <a:pt x="793" y="26"/>
                  </a:lnTo>
                  <a:lnTo>
                    <a:pt x="816" y="43"/>
                  </a:lnTo>
                  <a:lnTo>
                    <a:pt x="834" y="66"/>
                  </a:lnTo>
                  <a:lnTo>
                    <a:pt x="849" y="91"/>
                  </a:lnTo>
                  <a:lnTo>
                    <a:pt x="857" y="119"/>
                  </a:lnTo>
                  <a:lnTo>
                    <a:pt x="860" y="149"/>
                  </a:lnTo>
                  <a:lnTo>
                    <a:pt x="857" y="180"/>
                  </a:lnTo>
                  <a:lnTo>
                    <a:pt x="849" y="209"/>
                  </a:lnTo>
                  <a:lnTo>
                    <a:pt x="834" y="234"/>
                  </a:lnTo>
                  <a:lnTo>
                    <a:pt x="816" y="256"/>
                  </a:lnTo>
                  <a:lnTo>
                    <a:pt x="793" y="274"/>
                  </a:lnTo>
                  <a:lnTo>
                    <a:pt x="768" y="289"/>
                  </a:lnTo>
                  <a:lnTo>
                    <a:pt x="739" y="297"/>
                  </a:lnTo>
                  <a:lnTo>
                    <a:pt x="709" y="300"/>
                  </a:lnTo>
                  <a:lnTo>
                    <a:pt x="246" y="300"/>
                  </a:lnTo>
                  <a:lnTo>
                    <a:pt x="205" y="234"/>
                  </a:lnTo>
                  <a:lnTo>
                    <a:pt x="159" y="170"/>
                  </a:lnTo>
                  <a:lnTo>
                    <a:pt x="110" y="110"/>
                  </a:lnTo>
                  <a:lnTo>
                    <a:pt x="57" y="53"/>
                  </a:lnTo>
                  <a:lnTo>
                    <a:pt x="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2" name="Freeform 18"/>
            <p:cNvSpPr>
              <a:spLocks/>
            </p:cNvSpPr>
            <p:nvPr/>
          </p:nvSpPr>
          <p:spPr bwMode="auto">
            <a:xfrm>
              <a:off x="2233613" y="2832101"/>
              <a:ext cx="82550" cy="42863"/>
            </a:xfrm>
            <a:custGeom>
              <a:avLst/>
              <a:gdLst>
                <a:gd name="T0" fmla="*/ 0 w 573"/>
                <a:gd name="T1" fmla="*/ 0 h 301"/>
                <a:gd name="T2" fmla="*/ 422 w 573"/>
                <a:gd name="T3" fmla="*/ 0 h 301"/>
                <a:gd name="T4" fmla="*/ 452 w 573"/>
                <a:gd name="T5" fmla="*/ 3 h 301"/>
                <a:gd name="T6" fmla="*/ 481 w 573"/>
                <a:gd name="T7" fmla="*/ 12 h 301"/>
                <a:gd name="T8" fmla="*/ 506 w 573"/>
                <a:gd name="T9" fmla="*/ 25 h 301"/>
                <a:gd name="T10" fmla="*/ 529 w 573"/>
                <a:gd name="T11" fmla="*/ 44 h 301"/>
                <a:gd name="T12" fmla="*/ 547 w 573"/>
                <a:gd name="T13" fmla="*/ 66 h 301"/>
                <a:gd name="T14" fmla="*/ 562 w 573"/>
                <a:gd name="T15" fmla="*/ 92 h 301"/>
                <a:gd name="T16" fmla="*/ 570 w 573"/>
                <a:gd name="T17" fmla="*/ 120 h 301"/>
                <a:gd name="T18" fmla="*/ 573 w 573"/>
                <a:gd name="T19" fmla="*/ 150 h 301"/>
                <a:gd name="T20" fmla="*/ 570 w 573"/>
                <a:gd name="T21" fmla="*/ 180 h 301"/>
                <a:gd name="T22" fmla="*/ 562 w 573"/>
                <a:gd name="T23" fmla="*/ 208 h 301"/>
                <a:gd name="T24" fmla="*/ 547 w 573"/>
                <a:gd name="T25" fmla="*/ 234 h 301"/>
                <a:gd name="T26" fmla="*/ 529 w 573"/>
                <a:gd name="T27" fmla="*/ 256 h 301"/>
                <a:gd name="T28" fmla="*/ 506 w 573"/>
                <a:gd name="T29" fmla="*/ 275 h 301"/>
                <a:gd name="T30" fmla="*/ 481 w 573"/>
                <a:gd name="T31" fmla="*/ 288 h 301"/>
                <a:gd name="T32" fmla="*/ 452 w 573"/>
                <a:gd name="T33" fmla="*/ 298 h 301"/>
                <a:gd name="T34" fmla="*/ 422 w 573"/>
                <a:gd name="T35" fmla="*/ 301 h 301"/>
                <a:gd name="T36" fmla="*/ 98 w 573"/>
                <a:gd name="T37" fmla="*/ 301 h 301"/>
                <a:gd name="T38" fmla="*/ 81 w 573"/>
                <a:gd name="T39" fmla="*/ 222 h 301"/>
                <a:gd name="T40" fmla="*/ 59 w 573"/>
                <a:gd name="T41" fmla="*/ 146 h 301"/>
                <a:gd name="T42" fmla="*/ 32 w 573"/>
                <a:gd name="T43" fmla="*/ 72 h 301"/>
                <a:gd name="T44" fmla="*/ 0 w 573"/>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3" h="301">
                  <a:moveTo>
                    <a:pt x="0" y="0"/>
                  </a:moveTo>
                  <a:lnTo>
                    <a:pt x="422" y="0"/>
                  </a:lnTo>
                  <a:lnTo>
                    <a:pt x="452" y="3"/>
                  </a:lnTo>
                  <a:lnTo>
                    <a:pt x="481" y="12"/>
                  </a:lnTo>
                  <a:lnTo>
                    <a:pt x="506" y="25"/>
                  </a:lnTo>
                  <a:lnTo>
                    <a:pt x="529" y="44"/>
                  </a:lnTo>
                  <a:lnTo>
                    <a:pt x="547" y="66"/>
                  </a:lnTo>
                  <a:lnTo>
                    <a:pt x="562" y="92"/>
                  </a:lnTo>
                  <a:lnTo>
                    <a:pt x="570" y="120"/>
                  </a:lnTo>
                  <a:lnTo>
                    <a:pt x="573" y="150"/>
                  </a:lnTo>
                  <a:lnTo>
                    <a:pt x="570" y="180"/>
                  </a:lnTo>
                  <a:lnTo>
                    <a:pt x="562" y="208"/>
                  </a:lnTo>
                  <a:lnTo>
                    <a:pt x="547" y="234"/>
                  </a:lnTo>
                  <a:lnTo>
                    <a:pt x="529" y="256"/>
                  </a:lnTo>
                  <a:lnTo>
                    <a:pt x="506" y="275"/>
                  </a:lnTo>
                  <a:lnTo>
                    <a:pt x="481" y="288"/>
                  </a:lnTo>
                  <a:lnTo>
                    <a:pt x="452" y="298"/>
                  </a:lnTo>
                  <a:lnTo>
                    <a:pt x="422" y="301"/>
                  </a:lnTo>
                  <a:lnTo>
                    <a:pt x="98" y="301"/>
                  </a:lnTo>
                  <a:lnTo>
                    <a:pt x="81" y="222"/>
                  </a:lnTo>
                  <a:lnTo>
                    <a:pt x="59" y="146"/>
                  </a:lnTo>
                  <a:lnTo>
                    <a:pt x="32" y="72"/>
                  </a:lnTo>
                  <a:lnTo>
                    <a:pt x="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3" name="Freeform 19"/>
            <p:cNvSpPr>
              <a:spLocks/>
            </p:cNvSpPr>
            <p:nvPr/>
          </p:nvSpPr>
          <p:spPr bwMode="auto">
            <a:xfrm>
              <a:off x="2111375" y="2722563"/>
              <a:ext cx="204788" cy="42863"/>
            </a:xfrm>
            <a:custGeom>
              <a:avLst/>
              <a:gdLst>
                <a:gd name="T0" fmla="*/ 142 w 1414"/>
                <a:gd name="T1" fmla="*/ 0 h 302"/>
                <a:gd name="T2" fmla="*/ 1263 w 1414"/>
                <a:gd name="T3" fmla="*/ 0 h 302"/>
                <a:gd name="T4" fmla="*/ 1293 w 1414"/>
                <a:gd name="T5" fmla="*/ 3 h 302"/>
                <a:gd name="T6" fmla="*/ 1322 w 1414"/>
                <a:gd name="T7" fmla="*/ 12 h 302"/>
                <a:gd name="T8" fmla="*/ 1347 w 1414"/>
                <a:gd name="T9" fmla="*/ 26 h 302"/>
                <a:gd name="T10" fmla="*/ 1370 w 1414"/>
                <a:gd name="T11" fmla="*/ 45 h 302"/>
                <a:gd name="T12" fmla="*/ 1388 w 1414"/>
                <a:gd name="T13" fmla="*/ 66 h 302"/>
                <a:gd name="T14" fmla="*/ 1403 w 1414"/>
                <a:gd name="T15" fmla="*/ 92 h 302"/>
                <a:gd name="T16" fmla="*/ 1411 w 1414"/>
                <a:gd name="T17" fmla="*/ 121 h 302"/>
                <a:gd name="T18" fmla="*/ 1414 w 1414"/>
                <a:gd name="T19" fmla="*/ 151 h 302"/>
                <a:gd name="T20" fmla="*/ 1411 w 1414"/>
                <a:gd name="T21" fmla="*/ 181 h 302"/>
                <a:gd name="T22" fmla="*/ 1403 w 1414"/>
                <a:gd name="T23" fmla="*/ 209 h 302"/>
                <a:gd name="T24" fmla="*/ 1388 w 1414"/>
                <a:gd name="T25" fmla="*/ 235 h 302"/>
                <a:gd name="T26" fmla="*/ 1370 w 1414"/>
                <a:gd name="T27" fmla="*/ 257 h 302"/>
                <a:gd name="T28" fmla="*/ 1347 w 1414"/>
                <a:gd name="T29" fmla="*/ 276 h 302"/>
                <a:gd name="T30" fmla="*/ 1322 w 1414"/>
                <a:gd name="T31" fmla="*/ 289 h 302"/>
                <a:gd name="T32" fmla="*/ 1293 w 1414"/>
                <a:gd name="T33" fmla="*/ 298 h 302"/>
                <a:gd name="T34" fmla="*/ 1263 w 1414"/>
                <a:gd name="T35" fmla="*/ 302 h 302"/>
                <a:gd name="T36" fmla="*/ 456 w 1414"/>
                <a:gd name="T37" fmla="*/ 302 h 302"/>
                <a:gd name="T38" fmla="*/ 387 w 1414"/>
                <a:gd name="T39" fmla="*/ 255 h 302"/>
                <a:gd name="T40" fmla="*/ 316 w 1414"/>
                <a:gd name="T41" fmla="*/ 213 h 302"/>
                <a:gd name="T42" fmla="*/ 241 w 1414"/>
                <a:gd name="T43" fmla="*/ 177 h 302"/>
                <a:gd name="T44" fmla="*/ 163 w 1414"/>
                <a:gd name="T45" fmla="*/ 146 h 302"/>
                <a:gd name="T46" fmla="*/ 83 w 1414"/>
                <a:gd name="T47" fmla="*/ 120 h 302"/>
                <a:gd name="T48" fmla="*/ 0 w 1414"/>
                <a:gd name="T49" fmla="*/ 99 h 302"/>
                <a:gd name="T50" fmla="*/ 11 w 1414"/>
                <a:gd name="T51" fmla="*/ 75 h 302"/>
                <a:gd name="T52" fmla="*/ 26 w 1414"/>
                <a:gd name="T53" fmla="*/ 54 h 302"/>
                <a:gd name="T54" fmla="*/ 44 w 1414"/>
                <a:gd name="T55" fmla="*/ 36 h 302"/>
                <a:gd name="T56" fmla="*/ 66 w 1414"/>
                <a:gd name="T57" fmla="*/ 21 h 302"/>
                <a:gd name="T58" fmla="*/ 89 w 1414"/>
                <a:gd name="T59" fmla="*/ 10 h 302"/>
                <a:gd name="T60" fmla="*/ 115 w 1414"/>
                <a:gd name="T61" fmla="*/ 3 h 302"/>
                <a:gd name="T62" fmla="*/ 142 w 1414"/>
                <a:gd name="T6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4" h="302">
                  <a:moveTo>
                    <a:pt x="142" y="0"/>
                  </a:moveTo>
                  <a:lnTo>
                    <a:pt x="1263" y="0"/>
                  </a:lnTo>
                  <a:lnTo>
                    <a:pt x="1293" y="3"/>
                  </a:lnTo>
                  <a:lnTo>
                    <a:pt x="1322" y="12"/>
                  </a:lnTo>
                  <a:lnTo>
                    <a:pt x="1347" y="26"/>
                  </a:lnTo>
                  <a:lnTo>
                    <a:pt x="1370" y="45"/>
                  </a:lnTo>
                  <a:lnTo>
                    <a:pt x="1388" y="66"/>
                  </a:lnTo>
                  <a:lnTo>
                    <a:pt x="1403" y="92"/>
                  </a:lnTo>
                  <a:lnTo>
                    <a:pt x="1411" y="121"/>
                  </a:lnTo>
                  <a:lnTo>
                    <a:pt x="1414" y="151"/>
                  </a:lnTo>
                  <a:lnTo>
                    <a:pt x="1411" y="181"/>
                  </a:lnTo>
                  <a:lnTo>
                    <a:pt x="1403" y="209"/>
                  </a:lnTo>
                  <a:lnTo>
                    <a:pt x="1388" y="235"/>
                  </a:lnTo>
                  <a:lnTo>
                    <a:pt x="1370" y="257"/>
                  </a:lnTo>
                  <a:lnTo>
                    <a:pt x="1347" y="276"/>
                  </a:lnTo>
                  <a:lnTo>
                    <a:pt x="1322" y="289"/>
                  </a:lnTo>
                  <a:lnTo>
                    <a:pt x="1293" y="298"/>
                  </a:lnTo>
                  <a:lnTo>
                    <a:pt x="1263" y="302"/>
                  </a:lnTo>
                  <a:lnTo>
                    <a:pt x="456" y="302"/>
                  </a:lnTo>
                  <a:lnTo>
                    <a:pt x="387" y="255"/>
                  </a:lnTo>
                  <a:lnTo>
                    <a:pt x="316" y="213"/>
                  </a:lnTo>
                  <a:lnTo>
                    <a:pt x="241" y="177"/>
                  </a:lnTo>
                  <a:lnTo>
                    <a:pt x="163" y="146"/>
                  </a:lnTo>
                  <a:lnTo>
                    <a:pt x="83" y="120"/>
                  </a:lnTo>
                  <a:lnTo>
                    <a:pt x="0" y="99"/>
                  </a:lnTo>
                  <a:lnTo>
                    <a:pt x="11" y="75"/>
                  </a:lnTo>
                  <a:lnTo>
                    <a:pt x="26" y="54"/>
                  </a:lnTo>
                  <a:lnTo>
                    <a:pt x="44" y="36"/>
                  </a:lnTo>
                  <a:lnTo>
                    <a:pt x="66" y="21"/>
                  </a:lnTo>
                  <a:lnTo>
                    <a:pt x="89" y="10"/>
                  </a:lnTo>
                  <a:lnTo>
                    <a:pt x="115" y="3"/>
                  </a:lnTo>
                  <a:lnTo>
                    <a:pt x="14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4" name="Freeform 20"/>
            <p:cNvSpPr>
              <a:spLocks/>
            </p:cNvSpPr>
            <p:nvPr/>
          </p:nvSpPr>
          <p:spPr bwMode="auto">
            <a:xfrm>
              <a:off x="2109788" y="2667001"/>
              <a:ext cx="206375" cy="44450"/>
            </a:xfrm>
            <a:custGeom>
              <a:avLst/>
              <a:gdLst>
                <a:gd name="T0" fmla="*/ 151 w 1423"/>
                <a:gd name="T1" fmla="*/ 0 h 301"/>
                <a:gd name="T2" fmla="*/ 1272 w 1423"/>
                <a:gd name="T3" fmla="*/ 0 h 301"/>
                <a:gd name="T4" fmla="*/ 1302 w 1423"/>
                <a:gd name="T5" fmla="*/ 3 h 301"/>
                <a:gd name="T6" fmla="*/ 1331 w 1423"/>
                <a:gd name="T7" fmla="*/ 12 h 301"/>
                <a:gd name="T8" fmla="*/ 1356 w 1423"/>
                <a:gd name="T9" fmla="*/ 26 h 301"/>
                <a:gd name="T10" fmla="*/ 1379 w 1423"/>
                <a:gd name="T11" fmla="*/ 44 h 301"/>
                <a:gd name="T12" fmla="*/ 1397 w 1423"/>
                <a:gd name="T13" fmla="*/ 67 h 301"/>
                <a:gd name="T14" fmla="*/ 1412 w 1423"/>
                <a:gd name="T15" fmla="*/ 92 h 301"/>
                <a:gd name="T16" fmla="*/ 1420 w 1423"/>
                <a:gd name="T17" fmla="*/ 120 h 301"/>
                <a:gd name="T18" fmla="*/ 1423 w 1423"/>
                <a:gd name="T19" fmla="*/ 150 h 301"/>
                <a:gd name="T20" fmla="*/ 1420 w 1423"/>
                <a:gd name="T21" fmla="*/ 180 h 301"/>
                <a:gd name="T22" fmla="*/ 1412 w 1423"/>
                <a:gd name="T23" fmla="*/ 209 h 301"/>
                <a:gd name="T24" fmla="*/ 1397 w 1423"/>
                <a:gd name="T25" fmla="*/ 234 h 301"/>
                <a:gd name="T26" fmla="*/ 1379 w 1423"/>
                <a:gd name="T27" fmla="*/ 257 h 301"/>
                <a:gd name="T28" fmla="*/ 1356 w 1423"/>
                <a:gd name="T29" fmla="*/ 275 h 301"/>
                <a:gd name="T30" fmla="*/ 1331 w 1423"/>
                <a:gd name="T31" fmla="*/ 289 h 301"/>
                <a:gd name="T32" fmla="*/ 1302 w 1423"/>
                <a:gd name="T33" fmla="*/ 298 h 301"/>
                <a:gd name="T34" fmla="*/ 1272 w 1423"/>
                <a:gd name="T35" fmla="*/ 301 h 301"/>
                <a:gd name="T36" fmla="*/ 151 w 1423"/>
                <a:gd name="T37" fmla="*/ 301 h 301"/>
                <a:gd name="T38" fmla="*/ 120 w 1423"/>
                <a:gd name="T39" fmla="*/ 298 h 301"/>
                <a:gd name="T40" fmla="*/ 92 w 1423"/>
                <a:gd name="T41" fmla="*/ 289 h 301"/>
                <a:gd name="T42" fmla="*/ 67 w 1423"/>
                <a:gd name="T43" fmla="*/ 275 h 301"/>
                <a:gd name="T44" fmla="*/ 44 w 1423"/>
                <a:gd name="T45" fmla="*/ 257 h 301"/>
                <a:gd name="T46" fmla="*/ 26 w 1423"/>
                <a:gd name="T47" fmla="*/ 234 h 301"/>
                <a:gd name="T48" fmla="*/ 11 w 1423"/>
                <a:gd name="T49" fmla="*/ 209 h 301"/>
                <a:gd name="T50" fmla="*/ 3 w 1423"/>
                <a:gd name="T51" fmla="*/ 181 h 301"/>
                <a:gd name="T52" fmla="*/ 0 w 1423"/>
                <a:gd name="T53" fmla="*/ 151 h 301"/>
                <a:gd name="T54" fmla="*/ 3 w 1423"/>
                <a:gd name="T55" fmla="*/ 120 h 301"/>
                <a:gd name="T56" fmla="*/ 11 w 1423"/>
                <a:gd name="T57" fmla="*/ 92 h 301"/>
                <a:gd name="T58" fmla="*/ 26 w 1423"/>
                <a:gd name="T59" fmla="*/ 67 h 301"/>
                <a:gd name="T60" fmla="*/ 44 w 1423"/>
                <a:gd name="T61" fmla="*/ 44 h 301"/>
                <a:gd name="T62" fmla="*/ 67 w 1423"/>
                <a:gd name="T63" fmla="*/ 26 h 301"/>
                <a:gd name="T64" fmla="*/ 92 w 1423"/>
                <a:gd name="T65" fmla="*/ 12 h 301"/>
                <a:gd name="T66" fmla="*/ 120 w 1423"/>
                <a:gd name="T67" fmla="*/ 3 h 301"/>
                <a:gd name="T68" fmla="*/ 151 w 1423"/>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3" h="301">
                  <a:moveTo>
                    <a:pt x="151" y="0"/>
                  </a:moveTo>
                  <a:lnTo>
                    <a:pt x="1272" y="0"/>
                  </a:lnTo>
                  <a:lnTo>
                    <a:pt x="1302" y="3"/>
                  </a:lnTo>
                  <a:lnTo>
                    <a:pt x="1331" y="12"/>
                  </a:lnTo>
                  <a:lnTo>
                    <a:pt x="1356" y="26"/>
                  </a:lnTo>
                  <a:lnTo>
                    <a:pt x="1379" y="44"/>
                  </a:lnTo>
                  <a:lnTo>
                    <a:pt x="1397" y="67"/>
                  </a:lnTo>
                  <a:lnTo>
                    <a:pt x="1412" y="92"/>
                  </a:lnTo>
                  <a:lnTo>
                    <a:pt x="1420" y="120"/>
                  </a:lnTo>
                  <a:lnTo>
                    <a:pt x="1423" y="150"/>
                  </a:lnTo>
                  <a:lnTo>
                    <a:pt x="1420" y="180"/>
                  </a:lnTo>
                  <a:lnTo>
                    <a:pt x="1412" y="209"/>
                  </a:lnTo>
                  <a:lnTo>
                    <a:pt x="1397" y="234"/>
                  </a:lnTo>
                  <a:lnTo>
                    <a:pt x="1379" y="257"/>
                  </a:lnTo>
                  <a:lnTo>
                    <a:pt x="1356" y="275"/>
                  </a:lnTo>
                  <a:lnTo>
                    <a:pt x="1331" y="289"/>
                  </a:lnTo>
                  <a:lnTo>
                    <a:pt x="1302" y="298"/>
                  </a:lnTo>
                  <a:lnTo>
                    <a:pt x="1272" y="301"/>
                  </a:lnTo>
                  <a:lnTo>
                    <a:pt x="151" y="301"/>
                  </a:lnTo>
                  <a:lnTo>
                    <a:pt x="120" y="298"/>
                  </a:lnTo>
                  <a:lnTo>
                    <a:pt x="92" y="289"/>
                  </a:lnTo>
                  <a:lnTo>
                    <a:pt x="67" y="275"/>
                  </a:lnTo>
                  <a:lnTo>
                    <a:pt x="44" y="257"/>
                  </a:lnTo>
                  <a:lnTo>
                    <a:pt x="26" y="234"/>
                  </a:lnTo>
                  <a:lnTo>
                    <a:pt x="11" y="209"/>
                  </a:lnTo>
                  <a:lnTo>
                    <a:pt x="3" y="181"/>
                  </a:lnTo>
                  <a:lnTo>
                    <a:pt x="0" y="151"/>
                  </a:lnTo>
                  <a:lnTo>
                    <a:pt x="3" y="120"/>
                  </a:lnTo>
                  <a:lnTo>
                    <a:pt x="11" y="92"/>
                  </a:lnTo>
                  <a:lnTo>
                    <a:pt x="26" y="67"/>
                  </a:lnTo>
                  <a:lnTo>
                    <a:pt x="44" y="44"/>
                  </a:lnTo>
                  <a:lnTo>
                    <a:pt x="67" y="26"/>
                  </a:lnTo>
                  <a:lnTo>
                    <a:pt x="92" y="12"/>
                  </a:lnTo>
                  <a:lnTo>
                    <a:pt x="120" y="3"/>
                  </a:lnTo>
                  <a:lnTo>
                    <a:pt x="151"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5" name="Freeform 21"/>
            <p:cNvSpPr>
              <a:spLocks/>
            </p:cNvSpPr>
            <p:nvPr/>
          </p:nvSpPr>
          <p:spPr bwMode="auto">
            <a:xfrm>
              <a:off x="2247900" y="2886076"/>
              <a:ext cx="68263" cy="42863"/>
            </a:xfrm>
            <a:custGeom>
              <a:avLst/>
              <a:gdLst>
                <a:gd name="T0" fmla="*/ 5 w 467"/>
                <a:gd name="T1" fmla="*/ 0 h 300"/>
                <a:gd name="T2" fmla="*/ 316 w 467"/>
                <a:gd name="T3" fmla="*/ 0 h 300"/>
                <a:gd name="T4" fmla="*/ 346 w 467"/>
                <a:gd name="T5" fmla="*/ 3 h 300"/>
                <a:gd name="T6" fmla="*/ 375 w 467"/>
                <a:gd name="T7" fmla="*/ 11 h 300"/>
                <a:gd name="T8" fmla="*/ 400 w 467"/>
                <a:gd name="T9" fmla="*/ 26 h 300"/>
                <a:gd name="T10" fmla="*/ 423 w 467"/>
                <a:gd name="T11" fmla="*/ 43 h 300"/>
                <a:gd name="T12" fmla="*/ 441 w 467"/>
                <a:gd name="T13" fmla="*/ 66 h 300"/>
                <a:gd name="T14" fmla="*/ 456 w 467"/>
                <a:gd name="T15" fmla="*/ 91 h 300"/>
                <a:gd name="T16" fmla="*/ 464 w 467"/>
                <a:gd name="T17" fmla="*/ 119 h 300"/>
                <a:gd name="T18" fmla="*/ 467 w 467"/>
                <a:gd name="T19" fmla="*/ 150 h 300"/>
                <a:gd name="T20" fmla="*/ 464 w 467"/>
                <a:gd name="T21" fmla="*/ 181 h 300"/>
                <a:gd name="T22" fmla="*/ 456 w 467"/>
                <a:gd name="T23" fmla="*/ 209 h 300"/>
                <a:gd name="T24" fmla="*/ 441 w 467"/>
                <a:gd name="T25" fmla="*/ 235 h 300"/>
                <a:gd name="T26" fmla="*/ 423 w 467"/>
                <a:gd name="T27" fmla="*/ 257 h 300"/>
                <a:gd name="T28" fmla="*/ 400 w 467"/>
                <a:gd name="T29" fmla="*/ 275 h 300"/>
                <a:gd name="T30" fmla="*/ 375 w 467"/>
                <a:gd name="T31" fmla="*/ 289 h 300"/>
                <a:gd name="T32" fmla="*/ 346 w 467"/>
                <a:gd name="T33" fmla="*/ 297 h 300"/>
                <a:gd name="T34" fmla="*/ 316 w 467"/>
                <a:gd name="T35" fmla="*/ 300 h 300"/>
                <a:gd name="T36" fmla="*/ 0 w 467"/>
                <a:gd name="T37" fmla="*/ 300 h 300"/>
                <a:gd name="T38" fmla="*/ 7 w 467"/>
                <a:gd name="T39" fmla="*/ 247 h 300"/>
                <a:gd name="T40" fmla="*/ 11 w 467"/>
                <a:gd name="T41" fmla="*/ 193 h 300"/>
                <a:gd name="T42" fmla="*/ 13 w 467"/>
                <a:gd name="T43" fmla="*/ 138 h 300"/>
                <a:gd name="T44" fmla="*/ 11 w 467"/>
                <a:gd name="T45" fmla="*/ 68 h 300"/>
                <a:gd name="T46" fmla="*/ 5 w 467"/>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7" h="300">
                  <a:moveTo>
                    <a:pt x="5" y="0"/>
                  </a:moveTo>
                  <a:lnTo>
                    <a:pt x="316" y="0"/>
                  </a:lnTo>
                  <a:lnTo>
                    <a:pt x="346" y="3"/>
                  </a:lnTo>
                  <a:lnTo>
                    <a:pt x="375" y="11"/>
                  </a:lnTo>
                  <a:lnTo>
                    <a:pt x="400" y="26"/>
                  </a:lnTo>
                  <a:lnTo>
                    <a:pt x="423" y="43"/>
                  </a:lnTo>
                  <a:lnTo>
                    <a:pt x="441" y="66"/>
                  </a:lnTo>
                  <a:lnTo>
                    <a:pt x="456" y="91"/>
                  </a:lnTo>
                  <a:lnTo>
                    <a:pt x="464" y="119"/>
                  </a:lnTo>
                  <a:lnTo>
                    <a:pt x="467" y="150"/>
                  </a:lnTo>
                  <a:lnTo>
                    <a:pt x="464" y="181"/>
                  </a:lnTo>
                  <a:lnTo>
                    <a:pt x="456" y="209"/>
                  </a:lnTo>
                  <a:lnTo>
                    <a:pt x="441" y="235"/>
                  </a:lnTo>
                  <a:lnTo>
                    <a:pt x="423" y="257"/>
                  </a:lnTo>
                  <a:lnTo>
                    <a:pt x="400" y="275"/>
                  </a:lnTo>
                  <a:lnTo>
                    <a:pt x="375" y="289"/>
                  </a:lnTo>
                  <a:lnTo>
                    <a:pt x="346" y="297"/>
                  </a:lnTo>
                  <a:lnTo>
                    <a:pt x="316" y="300"/>
                  </a:lnTo>
                  <a:lnTo>
                    <a:pt x="0" y="300"/>
                  </a:lnTo>
                  <a:lnTo>
                    <a:pt x="7" y="247"/>
                  </a:lnTo>
                  <a:lnTo>
                    <a:pt x="11" y="193"/>
                  </a:lnTo>
                  <a:lnTo>
                    <a:pt x="13" y="138"/>
                  </a:lnTo>
                  <a:lnTo>
                    <a:pt x="11" y="68"/>
                  </a:lnTo>
                  <a:lnTo>
                    <a:pt x="5"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6" name="Freeform 22"/>
            <p:cNvSpPr>
              <a:spLocks/>
            </p:cNvSpPr>
            <p:nvPr/>
          </p:nvSpPr>
          <p:spPr bwMode="auto">
            <a:xfrm>
              <a:off x="2230438" y="2941638"/>
              <a:ext cx="85725" cy="42863"/>
            </a:xfrm>
            <a:custGeom>
              <a:avLst/>
              <a:gdLst>
                <a:gd name="T0" fmla="*/ 108 w 586"/>
                <a:gd name="T1" fmla="*/ 0 h 301"/>
                <a:gd name="T2" fmla="*/ 435 w 586"/>
                <a:gd name="T3" fmla="*/ 0 h 301"/>
                <a:gd name="T4" fmla="*/ 465 w 586"/>
                <a:gd name="T5" fmla="*/ 3 h 301"/>
                <a:gd name="T6" fmla="*/ 494 w 586"/>
                <a:gd name="T7" fmla="*/ 12 h 301"/>
                <a:gd name="T8" fmla="*/ 519 w 586"/>
                <a:gd name="T9" fmla="*/ 25 h 301"/>
                <a:gd name="T10" fmla="*/ 542 w 586"/>
                <a:gd name="T11" fmla="*/ 44 h 301"/>
                <a:gd name="T12" fmla="*/ 560 w 586"/>
                <a:gd name="T13" fmla="*/ 66 h 301"/>
                <a:gd name="T14" fmla="*/ 575 w 586"/>
                <a:gd name="T15" fmla="*/ 92 h 301"/>
                <a:gd name="T16" fmla="*/ 583 w 586"/>
                <a:gd name="T17" fmla="*/ 120 h 301"/>
                <a:gd name="T18" fmla="*/ 586 w 586"/>
                <a:gd name="T19" fmla="*/ 150 h 301"/>
                <a:gd name="T20" fmla="*/ 583 w 586"/>
                <a:gd name="T21" fmla="*/ 180 h 301"/>
                <a:gd name="T22" fmla="*/ 575 w 586"/>
                <a:gd name="T23" fmla="*/ 209 h 301"/>
                <a:gd name="T24" fmla="*/ 560 w 586"/>
                <a:gd name="T25" fmla="*/ 234 h 301"/>
                <a:gd name="T26" fmla="*/ 542 w 586"/>
                <a:gd name="T27" fmla="*/ 257 h 301"/>
                <a:gd name="T28" fmla="*/ 519 w 586"/>
                <a:gd name="T29" fmla="*/ 275 h 301"/>
                <a:gd name="T30" fmla="*/ 494 w 586"/>
                <a:gd name="T31" fmla="*/ 289 h 301"/>
                <a:gd name="T32" fmla="*/ 465 w 586"/>
                <a:gd name="T33" fmla="*/ 298 h 301"/>
                <a:gd name="T34" fmla="*/ 435 w 586"/>
                <a:gd name="T35" fmla="*/ 301 h 301"/>
                <a:gd name="T36" fmla="*/ 0 w 586"/>
                <a:gd name="T37" fmla="*/ 301 h 301"/>
                <a:gd name="T38" fmla="*/ 35 w 586"/>
                <a:gd name="T39" fmla="*/ 229 h 301"/>
                <a:gd name="T40" fmla="*/ 64 w 586"/>
                <a:gd name="T41" fmla="*/ 155 h 301"/>
                <a:gd name="T42" fmla="*/ 88 w 586"/>
                <a:gd name="T43" fmla="*/ 78 h 301"/>
                <a:gd name="T44" fmla="*/ 108 w 586"/>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6" h="301">
                  <a:moveTo>
                    <a:pt x="108" y="0"/>
                  </a:moveTo>
                  <a:lnTo>
                    <a:pt x="435" y="0"/>
                  </a:lnTo>
                  <a:lnTo>
                    <a:pt x="465" y="3"/>
                  </a:lnTo>
                  <a:lnTo>
                    <a:pt x="494" y="12"/>
                  </a:lnTo>
                  <a:lnTo>
                    <a:pt x="519" y="25"/>
                  </a:lnTo>
                  <a:lnTo>
                    <a:pt x="542" y="44"/>
                  </a:lnTo>
                  <a:lnTo>
                    <a:pt x="560" y="66"/>
                  </a:lnTo>
                  <a:lnTo>
                    <a:pt x="575" y="92"/>
                  </a:lnTo>
                  <a:lnTo>
                    <a:pt x="583" y="120"/>
                  </a:lnTo>
                  <a:lnTo>
                    <a:pt x="586" y="150"/>
                  </a:lnTo>
                  <a:lnTo>
                    <a:pt x="583" y="180"/>
                  </a:lnTo>
                  <a:lnTo>
                    <a:pt x="575" y="209"/>
                  </a:lnTo>
                  <a:lnTo>
                    <a:pt x="560" y="234"/>
                  </a:lnTo>
                  <a:lnTo>
                    <a:pt x="542" y="257"/>
                  </a:lnTo>
                  <a:lnTo>
                    <a:pt x="519" y="275"/>
                  </a:lnTo>
                  <a:lnTo>
                    <a:pt x="494" y="289"/>
                  </a:lnTo>
                  <a:lnTo>
                    <a:pt x="465" y="298"/>
                  </a:lnTo>
                  <a:lnTo>
                    <a:pt x="435" y="301"/>
                  </a:lnTo>
                  <a:lnTo>
                    <a:pt x="0" y="301"/>
                  </a:lnTo>
                  <a:lnTo>
                    <a:pt x="35" y="229"/>
                  </a:lnTo>
                  <a:lnTo>
                    <a:pt x="64" y="155"/>
                  </a:lnTo>
                  <a:lnTo>
                    <a:pt x="88" y="78"/>
                  </a:lnTo>
                  <a:lnTo>
                    <a:pt x="108"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7" name="Freeform 23"/>
            <p:cNvSpPr>
              <a:spLocks/>
            </p:cNvSpPr>
            <p:nvPr/>
          </p:nvSpPr>
          <p:spPr bwMode="auto">
            <a:xfrm>
              <a:off x="2187575" y="2995613"/>
              <a:ext cx="128588" cy="42863"/>
            </a:xfrm>
            <a:custGeom>
              <a:avLst/>
              <a:gdLst>
                <a:gd name="T0" fmla="*/ 257 w 887"/>
                <a:gd name="T1" fmla="*/ 0 h 301"/>
                <a:gd name="T2" fmla="*/ 736 w 887"/>
                <a:gd name="T3" fmla="*/ 0 h 301"/>
                <a:gd name="T4" fmla="*/ 766 w 887"/>
                <a:gd name="T5" fmla="*/ 3 h 301"/>
                <a:gd name="T6" fmla="*/ 795 w 887"/>
                <a:gd name="T7" fmla="*/ 12 h 301"/>
                <a:gd name="T8" fmla="*/ 820 w 887"/>
                <a:gd name="T9" fmla="*/ 26 h 301"/>
                <a:gd name="T10" fmla="*/ 843 w 887"/>
                <a:gd name="T11" fmla="*/ 45 h 301"/>
                <a:gd name="T12" fmla="*/ 861 w 887"/>
                <a:gd name="T13" fmla="*/ 66 h 301"/>
                <a:gd name="T14" fmla="*/ 876 w 887"/>
                <a:gd name="T15" fmla="*/ 91 h 301"/>
                <a:gd name="T16" fmla="*/ 884 w 887"/>
                <a:gd name="T17" fmla="*/ 120 h 301"/>
                <a:gd name="T18" fmla="*/ 887 w 887"/>
                <a:gd name="T19" fmla="*/ 151 h 301"/>
                <a:gd name="T20" fmla="*/ 884 w 887"/>
                <a:gd name="T21" fmla="*/ 181 h 301"/>
                <a:gd name="T22" fmla="*/ 876 w 887"/>
                <a:gd name="T23" fmla="*/ 209 h 301"/>
                <a:gd name="T24" fmla="*/ 861 w 887"/>
                <a:gd name="T25" fmla="*/ 235 h 301"/>
                <a:gd name="T26" fmla="*/ 843 w 887"/>
                <a:gd name="T27" fmla="*/ 257 h 301"/>
                <a:gd name="T28" fmla="*/ 820 w 887"/>
                <a:gd name="T29" fmla="*/ 275 h 301"/>
                <a:gd name="T30" fmla="*/ 795 w 887"/>
                <a:gd name="T31" fmla="*/ 289 h 301"/>
                <a:gd name="T32" fmla="*/ 766 w 887"/>
                <a:gd name="T33" fmla="*/ 298 h 301"/>
                <a:gd name="T34" fmla="*/ 736 w 887"/>
                <a:gd name="T35" fmla="*/ 301 h 301"/>
                <a:gd name="T36" fmla="*/ 0 w 887"/>
                <a:gd name="T37" fmla="*/ 301 h 301"/>
                <a:gd name="T38" fmla="*/ 59 w 887"/>
                <a:gd name="T39" fmla="*/ 247 h 301"/>
                <a:gd name="T40" fmla="*/ 115 w 887"/>
                <a:gd name="T41" fmla="*/ 191 h 301"/>
                <a:gd name="T42" fmla="*/ 166 w 887"/>
                <a:gd name="T43" fmla="*/ 131 h 301"/>
                <a:gd name="T44" fmla="*/ 214 w 887"/>
                <a:gd name="T45" fmla="*/ 67 h 301"/>
                <a:gd name="T46" fmla="*/ 257 w 887"/>
                <a:gd name="T4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7" h="301">
                  <a:moveTo>
                    <a:pt x="257" y="0"/>
                  </a:moveTo>
                  <a:lnTo>
                    <a:pt x="736" y="0"/>
                  </a:lnTo>
                  <a:lnTo>
                    <a:pt x="766" y="3"/>
                  </a:lnTo>
                  <a:lnTo>
                    <a:pt x="795" y="12"/>
                  </a:lnTo>
                  <a:lnTo>
                    <a:pt x="820" y="26"/>
                  </a:lnTo>
                  <a:lnTo>
                    <a:pt x="843" y="45"/>
                  </a:lnTo>
                  <a:lnTo>
                    <a:pt x="861" y="66"/>
                  </a:lnTo>
                  <a:lnTo>
                    <a:pt x="876" y="91"/>
                  </a:lnTo>
                  <a:lnTo>
                    <a:pt x="884" y="120"/>
                  </a:lnTo>
                  <a:lnTo>
                    <a:pt x="887" y="151"/>
                  </a:lnTo>
                  <a:lnTo>
                    <a:pt x="884" y="181"/>
                  </a:lnTo>
                  <a:lnTo>
                    <a:pt x="876" y="209"/>
                  </a:lnTo>
                  <a:lnTo>
                    <a:pt x="861" y="235"/>
                  </a:lnTo>
                  <a:lnTo>
                    <a:pt x="843" y="257"/>
                  </a:lnTo>
                  <a:lnTo>
                    <a:pt x="820" y="275"/>
                  </a:lnTo>
                  <a:lnTo>
                    <a:pt x="795" y="289"/>
                  </a:lnTo>
                  <a:lnTo>
                    <a:pt x="766" y="298"/>
                  </a:lnTo>
                  <a:lnTo>
                    <a:pt x="736" y="301"/>
                  </a:lnTo>
                  <a:lnTo>
                    <a:pt x="0" y="301"/>
                  </a:lnTo>
                  <a:lnTo>
                    <a:pt x="59" y="247"/>
                  </a:lnTo>
                  <a:lnTo>
                    <a:pt x="115" y="191"/>
                  </a:lnTo>
                  <a:lnTo>
                    <a:pt x="166" y="131"/>
                  </a:lnTo>
                  <a:lnTo>
                    <a:pt x="214" y="67"/>
                  </a:lnTo>
                  <a:lnTo>
                    <a:pt x="257"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8" name="Freeform 24"/>
            <p:cNvSpPr>
              <a:spLocks/>
            </p:cNvSpPr>
            <p:nvPr/>
          </p:nvSpPr>
          <p:spPr bwMode="auto">
            <a:xfrm>
              <a:off x="1835150" y="2882901"/>
              <a:ext cx="66675" cy="42863"/>
            </a:xfrm>
            <a:custGeom>
              <a:avLst/>
              <a:gdLst>
                <a:gd name="T0" fmla="*/ 152 w 467"/>
                <a:gd name="T1" fmla="*/ 0 h 300"/>
                <a:gd name="T2" fmla="*/ 467 w 467"/>
                <a:gd name="T3" fmla="*/ 0 h 300"/>
                <a:gd name="T4" fmla="*/ 461 w 467"/>
                <a:gd name="T5" fmla="*/ 54 h 300"/>
                <a:gd name="T6" fmla="*/ 456 w 467"/>
                <a:gd name="T7" fmla="*/ 108 h 300"/>
                <a:gd name="T8" fmla="*/ 454 w 467"/>
                <a:gd name="T9" fmla="*/ 163 h 300"/>
                <a:gd name="T10" fmla="*/ 456 w 467"/>
                <a:gd name="T11" fmla="*/ 232 h 300"/>
                <a:gd name="T12" fmla="*/ 463 w 467"/>
                <a:gd name="T13" fmla="*/ 300 h 300"/>
                <a:gd name="T14" fmla="*/ 152 w 467"/>
                <a:gd name="T15" fmla="*/ 300 h 300"/>
                <a:gd name="T16" fmla="*/ 121 w 467"/>
                <a:gd name="T17" fmla="*/ 297 h 300"/>
                <a:gd name="T18" fmla="*/ 93 w 467"/>
                <a:gd name="T19" fmla="*/ 289 h 300"/>
                <a:gd name="T20" fmla="*/ 67 w 467"/>
                <a:gd name="T21" fmla="*/ 275 h 300"/>
                <a:gd name="T22" fmla="*/ 45 w 467"/>
                <a:gd name="T23" fmla="*/ 257 h 300"/>
                <a:gd name="T24" fmla="*/ 26 w 467"/>
                <a:gd name="T25" fmla="*/ 234 h 300"/>
                <a:gd name="T26" fmla="*/ 13 w 467"/>
                <a:gd name="T27" fmla="*/ 209 h 300"/>
                <a:gd name="T28" fmla="*/ 3 w 467"/>
                <a:gd name="T29" fmla="*/ 181 h 300"/>
                <a:gd name="T30" fmla="*/ 0 w 467"/>
                <a:gd name="T31" fmla="*/ 149 h 300"/>
                <a:gd name="T32" fmla="*/ 3 w 467"/>
                <a:gd name="T33" fmla="*/ 119 h 300"/>
                <a:gd name="T34" fmla="*/ 13 w 467"/>
                <a:gd name="T35" fmla="*/ 91 h 300"/>
                <a:gd name="T36" fmla="*/ 26 w 467"/>
                <a:gd name="T37" fmla="*/ 66 h 300"/>
                <a:gd name="T38" fmla="*/ 45 w 467"/>
                <a:gd name="T39" fmla="*/ 43 h 300"/>
                <a:gd name="T40" fmla="*/ 67 w 467"/>
                <a:gd name="T41" fmla="*/ 26 h 300"/>
                <a:gd name="T42" fmla="*/ 93 w 467"/>
                <a:gd name="T43" fmla="*/ 11 h 300"/>
                <a:gd name="T44" fmla="*/ 121 w 467"/>
                <a:gd name="T45" fmla="*/ 3 h 300"/>
                <a:gd name="T46" fmla="*/ 152 w 467"/>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7" h="300">
                  <a:moveTo>
                    <a:pt x="152" y="0"/>
                  </a:moveTo>
                  <a:lnTo>
                    <a:pt x="467" y="0"/>
                  </a:lnTo>
                  <a:lnTo>
                    <a:pt x="461" y="54"/>
                  </a:lnTo>
                  <a:lnTo>
                    <a:pt x="456" y="108"/>
                  </a:lnTo>
                  <a:lnTo>
                    <a:pt x="454" y="163"/>
                  </a:lnTo>
                  <a:lnTo>
                    <a:pt x="456" y="232"/>
                  </a:lnTo>
                  <a:lnTo>
                    <a:pt x="463" y="300"/>
                  </a:lnTo>
                  <a:lnTo>
                    <a:pt x="152" y="300"/>
                  </a:lnTo>
                  <a:lnTo>
                    <a:pt x="121" y="297"/>
                  </a:lnTo>
                  <a:lnTo>
                    <a:pt x="93" y="289"/>
                  </a:lnTo>
                  <a:lnTo>
                    <a:pt x="67" y="275"/>
                  </a:lnTo>
                  <a:lnTo>
                    <a:pt x="45" y="257"/>
                  </a:lnTo>
                  <a:lnTo>
                    <a:pt x="26" y="234"/>
                  </a:lnTo>
                  <a:lnTo>
                    <a:pt x="13" y="209"/>
                  </a:lnTo>
                  <a:lnTo>
                    <a:pt x="3" y="181"/>
                  </a:lnTo>
                  <a:lnTo>
                    <a:pt x="0" y="149"/>
                  </a:lnTo>
                  <a:lnTo>
                    <a:pt x="3" y="119"/>
                  </a:lnTo>
                  <a:lnTo>
                    <a:pt x="13" y="91"/>
                  </a:lnTo>
                  <a:lnTo>
                    <a:pt x="26" y="66"/>
                  </a:lnTo>
                  <a:lnTo>
                    <a:pt x="45" y="43"/>
                  </a:lnTo>
                  <a:lnTo>
                    <a:pt x="67" y="26"/>
                  </a:lnTo>
                  <a:lnTo>
                    <a:pt x="93" y="11"/>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39" name="Freeform 25"/>
            <p:cNvSpPr>
              <a:spLocks/>
            </p:cNvSpPr>
            <p:nvPr/>
          </p:nvSpPr>
          <p:spPr bwMode="auto">
            <a:xfrm>
              <a:off x="1835150" y="2936876"/>
              <a:ext cx="82550" cy="44450"/>
            </a:xfrm>
            <a:custGeom>
              <a:avLst/>
              <a:gdLst>
                <a:gd name="T0" fmla="*/ 152 w 574"/>
                <a:gd name="T1" fmla="*/ 0 h 301"/>
                <a:gd name="T2" fmla="*/ 475 w 574"/>
                <a:gd name="T3" fmla="*/ 0 h 301"/>
                <a:gd name="T4" fmla="*/ 492 w 574"/>
                <a:gd name="T5" fmla="*/ 78 h 301"/>
                <a:gd name="T6" fmla="*/ 515 w 574"/>
                <a:gd name="T7" fmla="*/ 154 h 301"/>
                <a:gd name="T8" fmla="*/ 542 w 574"/>
                <a:gd name="T9" fmla="*/ 229 h 301"/>
                <a:gd name="T10" fmla="*/ 574 w 574"/>
                <a:gd name="T11" fmla="*/ 301 h 301"/>
                <a:gd name="T12" fmla="*/ 152 w 574"/>
                <a:gd name="T13" fmla="*/ 301 h 301"/>
                <a:gd name="T14" fmla="*/ 121 w 574"/>
                <a:gd name="T15" fmla="*/ 298 h 301"/>
                <a:gd name="T16" fmla="*/ 93 w 574"/>
                <a:gd name="T17" fmla="*/ 288 h 301"/>
                <a:gd name="T18" fmla="*/ 67 w 574"/>
                <a:gd name="T19" fmla="*/ 275 h 301"/>
                <a:gd name="T20" fmla="*/ 45 w 574"/>
                <a:gd name="T21" fmla="*/ 256 h 301"/>
                <a:gd name="T22" fmla="*/ 26 w 574"/>
                <a:gd name="T23" fmla="*/ 234 h 301"/>
                <a:gd name="T24" fmla="*/ 13 w 574"/>
                <a:gd name="T25" fmla="*/ 208 h 301"/>
                <a:gd name="T26" fmla="*/ 3 w 574"/>
                <a:gd name="T27" fmla="*/ 180 h 301"/>
                <a:gd name="T28" fmla="*/ 0 w 574"/>
                <a:gd name="T29" fmla="*/ 150 h 301"/>
                <a:gd name="T30" fmla="*/ 3 w 574"/>
                <a:gd name="T31" fmla="*/ 120 h 301"/>
                <a:gd name="T32" fmla="*/ 13 w 574"/>
                <a:gd name="T33" fmla="*/ 92 h 301"/>
                <a:gd name="T34" fmla="*/ 26 w 574"/>
                <a:gd name="T35" fmla="*/ 66 h 301"/>
                <a:gd name="T36" fmla="*/ 45 w 574"/>
                <a:gd name="T37" fmla="*/ 44 h 301"/>
                <a:gd name="T38" fmla="*/ 67 w 574"/>
                <a:gd name="T39" fmla="*/ 25 h 301"/>
                <a:gd name="T40" fmla="*/ 93 w 574"/>
                <a:gd name="T41" fmla="*/ 12 h 301"/>
                <a:gd name="T42" fmla="*/ 121 w 574"/>
                <a:gd name="T43" fmla="*/ 3 h 301"/>
                <a:gd name="T44" fmla="*/ 152 w 574"/>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4" h="301">
                  <a:moveTo>
                    <a:pt x="152" y="0"/>
                  </a:moveTo>
                  <a:lnTo>
                    <a:pt x="475" y="0"/>
                  </a:lnTo>
                  <a:lnTo>
                    <a:pt x="492" y="78"/>
                  </a:lnTo>
                  <a:lnTo>
                    <a:pt x="515" y="154"/>
                  </a:lnTo>
                  <a:lnTo>
                    <a:pt x="542" y="229"/>
                  </a:lnTo>
                  <a:lnTo>
                    <a:pt x="574" y="301"/>
                  </a:lnTo>
                  <a:lnTo>
                    <a:pt x="152" y="301"/>
                  </a:lnTo>
                  <a:lnTo>
                    <a:pt x="121" y="298"/>
                  </a:lnTo>
                  <a:lnTo>
                    <a:pt x="93" y="288"/>
                  </a:lnTo>
                  <a:lnTo>
                    <a:pt x="67" y="275"/>
                  </a:lnTo>
                  <a:lnTo>
                    <a:pt x="45" y="256"/>
                  </a:lnTo>
                  <a:lnTo>
                    <a:pt x="26" y="234"/>
                  </a:lnTo>
                  <a:lnTo>
                    <a:pt x="13" y="208"/>
                  </a:lnTo>
                  <a:lnTo>
                    <a:pt x="3" y="180"/>
                  </a:lnTo>
                  <a:lnTo>
                    <a:pt x="0" y="150"/>
                  </a:lnTo>
                  <a:lnTo>
                    <a:pt x="3" y="120"/>
                  </a:lnTo>
                  <a:lnTo>
                    <a:pt x="13" y="92"/>
                  </a:lnTo>
                  <a:lnTo>
                    <a:pt x="26" y="66"/>
                  </a:lnTo>
                  <a:lnTo>
                    <a:pt x="45" y="44"/>
                  </a:lnTo>
                  <a:lnTo>
                    <a:pt x="67" y="25"/>
                  </a:lnTo>
                  <a:lnTo>
                    <a:pt x="93" y="12"/>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0" name="Freeform 26"/>
            <p:cNvSpPr>
              <a:spLocks/>
            </p:cNvSpPr>
            <p:nvPr/>
          </p:nvSpPr>
          <p:spPr bwMode="auto">
            <a:xfrm>
              <a:off x="1835150" y="2827338"/>
              <a:ext cx="84138" cy="44450"/>
            </a:xfrm>
            <a:custGeom>
              <a:avLst/>
              <a:gdLst>
                <a:gd name="T0" fmla="*/ 152 w 586"/>
                <a:gd name="T1" fmla="*/ 0 h 302"/>
                <a:gd name="T2" fmla="*/ 586 w 586"/>
                <a:gd name="T3" fmla="*/ 0 h 302"/>
                <a:gd name="T4" fmla="*/ 552 w 586"/>
                <a:gd name="T5" fmla="*/ 72 h 302"/>
                <a:gd name="T6" fmla="*/ 522 w 586"/>
                <a:gd name="T7" fmla="*/ 147 h 302"/>
                <a:gd name="T8" fmla="*/ 498 w 586"/>
                <a:gd name="T9" fmla="*/ 223 h 302"/>
                <a:gd name="T10" fmla="*/ 479 w 586"/>
                <a:gd name="T11" fmla="*/ 302 h 302"/>
                <a:gd name="T12" fmla="*/ 152 w 586"/>
                <a:gd name="T13" fmla="*/ 302 h 302"/>
                <a:gd name="T14" fmla="*/ 121 w 586"/>
                <a:gd name="T15" fmla="*/ 299 h 302"/>
                <a:gd name="T16" fmla="*/ 93 w 586"/>
                <a:gd name="T17" fmla="*/ 289 h 302"/>
                <a:gd name="T18" fmla="*/ 67 w 586"/>
                <a:gd name="T19" fmla="*/ 276 h 302"/>
                <a:gd name="T20" fmla="*/ 45 w 586"/>
                <a:gd name="T21" fmla="*/ 257 h 302"/>
                <a:gd name="T22" fmla="*/ 26 w 586"/>
                <a:gd name="T23" fmla="*/ 235 h 302"/>
                <a:gd name="T24" fmla="*/ 13 w 586"/>
                <a:gd name="T25" fmla="*/ 209 h 302"/>
                <a:gd name="T26" fmla="*/ 3 w 586"/>
                <a:gd name="T27" fmla="*/ 181 h 302"/>
                <a:gd name="T28" fmla="*/ 0 w 586"/>
                <a:gd name="T29" fmla="*/ 151 h 302"/>
                <a:gd name="T30" fmla="*/ 3 w 586"/>
                <a:gd name="T31" fmla="*/ 121 h 302"/>
                <a:gd name="T32" fmla="*/ 13 w 586"/>
                <a:gd name="T33" fmla="*/ 93 h 302"/>
                <a:gd name="T34" fmla="*/ 26 w 586"/>
                <a:gd name="T35" fmla="*/ 67 h 302"/>
                <a:gd name="T36" fmla="*/ 45 w 586"/>
                <a:gd name="T37" fmla="*/ 45 h 302"/>
                <a:gd name="T38" fmla="*/ 67 w 586"/>
                <a:gd name="T39" fmla="*/ 26 h 302"/>
                <a:gd name="T40" fmla="*/ 93 w 586"/>
                <a:gd name="T41" fmla="*/ 13 h 302"/>
                <a:gd name="T42" fmla="*/ 121 w 586"/>
                <a:gd name="T43" fmla="*/ 3 h 302"/>
                <a:gd name="T44" fmla="*/ 152 w 586"/>
                <a:gd name="T4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6" h="302">
                  <a:moveTo>
                    <a:pt x="152" y="0"/>
                  </a:moveTo>
                  <a:lnTo>
                    <a:pt x="586" y="0"/>
                  </a:lnTo>
                  <a:lnTo>
                    <a:pt x="552" y="72"/>
                  </a:lnTo>
                  <a:lnTo>
                    <a:pt x="522" y="147"/>
                  </a:lnTo>
                  <a:lnTo>
                    <a:pt x="498" y="223"/>
                  </a:lnTo>
                  <a:lnTo>
                    <a:pt x="479" y="302"/>
                  </a:lnTo>
                  <a:lnTo>
                    <a:pt x="152" y="302"/>
                  </a:lnTo>
                  <a:lnTo>
                    <a:pt x="121" y="299"/>
                  </a:lnTo>
                  <a:lnTo>
                    <a:pt x="93" y="289"/>
                  </a:lnTo>
                  <a:lnTo>
                    <a:pt x="67" y="276"/>
                  </a:lnTo>
                  <a:lnTo>
                    <a:pt x="45" y="257"/>
                  </a:lnTo>
                  <a:lnTo>
                    <a:pt x="26" y="235"/>
                  </a:lnTo>
                  <a:lnTo>
                    <a:pt x="13" y="209"/>
                  </a:lnTo>
                  <a:lnTo>
                    <a:pt x="3" y="181"/>
                  </a:lnTo>
                  <a:lnTo>
                    <a:pt x="0" y="151"/>
                  </a:lnTo>
                  <a:lnTo>
                    <a:pt x="3" y="121"/>
                  </a:lnTo>
                  <a:lnTo>
                    <a:pt x="13" y="93"/>
                  </a:lnTo>
                  <a:lnTo>
                    <a:pt x="26" y="67"/>
                  </a:lnTo>
                  <a:lnTo>
                    <a:pt x="45" y="45"/>
                  </a:lnTo>
                  <a:lnTo>
                    <a:pt x="67" y="26"/>
                  </a:lnTo>
                  <a:lnTo>
                    <a:pt x="93" y="13"/>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1" name="Freeform 27"/>
            <p:cNvSpPr>
              <a:spLocks/>
            </p:cNvSpPr>
            <p:nvPr/>
          </p:nvSpPr>
          <p:spPr bwMode="auto">
            <a:xfrm>
              <a:off x="1835150" y="2773363"/>
              <a:ext cx="128588" cy="42863"/>
            </a:xfrm>
            <a:custGeom>
              <a:avLst/>
              <a:gdLst>
                <a:gd name="T0" fmla="*/ 152 w 888"/>
                <a:gd name="T1" fmla="*/ 0 h 300"/>
                <a:gd name="T2" fmla="*/ 888 w 888"/>
                <a:gd name="T3" fmla="*/ 0 h 300"/>
                <a:gd name="T4" fmla="*/ 829 w 888"/>
                <a:gd name="T5" fmla="*/ 53 h 300"/>
                <a:gd name="T6" fmla="*/ 774 w 888"/>
                <a:gd name="T7" fmla="*/ 110 h 300"/>
                <a:gd name="T8" fmla="*/ 721 w 888"/>
                <a:gd name="T9" fmla="*/ 170 h 300"/>
                <a:gd name="T10" fmla="*/ 674 w 888"/>
                <a:gd name="T11" fmla="*/ 234 h 300"/>
                <a:gd name="T12" fmla="*/ 630 w 888"/>
                <a:gd name="T13" fmla="*/ 300 h 300"/>
                <a:gd name="T14" fmla="*/ 152 w 888"/>
                <a:gd name="T15" fmla="*/ 300 h 300"/>
                <a:gd name="T16" fmla="*/ 121 w 888"/>
                <a:gd name="T17" fmla="*/ 297 h 300"/>
                <a:gd name="T18" fmla="*/ 93 w 888"/>
                <a:gd name="T19" fmla="*/ 289 h 300"/>
                <a:gd name="T20" fmla="*/ 67 w 888"/>
                <a:gd name="T21" fmla="*/ 274 h 300"/>
                <a:gd name="T22" fmla="*/ 45 w 888"/>
                <a:gd name="T23" fmla="*/ 256 h 300"/>
                <a:gd name="T24" fmla="*/ 26 w 888"/>
                <a:gd name="T25" fmla="*/ 234 h 300"/>
                <a:gd name="T26" fmla="*/ 13 w 888"/>
                <a:gd name="T27" fmla="*/ 209 h 300"/>
                <a:gd name="T28" fmla="*/ 3 w 888"/>
                <a:gd name="T29" fmla="*/ 179 h 300"/>
                <a:gd name="T30" fmla="*/ 0 w 888"/>
                <a:gd name="T31" fmla="*/ 149 h 300"/>
                <a:gd name="T32" fmla="*/ 3 w 888"/>
                <a:gd name="T33" fmla="*/ 119 h 300"/>
                <a:gd name="T34" fmla="*/ 13 w 888"/>
                <a:gd name="T35" fmla="*/ 91 h 300"/>
                <a:gd name="T36" fmla="*/ 26 w 888"/>
                <a:gd name="T37" fmla="*/ 66 h 300"/>
                <a:gd name="T38" fmla="*/ 45 w 888"/>
                <a:gd name="T39" fmla="*/ 43 h 300"/>
                <a:gd name="T40" fmla="*/ 67 w 888"/>
                <a:gd name="T41" fmla="*/ 26 h 300"/>
                <a:gd name="T42" fmla="*/ 93 w 888"/>
                <a:gd name="T43" fmla="*/ 11 h 300"/>
                <a:gd name="T44" fmla="*/ 121 w 888"/>
                <a:gd name="T45" fmla="*/ 3 h 300"/>
                <a:gd name="T46" fmla="*/ 152 w 888"/>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8" h="300">
                  <a:moveTo>
                    <a:pt x="152" y="0"/>
                  </a:moveTo>
                  <a:lnTo>
                    <a:pt x="888" y="0"/>
                  </a:lnTo>
                  <a:lnTo>
                    <a:pt x="829" y="53"/>
                  </a:lnTo>
                  <a:lnTo>
                    <a:pt x="774" y="110"/>
                  </a:lnTo>
                  <a:lnTo>
                    <a:pt x="721" y="170"/>
                  </a:lnTo>
                  <a:lnTo>
                    <a:pt x="674" y="234"/>
                  </a:lnTo>
                  <a:lnTo>
                    <a:pt x="630" y="300"/>
                  </a:lnTo>
                  <a:lnTo>
                    <a:pt x="152" y="300"/>
                  </a:lnTo>
                  <a:lnTo>
                    <a:pt x="121" y="297"/>
                  </a:lnTo>
                  <a:lnTo>
                    <a:pt x="93" y="289"/>
                  </a:lnTo>
                  <a:lnTo>
                    <a:pt x="67" y="274"/>
                  </a:lnTo>
                  <a:lnTo>
                    <a:pt x="45" y="256"/>
                  </a:lnTo>
                  <a:lnTo>
                    <a:pt x="26" y="234"/>
                  </a:lnTo>
                  <a:lnTo>
                    <a:pt x="13" y="209"/>
                  </a:lnTo>
                  <a:lnTo>
                    <a:pt x="3" y="179"/>
                  </a:lnTo>
                  <a:lnTo>
                    <a:pt x="0" y="149"/>
                  </a:lnTo>
                  <a:lnTo>
                    <a:pt x="3" y="119"/>
                  </a:lnTo>
                  <a:lnTo>
                    <a:pt x="13" y="91"/>
                  </a:lnTo>
                  <a:lnTo>
                    <a:pt x="26" y="66"/>
                  </a:lnTo>
                  <a:lnTo>
                    <a:pt x="45" y="43"/>
                  </a:lnTo>
                  <a:lnTo>
                    <a:pt x="67" y="26"/>
                  </a:lnTo>
                  <a:lnTo>
                    <a:pt x="93" y="11"/>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2" name="Freeform 28"/>
            <p:cNvSpPr>
              <a:spLocks/>
            </p:cNvSpPr>
            <p:nvPr/>
          </p:nvSpPr>
          <p:spPr bwMode="auto">
            <a:xfrm>
              <a:off x="1835150" y="2992438"/>
              <a:ext cx="123825" cy="42863"/>
            </a:xfrm>
            <a:custGeom>
              <a:avLst/>
              <a:gdLst>
                <a:gd name="T0" fmla="*/ 152 w 861"/>
                <a:gd name="T1" fmla="*/ 0 h 300"/>
                <a:gd name="T2" fmla="*/ 615 w 861"/>
                <a:gd name="T3" fmla="*/ 0 h 300"/>
                <a:gd name="T4" fmla="*/ 655 w 861"/>
                <a:gd name="T5" fmla="*/ 66 h 300"/>
                <a:gd name="T6" fmla="*/ 701 w 861"/>
                <a:gd name="T7" fmla="*/ 130 h 300"/>
                <a:gd name="T8" fmla="*/ 751 w 861"/>
                <a:gd name="T9" fmla="*/ 190 h 300"/>
                <a:gd name="T10" fmla="*/ 804 w 861"/>
                <a:gd name="T11" fmla="*/ 247 h 300"/>
                <a:gd name="T12" fmla="*/ 861 w 861"/>
                <a:gd name="T13" fmla="*/ 300 h 300"/>
                <a:gd name="T14" fmla="*/ 152 w 861"/>
                <a:gd name="T15" fmla="*/ 300 h 300"/>
                <a:gd name="T16" fmla="*/ 121 w 861"/>
                <a:gd name="T17" fmla="*/ 297 h 300"/>
                <a:gd name="T18" fmla="*/ 93 w 861"/>
                <a:gd name="T19" fmla="*/ 289 h 300"/>
                <a:gd name="T20" fmla="*/ 67 w 861"/>
                <a:gd name="T21" fmla="*/ 275 h 300"/>
                <a:gd name="T22" fmla="*/ 45 w 861"/>
                <a:gd name="T23" fmla="*/ 257 h 300"/>
                <a:gd name="T24" fmla="*/ 26 w 861"/>
                <a:gd name="T25" fmla="*/ 235 h 300"/>
                <a:gd name="T26" fmla="*/ 13 w 861"/>
                <a:gd name="T27" fmla="*/ 209 h 300"/>
                <a:gd name="T28" fmla="*/ 3 w 861"/>
                <a:gd name="T29" fmla="*/ 181 h 300"/>
                <a:gd name="T30" fmla="*/ 0 w 861"/>
                <a:gd name="T31" fmla="*/ 151 h 300"/>
                <a:gd name="T32" fmla="*/ 3 w 861"/>
                <a:gd name="T33" fmla="*/ 119 h 300"/>
                <a:gd name="T34" fmla="*/ 13 w 861"/>
                <a:gd name="T35" fmla="*/ 91 h 300"/>
                <a:gd name="T36" fmla="*/ 26 w 861"/>
                <a:gd name="T37" fmla="*/ 66 h 300"/>
                <a:gd name="T38" fmla="*/ 45 w 861"/>
                <a:gd name="T39" fmla="*/ 44 h 300"/>
                <a:gd name="T40" fmla="*/ 67 w 861"/>
                <a:gd name="T41" fmla="*/ 26 h 300"/>
                <a:gd name="T42" fmla="*/ 93 w 861"/>
                <a:gd name="T43" fmla="*/ 11 h 300"/>
                <a:gd name="T44" fmla="*/ 121 w 861"/>
                <a:gd name="T45" fmla="*/ 3 h 300"/>
                <a:gd name="T46" fmla="*/ 152 w 861"/>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1" h="300">
                  <a:moveTo>
                    <a:pt x="152" y="0"/>
                  </a:moveTo>
                  <a:lnTo>
                    <a:pt x="615" y="0"/>
                  </a:lnTo>
                  <a:lnTo>
                    <a:pt x="655" y="66"/>
                  </a:lnTo>
                  <a:lnTo>
                    <a:pt x="701" y="130"/>
                  </a:lnTo>
                  <a:lnTo>
                    <a:pt x="751" y="190"/>
                  </a:lnTo>
                  <a:lnTo>
                    <a:pt x="804" y="247"/>
                  </a:lnTo>
                  <a:lnTo>
                    <a:pt x="861" y="300"/>
                  </a:lnTo>
                  <a:lnTo>
                    <a:pt x="152" y="300"/>
                  </a:lnTo>
                  <a:lnTo>
                    <a:pt x="121" y="297"/>
                  </a:lnTo>
                  <a:lnTo>
                    <a:pt x="93" y="289"/>
                  </a:lnTo>
                  <a:lnTo>
                    <a:pt x="67" y="275"/>
                  </a:lnTo>
                  <a:lnTo>
                    <a:pt x="45" y="257"/>
                  </a:lnTo>
                  <a:lnTo>
                    <a:pt x="26" y="235"/>
                  </a:lnTo>
                  <a:lnTo>
                    <a:pt x="13" y="209"/>
                  </a:lnTo>
                  <a:lnTo>
                    <a:pt x="3" y="181"/>
                  </a:lnTo>
                  <a:lnTo>
                    <a:pt x="0" y="151"/>
                  </a:lnTo>
                  <a:lnTo>
                    <a:pt x="3" y="119"/>
                  </a:lnTo>
                  <a:lnTo>
                    <a:pt x="13" y="91"/>
                  </a:lnTo>
                  <a:lnTo>
                    <a:pt x="26" y="66"/>
                  </a:lnTo>
                  <a:lnTo>
                    <a:pt x="45" y="44"/>
                  </a:lnTo>
                  <a:lnTo>
                    <a:pt x="67" y="26"/>
                  </a:lnTo>
                  <a:lnTo>
                    <a:pt x="93" y="11"/>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3" name="Freeform 29"/>
            <p:cNvSpPr>
              <a:spLocks/>
            </p:cNvSpPr>
            <p:nvPr/>
          </p:nvSpPr>
          <p:spPr bwMode="auto">
            <a:xfrm>
              <a:off x="1835150" y="3046413"/>
              <a:ext cx="203200" cy="44450"/>
            </a:xfrm>
            <a:custGeom>
              <a:avLst/>
              <a:gdLst>
                <a:gd name="T0" fmla="*/ 152 w 1414"/>
                <a:gd name="T1" fmla="*/ 0 h 301"/>
                <a:gd name="T2" fmla="*/ 958 w 1414"/>
                <a:gd name="T3" fmla="*/ 0 h 301"/>
                <a:gd name="T4" fmla="*/ 1027 w 1414"/>
                <a:gd name="T5" fmla="*/ 46 h 301"/>
                <a:gd name="T6" fmla="*/ 1099 w 1414"/>
                <a:gd name="T7" fmla="*/ 88 h 301"/>
                <a:gd name="T8" fmla="*/ 1174 w 1414"/>
                <a:gd name="T9" fmla="*/ 124 h 301"/>
                <a:gd name="T10" fmla="*/ 1251 w 1414"/>
                <a:gd name="T11" fmla="*/ 155 h 301"/>
                <a:gd name="T12" fmla="*/ 1332 w 1414"/>
                <a:gd name="T13" fmla="*/ 181 h 301"/>
                <a:gd name="T14" fmla="*/ 1414 w 1414"/>
                <a:gd name="T15" fmla="*/ 202 h 301"/>
                <a:gd name="T16" fmla="*/ 1403 w 1414"/>
                <a:gd name="T17" fmla="*/ 226 h 301"/>
                <a:gd name="T18" fmla="*/ 1388 w 1414"/>
                <a:gd name="T19" fmla="*/ 247 h 301"/>
                <a:gd name="T20" fmla="*/ 1370 w 1414"/>
                <a:gd name="T21" fmla="*/ 266 h 301"/>
                <a:gd name="T22" fmla="*/ 1349 w 1414"/>
                <a:gd name="T23" fmla="*/ 280 h 301"/>
                <a:gd name="T24" fmla="*/ 1325 w 1414"/>
                <a:gd name="T25" fmla="*/ 292 h 301"/>
                <a:gd name="T26" fmla="*/ 1300 w 1414"/>
                <a:gd name="T27" fmla="*/ 299 h 301"/>
                <a:gd name="T28" fmla="*/ 1273 w 1414"/>
                <a:gd name="T29" fmla="*/ 301 h 301"/>
                <a:gd name="T30" fmla="*/ 152 w 1414"/>
                <a:gd name="T31" fmla="*/ 301 h 301"/>
                <a:gd name="T32" fmla="*/ 121 w 1414"/>
                <a:gd name="T33" fmla="*/ 298 h 301"/>
                <a:gd name="T34" fmla="*/ 93 w 1414"/>
                <a:gd name="T35" fmla="*/ 290 h 301"/>
                <a:gd name="T36" fmla="*/ 67 w 1414"/>
                <a:gd name="T37" fmla="*/ 275 h 301"/>
                <a:gd name="T38" fmla="*/ 45 w 1414"/>
                <a:gd name="T39" fmla="*/ 257 h 301"/>
                <a:gd name="T40" fmla="*/ 26 w 1414"/>
                <a:gd name="T41" fmla="*/ 234 h 301"/>
                <a:gd name="T42" fmla="*/ 13 w 1414"/>
                <a:gd name="T43" fmla="*/ 210 h 301"/>
                <a:gd name="T44" fmla="*/ 3 w 1414"/>
                <a:gd name="T45" fmla="*/ 180 h 301"/>
                <a:gd name="T46" fmla="*/ 0 w 1414"/>
                <a:gd name="T47" fmla="*/ 150 h 301"/>
                <a:gd name="T48" fmla="*/ 3 w 1414"/>
                <a:gd name="T49" fmla="*/ 120 h 301"/>
                <a:gd name="T50" fmla="*/ 13 w 1414"/>
                <a:gd name="T51" fmla="*/ 92 h 301"/>
                <a:gd name="T52" fmla="*/ 26 w 1414"/>
                <a:gd name="T53" fmla="*/ 66 h 301"/>
                <a:gd name="T54" fmla="*/ 45 w 1414"/>
                <a:gd name="T55" fmla="*/ 44 h 301"/>
                <a:gd name="T56" fmla="*/ 67 w 1414"/>
                <a:gd name="T57" fmla="*/ 25 h 301"/>
                <a:gd name="T58" fmla="*/ 93 w 1414"/>
                <a:gd name="T59" fmla="*/ 12 h 301"/>
                <a:gd name="T60" fmla="*/ 121 w 1414"/>
                <a:gd name="T61" fmla="*/ 4 h 301"/>
                <a:gd name="T62" fmla="*/ 152 w 1414"/>
                <a:gd name="T6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4" h="301">
                  <a:moveTo>
                    <a:pt x="152" y="0"/>
                  </a:moveTo>
                  <a:lnTo>
                    <a:pt x="958" y="0"/>
                  </a:lnTo>
                  <a:lnTo>
                    <a:pt x="1027" y="46"/>
                  </a:lnTo>
                  <a:lnTo>
                    <a:pt x="1099" y="88"/>
                  </a:lnTo>
                  <a:lnTo>
                    <a:pt x="1174" y="124"/>
                  </a:lnTo>
                  <a:lnTo>
                    <a:pt x="1251" y="155"/>
                  </a:lnTo>
                  <a:lnTo>
                    <a:pt x="1332" y="181"/>
                  </a:lnTo>
                  <a:lnTo>
                    <a:pt x="1414" y="202"/>
                  </a:lnTo>
                  <a:lnTo>
                    <a:pt x="1403" y="226"/>
                  </a:lnTo>
                  <a:lnTo>
                    <a:pt x="1388" y="247"/>
                  </a:lnTo>
                  <a:lnTo>
                    <a:pt x="1370" y="266"/>
                  </a:lnTo>
                  <a:lnTo>
                    <a:pt x="1349" y="280"/>
                  </a:lnTo>
                  <a:lnTo>
                    <a:pt x="1325" y="292"/>
                  </a:lnTo>
                  <a:lnTo>
                    <a:pt x="1300" y="299"/>
                  </a:lnTo>
                  <a:lnTo>
                    <a:pt x="1273" y="301"/>
                  </a:lnTo>
                  <a:lnTo>
                    <a:pt x="152" y="301"/>
                  </a:lnTo>
                  <a:lnTo>
                    <a:pt x="121" y="298"/>
                  </a:lnTo>
                  <a:lnTo>
                    <a:pt x="93" y="290"/>
                  </a:lnTo>
                  <a:lnTo>
                    <a:pt x="67" y="275"/>
                  </a:lnTo>
                  <a:lnTo>
                    <a:pt x="45" y="257"/>
                  </a:lnTo>
                  <a:lnTo>
                    <a:pt x="26" y="234"/>
                  </a:lnTo>
                  <a:lnTo>
                    <a:pt x="13" y="210"/>
                  </a:lnTo>
                  <a:lnTo>
                    <a:pt x="3" y="180"/>
                  </a:lnTo>
                  <a:lnTo>
                    <a:pt x="0" y="150"/>
                  </a:lnTo>
                  <a:lnTo>
                    <a:pt x="3" y="120"/>
                  </a:lnTo>
                  <a:lnTo>
                    <a:pt x="13" y="92"/>
                  </a:lnTo>
                  <a:lnTo>
                    <a:pt x="26" y="66"/>
                  </a:lnTo>
                  <a:lnTo>
                    <a:pt x="45" y="44"/>
                  </a:lnTo>
                  <a:lnTo>
                    <a:pt x="67" y="25"/>
                  </a:lnTo>
                  <a:lnTo>
                    <a:pt x="93" y="12"/>
                  </a:lnTo>
                  <a:lnTo>
                    <a:pt x="121" y="4"/>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4" name="Freeform 30"/>
            <p:cNvSpPr>
              <a:spLocks/>
            </p:cNvSpPr>
            <p:nvPr/>
          </p:nvSpPr>
          <p:spPr bwMode="auto">
            <a:xfrm>
              <a:off x="1835150" y="3101976"/>
              <a:ext cx="204788" cy="42863"/>
            </a:xfrm>
            <a:custGeom>
              <a:avLst/>
              <a:gdLst>
                <a:gd name="T0" fmla="*/ 152 w 1424"/>
                <a:gd name="T1" fmla="*/ 0 h 302"/>
                <a:gd name="T2" fmla="*/ 1273 w 1424"/>
                <a:gd name="T3" fmla="*/ 0 h 302"/>
                <a:gd name="T4" fmla="*/ 1303 w 1424"/>
                <a:gd name="T5" fmla="*/ 3 h 302"/>
                <a:gd name="T6" fmla="*/ 1332 w 1424"/>
                <a:gd name="T7" fmla="*/ 13 h 302"/>
                <a:gd name="T8" fmla="*/ 1357 w 1424"/>
                <a:gd name="T9" fmla="*/ 26 h 302"/>
                <a:gd name="T10" fmla="*/ 1380 w 1424"/>
                <a:gd name="T11" fmla="*/ 45 h 302"/>
                <a:gd name="T12" fmla="*/ 1398 w 1424"/>
                <a:gd name="T13" fmla="*/ 67 h 302"/>
                <a:gd name="T14" fmla="*/ 1412 w 1424"/>
                <a:gd name="T15" fmla="*/ 92 h 302"/>
                <a:gd name="T16" fmla="*/ 1421 w 1424"/>
                <a:gd name="T17" fmla="*/ 121 h 302"/>
                <a:gd name="T18" fmla="*/ 1424 w 1424"/>
                <a:gd name="T19" fmla="*/ 151 h 302"/>
                <a:gd name="T20" fmla="*/ 1421 w 1424"/>
                <a:gd name="T21" fmla="*/ 181 h 302"/>
                <a:gd name="T22" fmla="*/ 1412 w 1424"/>
                <a:gd name="T23" fmla="*/ 209 h 302"/>
                <a:gd name="T24" fmla="*/ 1398 w 1424"/>
                <a:gd name="T25" fmla="*/ 235 h 302"/>
                <a:gd name="T26" fmla="*/ 1380 w 1424"/>
                <a:gd name="T27" fmla="*/ 257 h 302"/>
                <a:gd name="T28" fmla="*/ 1357 w 1424"/>
                <a:gd name="T29" fmla="*/ 276 h 302"/>
                <a:gd name="T30" fmla="*/ 1332 w 1424"/>
                <a:gd name="T31" fmla="*/ 289 h 302"/>
                <a:gd name="T32" fmla="*/ 1303 w 1424"/>
                <a:gd name="T33" fmla="*/ 299 h 302"/>
                <a:gd name="T34" fmla="*/ 1273 w 1424"/>
                <a:gd name="T35" fmla="*/ 302 h 302"/>
                <a:gd name="T36" fmla="*/ 152 w 1424"/>
                <a:gd name="T37" fmla="*/ 302 h 302"/>
                <a:gd name="T38" fmla="*/ 121 w 1424"/>
                <a:gd name="T39" fmla="*/ 299 h 302"/>
                <a:gd name="T40" fmla="*/ 93 w 1424"/>
                <a:gd name="T41" fmla="*/ 289 h 302"/>
                <a:gd name="T42" fmla="*/ 67 w 1424"/>
                <a:gd name="T43" fmla="*/ 276 h 302"/>
                <a:gd name="T44" fmla="*/ 45 w 1424"/>
                <a:gd name="T45" fmla="*/ 257 h 302"/>
                <a:gd name="T46" fmla="*/ 26 w 1424"/>
                <a:gd name="T47" fmla="*/ 235 h 302"/>
                <a:gd name="T48" fmla="*/ 13 w 1424"/>
                <a:gd name="T49" fmla="*/ 209 h 302"/>
                <a:gd name="T50" fmla="*/ 3 w 1424"/>
                <a:gd name="T51" fmla="*/ 181 h 302"/>
                <a:gd name="T52" fmla="*/ 0 w 1424"/>
                <a:gd name="T53" fmla="*/ 151 h 302"/>
                <a:gd name="T54" fmla="*/ 3 w 1424"/>
                <a:gd name="T55" fmla="*/ 121 h 302"/>
                <a:gd name="T56" fmla="*/ 13 w 1424"/>
                <a:gd name="T57" fmla="*/ 92 h 302"/>
                <a:gd name="T58" fmla="*/ 26 w 1424"/>
                <a:gd name="T59" fmla="*/ 67 h 302"/>
                <a:gd name="T60" fmla="*/ 45 w 1424"/>
                <a:gd name="T61" fmla="*/ 45 h 302"/>
                <a:gd name="T62" fmla="*/ 67 w 1424"/>
                <a:gd name="T63" fmla="*/ 26 h 302"/>
                <a:gd name="T64" fmla="*/ 93 w 1424"/>
                <a:gd name="T65" fmla="*/ 13 h 302"/>
                <a:gd name="T66" fmla="*/ 121 w 1424"/>
                <a:gd name="T67" fmla="*/ 3 h 302"/>
                <a:gd name="T68" fmla="*/ 152 w 142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4" h="302">
                  <a:moveTo>
                    <a:pt x="152" y="0"/>
                  </a:moveTo>
                  <a:lnTo>
                    <a:pt x="1273" y="0"/>
                  </a:lnTo>
                  <a:lnTo>
                    <a:pt x="1303" y="3"/>
                  </a:lnTo>
                  <a:lnTo>
                    <a:pt x="1332" y="13"/>
                  </a:lnTo>
                  <a:lnTo>
                    <a:pt x="1357" y="26"/>
                  </a:lnTo>
                  <a:lnTo>
                    <a:pt x="1380" y="45"/>
                  </a:lnTo>
                  <a:lnTo>
                    <a:pt x="1398" y="67"/>
                  </a:lnTo>
                  <a:lnTo>
                    <a:pt x="1412" y="92"/>
                  </a:lnTo>
                  <a:lnTo>
                    <a:pt x="1421" y="121"/>
                  </a:lnTo>
                  <a:lnTo>
                    <a:pt x="1424" y="151"/>
                  </a:lnTo>
                  <a:lnTo>
                    <a:pt x="1421" y="181"/>
                  </a:lnTo>
                  <a:lnTo>
                    <a:pt x="1412" y="209"/>
                  </a:lnTo>
                  <a:lnTo>
                    <a:pt x="1398" y="235"/>
                  </a:lnTo>
                  <a:lnTo>
                    <a:pt x="1380" y="257"/>
                  </a:lnTo>
                  <a:lnTo>
                    <a:pt x="1357" y="276"/>
                  </a:lnTo>
                  <a:lnTo>
                    <a:pt x="1332" y="289"/>
                  </a:lnTo>
                  <a:lnTo>
                    <a:pt x="1303" y="299"/>
                  </a:lnTo>
                  <a:lnTo>
                    <a:pt x="1273" y="302"/>
                  </a:lnTo>
                  <a:lnTo>
                    <a:pt x="152" y="302"/>
                  </a:lnTo>
                  <a:lnTo>
                    <a:pt x="121" y="299"/>
                  </a:lnTo>
                  <a:lnTo>
                    <a:pt x="93" y="289"/>
                  </a:lnTo>
                  <a:lnTo>
                    <a:pt x="67" y="276"/>
                  </a:lnTo>
                  <a:lnTo>
                    <a:pt x="45" y="257"/>
                  </a:lnTo>
                  <a:lnTo>
                    <a:pt x="26" y="235"/>
                  </a:lnTo>
                  <a:lnTo>
                    <a:pt x="13" y="209"/>
                  </a:lnTo>
                  <a:lnTo>
                    <a:pt x="3" y="181"/>
                  </a:lnTo>
                  <a:lnTo>
                    <a:pt x="0" y="151"/>
                  </a:lnTo>
                  <a:lnTo>
                    <a:pt x="3" y="121"/>
                  </a:lnTo>
                  <a:lnTo>
                    <a:pt x="13" y="92"/>
                  </a:lnTo>
                  <a:lnTo>
                    <a:pt x="26" y="67"/>
                  </a:lnTo>
                  <a:lnTo>
                    <a:pt x="45" y="45"/>
                  </a:lnTo>
                  <a:lnTo>
                    <a:pt x="67" y="26"/>
                  </a:lnTo>
                  <a:lnTo>
                    <a:pt x="93" y="13"/>
                  </a:lnTo>
                  <a:lnTo>
                    <a:pt x="121" y="3"/>
                  </a:lnTo>
                  <a:lnTo>
                    <a:pt x="1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5" name="Freeform 31"/>
            <p:cNvSpPr>
              <a:spLocks noEditPoints="1"/>
            </p:cNvSpPr>
            <p:nvPr/>
          </p:nvSpPr>
          <p:spPr bwMode="auto">
            <a:xfrm>
              <a:off x="1922463" y="2754313"/>
              <a:ext cx="306388" cy="303213"/>
            </a:xfrm>
            <a:custGeom>
              <a:avLst/>
              <a:gdLst>
                <a:gd name="T0" fmla="*/ 924 w 2119"/>
                <a:gd name="T1" fmla="*/ 314 h 2106"/>
                <a:gd name="T2" fmla="*/ 735 w 2119"/>
                <a:gd name="T3" fmla="*/ 374 h 2106"/>
                <a:gd name="T4" fmla="*/ 573 w 2119"/>
                <a:gd name="T5" fmla="*/ 479 h 2106"/>
                <a:gd name="T6" fmla="*/ 441 w 2119"/>
                <a:gd name="T7" fmla="*/ 620 h 2106"/>
                <a:gd name="T8" fmla="*/ 350 w 2119"/>
                <a:gd name="T9" fmla="*/ 792 h 2106"/>
                <a:gd name="T10" fmla="*/ 306 w 2119"/>
                <a:gd name="T11" fmla="*/ 985 h 2106"/>
                <a:gd name="T12" fmla="*/ 315 w 2119"/>
                <a:gd name="T13" fmla="*/ 1188 h 2106"/>
                <a:gd name="T14" fmla="*/ 376 w 2119"/>
                <a:gd name="T15" fmla="*/ 1375 h 2106"/>
                <a:gd name="T16" fmla="*/ 481 w 2119"/>
                <a:gd name="T17" fmla="*/ 1538 h 2106"/>
                <a:gd name="T18" fmla="*/ 623 w 2119"/>
                <a:gd name="T19" fmla="*/ 1668 h 2106"/>
                <a:gd name="T20" fmla="*/ 796 w 2119"/>
                <a:gd name="T21" fmla="*/ 1758 h 2106"/>
                <a:gd name="T22" fmla="*/ 991 w 2119"/>
                <a:gd name="T23" fmla="*/ 1803 h 2106"/>
                <a:gd name="T24" fmla="*/ 1196 w 2119"/>
                <a:gd name="T25" fmla="*/ 1793 h 2106"/>
                <a:gd name="T26" fmla="*/ 1384 w 2119"/>
                <a:gd name="T27" fmla="*/ 1733 h 2106"/>
                <a:gd name="T28" fmla="*/ 1548 w 2119"/>
                <a:gd name="T29" fmla="*/ 1628 h 2106"/>
                <a:gd name="T30" fmla="*/ 1678 w 2119"/>
                <a:gd name="T31" fmla="*/ 1487 h 2106"/>
                <a:gd name="T32" fmla="*/ 1770 w 2119"/>
                <a:gd name="T33" fmla="*/ 1316 h 2106"/>
                <a:gd name="T34" fmla="*/ 1813 w 2119"/>
                <a:gd name="T35" fmla="*/ 1122 h 2106"/>
                <a:gd name="T36" fmla="*/ 1804 w 2119"/>
                <a:gd name="T37" fmla="*/ 919 h 2106"/>
                <a:gd name="T38" fmla="*/ 1743 w 2119"/>
                <a:gd name="T39" fmla="*/ 732 h 2106"/>
                <a:gd name="T40" fmla="*/ 1639 w 2119"/>
                <a:gd name="T41" fmla="*/ 569 h 2106"/>
                <a:gd name="T42" fmla="*/ 1496 w 2119"/>
                <a:gd name="T43" fmla="*/ 439 h 2106"/>
                <a:gd name="T44" fmla="*/ 1324 w 2119"/>
                <a:gd name="T45" fmla="*/ 349 h 2106"/>
                <a:gd name="T46" fmla="*/ 1129 w 2119"/>
                <a:gd name="T47" fmla="*/ 304 h 2106"/>
                <a:gd name="T48" fmla="*/ 1142 w 2119"/>
                <a:gd name="T49" fmla="*/ 4 h 2106"/>
                <a:gd name="T50" fmla="*/ 1379 w 2119"/>
                <a:gd name="T51" fmla="*/ 49 h 2106"/>
                <a:gd name="T52" fmla="*/ 1595 w 2119"/>
                <a:gd name="T53" fmla="*/ 145 h 2106"/>
                <a:gd name="T54" fmla="*/ 1781 w 2119"/>
                <a:gd name="T55" fmla="*/ 282 h 2106"/>
                <a:gd name="T56" fmla="*/ 1933 w 2119"/>
                <a:gd name="T57" fmla="*/ 457 h 2106"/>
                <a:gd name="T58" fmla="*/ 2044 w 2119"/>
                <a:gd name="T59" fmla="*/ 662 h 2106"/>
                <a:gd name="T60" fmla="*/ 2107 w 2119"/>
                <a:gd name="T61" fmla="*/ 891 h 2106"/>
                <a:gd name="T62" fmla="*/ 2116 w 2119"/>
                <a:gd name="T63" fmla="*/ 1136 h 2106"/>
                <a:gd name="T64" fmla="*/ 2070 w 2119"/>
                <a:gd name="T65" fmla="*/ 1371 h 2106"/>
                <a:gd name="T66" fmla="*/ 1975 w 2119"/>
                <a:gd name="T67" fmla="*/ 1584 h 2106"/>
                <a:gd name="T68" fmla="*/ 1835 w 2119"/>
                <a:gd name="T69" fmla="*/ 1770 h 2106"/>
                <a:gd name="T70" fmla="*/ 1660 w 2119"/>
                <a:gd name="T71" fmla="*/ 1921 h 2106"/>
                <a:gd name="T72" fmla="*/ 1453 w 2119"/>
                <a:gd name="T73" fmla="*/ 2031 h 2106"/>
                <a:gd name="T74" fmla="*/ 1224 w 2119"/>
                <a:gd name="T75" fmla="*/ 2094 h 2106"/>
                <a:gd name="T76" fmla="*/ 977 w 2119"/>
                <a:gd name="T77" fmla="*/ 2103 h 2106"/>
                <a:gd name="T78" fmla="*/ 740 w 2119"/>
                <a:gd name="T79" fmla="*/ 2058 h 2106"/>
                <a:gd name="T80" fmla="*/ 526 w 2119"/>
                <a:gd name="T81" fmla="*/ 1962 h 2106"/>
                <a:gd name="T82" fmla="*/ 338 w 2119"/>
                <a:gd name="T83" fmla="*/ 1825 h 2106"/>
                <a:gd name="T84" fmla="*/ 187 w 2119"/>
                <a:gd name="T85" fmla="*/ 1650 h 2106"/>
                <a:gd name="T86" fmla="*/ 76 w 2119"/>
                <a:gd name="T87" fmla="*/ 1445 h 2106"/>
                <a:gd name="T88" fmla="*/ 13 w 2119"/>
                <a:gd name="T89" fmla="*/ 1216 h 2106"/>
                <a:gd name="T90" fmla="*/ 3 w 2119"/>
                <a:gd name="T91" fmla="*/ 972 h 2106"/>
                <a:gd name="T92" fmla="*/ 49 w 2119"/>
                <a:gd name="T93" fmla="*/ 736 h 2106"/>
                <a:gd name="T94" fmla="*/ 145 w 2119"/>
                <a:gd name="T95" fmla="*/ 523 h 2106"/>
                <a:gd name="T96" fmla="*/ 284 w 2119"/>
                <a:gd name="T97" fmla="*/ 337 h 2106"/>
                <a:gd name="T98" fmla="*/ 460 w 2119"/>
                <a:gd name="T99" fmla="*/ 187 h 2106"/>
                <a:gd name="T100" fmla="*/ 666 w 2119"/>
                <a:gd name="T101" fmla="*/ 76 h 2106"/>
                <a:gd name="T102" fmla="*/ 896 w 2119"/>
                <a:gd name="T103" fmla="*/ 13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9" h="2106">
                  <a:moveTo>
                    <a:pt x="1060" y="301"/>
                  </a:moveTo>
                  <a:lnTo>
                    <a:pt x="991" y="304"/>
                  </a:lnTo>
                  <a:lnTo>
                    <a:pt x="924" y="314"/>
                  </a:lnTo>
                  <a:lnTo>
                    <a:pt x="859" y="328"/>
                  </a:lnTo>
                  <a:lnTo>
                    <a:pt x="796" y="349"/>
                  </a:lnTo>
                  <a:lnTo>
                    <a:pt x="735" y="374"/>
                  </a:lnTo>
                  <a:lnTo>
                    <a:pt x="678" y="404"/>
                  </a:lnTo>
                  <a:lnTo>
                    <a:pt x="623" y="439"/>
                  </a:lnTo>
                  <a:lnTo>
                    <a:pt x="573" y="479"/>
                  </a:lnTo>
                  <a:lnTo>
                    <a:pt x="525" y="523"/>
                  </a:lnTo>
                  <a:lnTo>
                    <a:pt x="481" y="569"/>
                  </a:lnTo>
                  <a:lnTo>
                    <a:pt x="441" y="620"/>
                  </a:lnTo>
                  <a:lnTo>
                    <a:pt x="406" y="674"/>
                  </a:lnTo>
                  <a:lnTo>
                    <a:pt x="376" y="732"/>
                  </a:lnTo>
                  <a:lnTo>
                    <a:pt x="350" y="792"/>
                  </a:lnTo>
                  <a:lnTo>
                    <a:pt x="330" y="854"/>
                  </a:lnTo>
                  <a:lnTo>
                    <a:pt x="315" y="919"/>
                  </a:lnTo>
                  <a:lnTo>
                    <a:pt x="306" y="985"/>
                  </a:lnTo>
                  <a:lnTo>
                    <a:pt x="303" y="1054"/>
                  </a:lnTo>
                  <a:lnTo>
                    <a:pt x="306" y="1122"/>
                  </a:lnTo>
                  <a:lnTo>
                    <a:pt x="315" y="1188"/>
                  </a:lnTo>
                  <a:lnTo>
                    <a:pt x="330" y="1254"/>
                  </a:lnTo>
                  <a:lnTo>
                    <a:pt x="350" y="1316"/>
                  </a:lnTo>
                  <a:lnTo>
                    <a:pt x="376" y="1375"/>
                  </a:lnTo>
                  <a:lnTo>
                    <a:pt x="406" y="1433"/>
                  </a:lnTo>
                  <a:lnTo>
                    <a:pt x="441" y="1487"/>
                  </a:lnTo>
                  <a:lnTo>
                    <a:pt x="481" y="1538"/>
                  </a:lnTo>
                  <a:lnTo>
                    <a:pt x="525" y="1585"/>
                  </a:lnTo>
                  <a:lnTo>
                    <a:pt x="573" y="1628"/>
                  </a:lnTo>
                  <a:lnTo>
                    <a:pt x="623" y="1668"/>
                  </a:lnTo>
                  <a:lnTo>
                    <a:pt x="678" y="1703"/>
                  </a:lnTo>
                  <a:lnTo>
                    <a:pt x="735" y="1733"/>
                  </a:lnTo>
                  <a:lnTo>
                    <a:pt x="796" y="1758"/>
                  </a:lnTo>
                  <a:lnTo>
                    <a:pt x="859" y="1779"/>
                  </a:lnTo>
                  <a:lnTo>
                    <a:pt x="924" y="1793"/>
                  </a:lnTo>
                  <a:lnTo>
                    <a:pt x="991" y="1803"/>
                  </a:lnTo>
                  <a:lnTo>
                    <a:pt x="1060" y="1806"/>
                  </a:lnTo>
                  <a:lnTo>
                    <a:pt x="1129" y="1803"/>
                  </a:lnTo>
                  <a:lnTo>
                    <a:pt x="1196" y="1793"/>
                  </a:lnTo>
                  <a:lnTo>
                    <a:pt x="1261" y="1779"/>
                  </a:lnTo>
                  <a:lnTo>
                    <a:pt x="1324" y="1758"/>
                  </a:lnTo>
                  <a:lnTo>
                    <a:pt x="1384" y="1733"/>
                  </a:lnTo>
                  <a:lnTo>
                    <a:pt x="1442" y="1703"/>
                  </a:lnTo>
                  <a:lnTo>
                    <a:pt x="1496" y="1668"/>
                  </a:lnTo>
                  <a:lnTo>
                    <a:pt x="1548" y="1628"/>
                  </a:lnTo>
                  <a:lnTo>
                    <a:pt x="1595" y="1585"/>
                  </a:lnTo>
                  <a:lnTo>
                    <a:pt x="1639" y="1538"/>
                  </a:lnTo>
                  <a:lnTo>
                    <a:pt x="1678" y="1487"/>
                  </a:lnTo>
                  <a:lnTo>
                    <a:pt x="1713" y="1433"/>
                  </a:lnTo>
                  <a:lnTo>
                    <a:pt x="1743" y="1375"/>
                  </a:lnTo>
                  <a:lnTo>
                    <a:pt x="1770" y="1316"/>
                  </a:lnTo>
                  <a:lnTo>
                    <a:pt x="1789" y="1254"/>
                  </a:lnTo>
                  <a:lnTo>
                    <a:pt x="1804" y="1188"/>
                  </a:lnTo>
                  <a:lnTo>
                    <a:pt x="1813" y="1122"/>
                  </a:lnTo>
                  <a:lnTo>
                    <a:pt x="1817" y="1054"/>
                  </a:lnTo>
                  <a:lnTo>
                    <a:pt x="1813" y="985"/>
                  </a:lnTo>
                  <a:lnTo>
                    <a:pt x="1804" y="919"/>
                  </a:lnTo>
                  <a:lnTo>
                    <a:pt x="1789" y="854"/>
                  </a:lnTo>
                  <a:lnTo>
                    <a:pt x="1770" y="792"/>
                  </a:lnTo>
                  <a:lnTo>
                    <a:pt x="1743" y="732"/>
                  </a:lnTo>
                  <a:lnTo>
                    <a:pt x="1713" y="674"/>
                  </a:lnTo>
                  <a:lnTo>
                    <a:pt x="1678" y="620"/>
                  </a:lnTo>
                  <a:lnTo>
                    <a:pt x="1639" y="569"/>
                  </a:lnTo>
                  <a:lnTo>
                    <a:pt x="1595" y="523"/>
                  </a:lnTo>
                  <a:lnTo>
                    <a:pt x="1548" y="479"/>
                  </a:lnTo>
                  <a:lnTo>
                    <a:pt x="1496" y="439"/>
                  </a:lnTo>
                  <a:lnTo>
                    <a:pt x="1442" y="404"/>
                  </a:lnTo>
                  <a:lnTo>
                    <a:pt x="1384" y="374"/>
                  </a:lnTo>
                  <a:lnTo>
                    <a:pt x="1324" y="349"/>
                  </a:lnTo>
                  <a:lnTo>
                    <a:pt x="1261" y="328"/>
                  </a:lnTo>
                  <a:lnTo>
                    <a:pt x="1196" y="314"/>
                  </a:lnTo>
                  <a:lnTo>
                    <a:pt x="1129" y="304"/>
                  </a:lnTo>
                  <a:lnTo>
                    <a:pt x="1060" y="301"/>
                  </a:lnTo>
                  <a:close/>
                  <a:moveTo>
                    <a:pt x="1060" y="0"/>
                  </a:moveTo>
                  <a:lnTo>
                    <a:pt x="1142" y="4"/>
                  </a:lnTo>
                  <a:lnTo>
                    <a:pt x="1224" y="13"/>
                  </a:lnTo>
                  <a:lnTo>
                    <a:pt x="1303" y="29"/>
                  </a:lnTo>
                  <a:lnTo>
                    <a:pt x="1379" y="49"/>
                  </a:lnTo>
                  <a:lnTo>
                    <a:pt x="1453" y="76"/>
                  </a:lnTo>
                  <a:lnTo>
                    <a:pt x="1526" y="108"/>
                  </a:lnTo>
                  <a:lnTo>
                    <a:pt x="1595" y="145"/>
                  </a:lnTo>
                  <a:lnTo>
                    <a:pt x="1660" y="187"/>
                  </a:lnTo>
                  <a:lnTo>
                    <a:pt x="1722" y="232"/>
                  </a:lnTo>
                  <a:lnTo>
                    <a:pt x="1781" y="282"/>
                  </a:lnTo>
                  <a:lnTo>
                    <a:pt x="1835" y="337"/>
                  </a:lnTo>
                  <a:lnTo>
                    <a:pt x="1887" y="396"/>
                  </a:lnTo>
                  <a:lnTo>
                    <a:pt x="1933" y="457"/>
                  </a:lnTo>
                  <a:lnTo>
                    <a:pt x="1975" y="523"/>
                  </a:lnTo>
                  <a:lnTo>
                    <a:pt x="2011" y="591"/>
                  </a:lnTo>
                  <a:lnTo>
                    <a:pt x="2044" y="662"/>
                  </a:lnTo>
                  <a:lnTo>
                    <a:pt x="2070" y="736"/>
                  </a:lnTo>
                  <a:lnTo>
                    <a:pt x="2091" y="813"/>
                  </a:lnTo>
                  <a:lnTo>
                    <a:pt x="2107" y="891"/>
                  </a:lnTo>
                  <a:lnTo>
                    <a:pt x="2116" y="972"/>
                  </a:lnTo>
                  <a:lnTo>
                    <a:pt x="2119" y="1054"/>
                  </a:lnTo>
                  <a:lnTo>
                    <a:pt x="2116" y="1136"/>
                  </a:lnTo>
                  <a:lnTo>
                    <a:pt x="2107" y="1216"/>
                  </a:lnTo>
                  <a:lnTo>
                    <a:pt x="2091" y="1295"/>
                  </a:lnTo>
                  <a:lnTo>
                    <a:pt x="2070" y="1371"/>
                  </a:lnTo>
                  <a:lnTo>
                    <a:pt x="2044" y="1445"/>
                  </a:lnTo>
                  <a:lnTo>
                    <a:pt x="2011" y="1516"/>
                  </a:lnTo>
                  <a:lnTo>
                    <a:pt x="1975" y="1584"/>
                  </a:lnTo>
                  <a:lnTo>
                    <a:pt x="1933" y="1650"/>
                  </a:lnTo>
                  <a:lnTo>
                    <a:pt x="1887" y="1711"/>
                  </a:lnTo>
                  <a:lnTo>
                    <a:pt x="1835" y="1770"/>
                  </a:lnTo>
                  <a:lnTo>
                    <a:pt x="1781" y="1825"/>
                  </a:lnTo>
                  <a:lnTo>
                    <a:pt x="1722" y="1875"/>
                  </a:lnTo>
                  <a:lnTo>
                    <a:pt x="1660" y="1921"/>
                  </a:lnTo>
                  <a:lnTo>
                    <a:pt x="1595" y="1962"/>
                  </a:lnTo>
                  <a:lnTo>
                    <a:pt x="1526" y="1999"/>
                  </a:lnTo>
                  <a:lnTo>
                    <a:pt x="1453" y="2031"/>
                  </a:lnTo>
                  <a:lnTo>
                    <a:pt x="1379" y="2058"/>
                  </a:lnTo>
                  <a:lnTo>
                    <a:pt x="1303" y="2078"/>
                  </a:lnTo>
                  <a:lnTo>
                    <a:pt x="1224" y="2094"/>
                  </a:lnTo>
                  <a:lnTo>
                    <a:pt x="1142" y="2103"/>
                  </a:lnTo>
                  <a:lnTo>
                    <a:pt x="1060" y="2106"/>
                  </a:lnTo>
                  <a:lnTo>
                    <a:pt x="977" y="2103"/>
                  </a:lnTo>
                  <a:lnTo>
                    <a:pt x="896" y="2094"/>
                  </a:lnTo>
                  <a:lnTo>
                    <a:pt x="817" y="2078"/>
                  </a:lnTo>
                  <a:lnTo>
                    <a:pt x="740" y="2058"/>
                  </a:lnTo>
                  <a:lnTo>
                    <a:pt x="666" y="2031"/>
                  </a:lnTo>
                  <a:lnTo>
                    <a:pt x="594" y="1999"/>
                  </a:lnTo>
                  <a:lnTo>
                    <a:pt x="526" y="1962"/>
                  </a:lnTo>
                  <a:lnTo>
                    <a:pt x="460" y="1921"/>
                  </a:lnTo>
                  <a:lnTo>
                    <a:pt x="397" y="1875"/>
                  </a:lnTo>
                  <a:lnTo>
                    <a:pt x="338" y="1825"/>
                  </a:lnTo>
                  <a:lnTo>
                    <a:pt x="284" y="1770"/>
                  </a:lnTo>
                  <a:lnTo>
                    <a:pt x="233" y="1711"/>
                  </a:lnTo>
                  <a:lnTo>
                    <a:pt x="187" y="1650"/>
                  </a:lnTo>
                  <a:lnTo>
                    <a:pt x="145" y="1584"/>
                  </a:lnTo>
                  <a:lnTo>
                    <a:pt x="108" y="1516"/>
                  </a:lnTo>
                  <a:lnTo>
                    <a:pt x="76" y="1445"/>
                  </a:lnTo>
                  <a:lnTo>
                    <a:pt x="49" y="1371"/>
                  </a:lnTo>
                  <a:lnTo>
                    <a:pt x="28" y="1295"/>
                  </a:lnTo>
                  <a:lnTo>
                    <a:pt x="13" y="1216"/>
                  </a:lnTo>
                  <a:lnTo>
                    <a:pt x="3" y="1136"/>
                  </a:lnTo>
                  <a:lnTo>
                    <a:pt x="0" y="1054"/>
                  </a:lnTo>
                  <a:lnTo>
                    <a:pt x="3" y="972"/>
                  </a:lnTo>
                  <a:lnTo>
                    <a:pt x="13" y="891"/>
                  </a:lnTo>
                  <a:lnTo>
                    <a:pt x="28" y="813"/>
                  </a:lnTo>
                  <a:lnTo>
                    <a:pt x="49" y="736"/>
                  </a:lnTo>
                  <a:lnTo>
                    <a:pt x="76" y="662"/>
                  </a:lnTo>
                  <a:lnTo>
                    <a:pt x="108" y="591"/>
                  </a:lnTo>
                  <a:lnTo>
                    <a:pt x="145" y="523"/>
                  </a:lnTo>
                  <a:lnTo>
                    <a:pt x="187" y="457"/>
                  </a:lnTo>
                  <a:lnTo>
                    <a:pt x="233" y="396"/>
                  </a:lnTo>
                  <a:lnTo>
                    <a:pt x="284" y="337"/>
                  </a:lnTo>
                  <a:lnTo>
                    <a:pt x="338" y="282"/>
                  </a:lnTo>
                  <a:lnTo>
                    <a:pt x="397" y="232"/>
                  </a:lnTo>
                  <a:lnTo>
                    <a:pt x="460" y="187"/>
                  </a:lnTo>
                  <a:lnTo>
                    <a:pt x="526" y="145"/>
                  </a:lnTo>
                  <a:lnTo>
                    <a:pt x="594" y="108"/>
                  </a:lnTo>
                  <a:lnTo>
                    <a:pt x="666" y="76"/>
                  </a:lnTo>
                  <a:lnTo>
                    <a:pt x="740" y="49"/>
                  </a:lnTo>
                  <a:lnTo>
                    <a:pt x="817" y="29"/>
                  </a:lnTo>
                  <a:lnTo>
                    <a:pt x="896" y="13"/>
                  </a:lnTo>
                  <a:lnTo>
                    <a:pt x="977" y="4"/>
                  </a:lnTo>
                  <a:lnTo>
                    <a:pt x="106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6" name="Freeform 32"/>
            <p:cNvSpPr>
              <a:spLocks noEditPoints="1"/>
            </p:cNvSpPr>
            <p:nvPr/>
          </p:nvSpPr>
          <p:spPr bwMode="auto">
            <a:xfrm>
              <a:off x="2019300" y="2816226"/>
              <a:ext cx="112713" cy="179388"/>
            </a:xfrm>
            <a:custGeom>
              <a:avLst/>
              <a:gdLst>
                <a:gd name="T0" fmla="*/ 480 w 774"/>
                <a:gd name="T1" fmla="*/ 963 h 1241"/>
                <a:gd name="T2" fmla="*/ 565 w 774"/>
                <a:gd name="T3" fmla="*/ 921 h 1241"/>
                <a:gd name="T4" fmla="*/ 600 w 774"/>
                <a:gd name="T5" fmla="*/ 836 h 1241"/>
                <a:gd name="T6" fmla="*/ 568 w 774"/>
                <a:gd name="T7" fmla="*/ 758 h 1241"/>
                <a:gd name="T8" fmla="*/ 493 w 774"/>
                <a:gd name="T9" fmla="*/ 717 h 1241"/>
                <a:gd name="T10" fmla="*/ 348 w 774"/>
                <a:gd name="T11" fmla="*/ 259 h 1241"/>
                <a:gd name="T12" fmla="*/ 236 w 774"/>
                <a:gd name="T13" fmla="*/ 297 h 1241"/>
                <a:gd name="T14" fmla="*/ 194 w 774"/>
                <a:gd name="T15" fmla="*/ 376 h 1241"/>
                <a:gd name="T16" fmla="*/ 233 w 774"/>
                <a:gd name="T17" fmla="*/ 458 h 1241"/>
                <a:gd name="T18" fmla="*/ 348 w 774"/>
                <a:gd name="T19" fmla="*/ 505 h 1241"/>
                <a:gd name="T20" fmla="*/ 414 w 774"/>
                <a:gd name="T21" fmla="*/ 9 h 1241"/>
                <a:gd name="T22" fmla="*/ 431 w 774"/>
                <a:gd name="T23" fmla="*/ 120 h 1241"/>
                <a:gd name="T24" fmla="*/ 534 w 774"/>
                <a:gd name="T25" fmla="*/ 135 h 1241"/>
                <a:gd name="T26" fmla="*/ 648 w 774"/>
                <a:gd name="T27" fmla="*/ 179 h 1241"/>
                <a:gd name="T28" fmla="*/ 734 w 774"/>
                <a:gd name="T29" fmla="*/ 251 h 1241"/>
                <a:gd name="T30" fmla="*/ 756 w 774"/>
                <a:gd name="T31" fmla="*/ 345 h 1241"/>
                <a:gd name="T32" fmla="*/ 709 w 774"/>
                <a:gd name="T33" fmla="*/ 401 h 1241"/>
                <a:gd name="T34" fmla="*/ 640 w 774"/>
                <a:gd name="T35" fmla="*/ 402 h 1241"/>
                <a:gd name="T36" fmla="*/ 592 w 774"/>
                <a:gd name="T37" fmla="*/ 357 h 1241"/>
                <a:gd name="T38" fmla="*/ 542 w 774"/>
                <a:gd name="T39" fmla="*/ 299 h 1241"/>
                <a:gd name="T40" fmla="*/ 459 w 774"/>
                <a:gd name="T41" fmla="*/ 261 h 1241"/>
                <a:gd name="T42" fmla="*/ 498 w 774"/>
                <a:gd name="T43" fmla="*/ 535 h 1241"/>
                <a:gd name="T44" fmla="*/ 619 w 774"/>
                <a:gd name="T45" fmla="*/ 576 h 1241"/>
                <a:gd name="T46" fmla="*/ 713 w 774"/>
                <a:gd name="T47" fmla="*/ 643 h 1241"/>
                <a:gd name="T48" fmla="*/ 767 w 774"/>
                <a:gd name="T49" fmla="*/ 749 h 1241"/>
                <a:gd name="T50" fmla="*/ 765 w 774"/>
                <a:gd name="T51" fmla="*/ 900 h 1241"/>
                <a:gd name="T52" fmla="*/ 692 w 774"/>
                <a:gd name="T53" fmla="*/ 1018 h 1241"/>
                <a:gd name="T54" fmla="*/ 562 w 774"/>
                <a:gd name="T55" fmla="*/ 1088 h 1241"/>
                <a:gd name="T56" fmla="*/ 431 w 774"/>
                <a:gd name="T57" fmla="*/ 1194 h 1241"/>
                <a:gd name="T58" fmla="*/ 402 w 774"/>
                <a:gd name="T59" fmla="*/ 1239 h 1241"/>
                <a:gd name="T60" fmla="*/ 356 w 774"/>
                <a:gd name="T61" fmla="*/ 1221 h 1241"/>
                <a:gd name="T62" fmla="*/ 300 w 774"/>
                <a:gd name="T63" fmla="*/ 1107 h 1241"/>
                <a:gd name="T64" fmla="*/ 144 w 774"/>
                <a:gd name="T65" fmla="*/ 1061 h 1241"/>
                <a:gd name="T66" fmla="*/ 44 w 774"/>
                <a:gd name="T67" fmla="*/ 978 h 1241"/>
                <a:gd name="T68" fmla="*/ 1 w 774"/>
                <a:gd name="T69" fmla="*/ 881 h 1241"/>
                <a:gd name="T70" fmla="*/ 17 w 774"/>
                <a:gd name="T71" fmla="*/ 801 h 1241"/>
                <a:gd name="T72" fmla="*/ 85 w 774"/>
                <a:gd name="T73" fmla="*/ 772 h 1241"/>
                <a:gd name="T74" fmla="*/ 150 w 774"/>
                <a:gd name="T75" fmla="*/ 792 h 1241"/>
                <a:gd name="T76" fmla="*/ 178 w 774"/>
                <a:gd name="T77" fmla="*/ 839 h 1241"/>
                <a:gd name="T78" fmla="*/ 201 w 774"/>
                <a:gd name="T79" fmla="*/ 897 h 1241"/>
                <a:gd name="T80" fmla="*/ 247 w 774"/>
                <a:gd name="T81" fmla="*/ 945 h 1241"/>
                <a:gd name="T82" fmla="*/ 348 w 774"/>
                <a:gd name="T83" fmla="*/ 970 h 1241"/>
                <a:gd name="T84" fmla="*/ 211 w 774"/>
                <a:gd name="T85" fmla="*/ 646 h 1241"/>
                <a:gd name="T86" fmla="*/ 82 w 774"/>
                <a:gd name="T87" fmla="*/ 565 h 1241"/>
                <a:gd name="T88" fmla="*/ 23 w 774"/>
                <a:gd name="T89" fmla="*/ 443 h 1241"/>
                <a:gd name="T90" fmla="*/ 41 w 774"/>
                <a:gd name="T91" fmla="*/ 300 h 1241"/>
                <a:gd name="T92" fmla="*/ 120 w 774"/>
                <a:gd name="T93" fmla="*/ 196 h 1241"/>
                <a:gd name="T94" fmla="*/ 241 w 774"/>
                <a:gd name="T95" fmla="*/ 135 h 1241"/>
                <a:gd name="T96" fmla="*/ 348 w 774"/>
                <a:gd name="T97" fmla="*/ 47 h 1241"/>
                <a:gd name="T98" fmla="*/ 376 w 774"/>
                <a:gd name="T99" fmla="*/ 3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4" h="1241">
                  <a:moveTo>
                    <a:pt x="431" y="699"/>
                  </a:moveTo>
                  <a:lnTo>
                    <a:pt x="431" y="970"/>
                  </a:lnTo>
                  <a:lnTo>
                    <a:pt x="456" y="967"/>
                  </a:lnTo>
                  <a:lnTo>
                    <a:pt x="480" y="963"/>
                  </a:lnTo>
                  <a:lnTo>
                    <a:pt x="504" y="956"/>
                  </a:lnTo>
                  <a:lnTo>
                    <a:pt x="526" y="947"/>
                  </a:lnTo>
                  <a:lnTo>
                    <a:pt x="547" y="935"/>
                  </a:lnTo>
                  <a:lnTo>
                    <a:pt x="565" y="921"/>
                  </a:lnTo>
                  <a:lnTo>
                    <a:pt x="579" y="904"/>
                  </a:lnTo>
                  <a:lnTo>
                    <a:pt x="591" y="884"/>
                  </a:lnTo>
                  <a:lnTo>
                    <a:pt x="598" y="861"/>
                  </a:lnTo>
                  <a:lnTo>
                    <a:pt x="600" y="836"/>
                  </a:lnTo>
                  <a:lnTo>
                    <a:pt x="598" y="812"/>
                  </a:lnTo>
                  <a:lnTo>
                    <a:pt x="592" y="792"/>
                  </a:lnTo>
                  <a:lnTo>
                    <a:pt x="581" y="774"/>
                  </a:lnTo>
                  <a:lnTo>
                    <a:pt x="568" y="758"/>
                  </a:lnTo>
                  <a:lnTo>
                    <a:pt x="552" y="745"/>
                  </a:lnTo>
                  <a:lnTo>
                    <a:pt x="534" y="733"/>
                  </a:lnTo>
                  <a:lnTo>
                    <a:pt x="514" y="724"/>
                  </a:lnTo>
                  <a:lnTo>
                    <a:pt x="493" y="717"/>
                  </a:lnTo>
                  <a:lnTo>
                    <a:pt x="473" y="709"/>
                  </a:lnTo>
                  <a:lnTo>
                    <a:pt x="452" y="704"/>
                  </a:lnTo>
                  <a:lnTo>
                    <a:pt x="431" y="699"/>
                  </a:lnTo>
                  <a:close/>
                  <a:moveTo>
                    <a:pt x="348" y="259"/>
                  </a:moveTo>
                  <a:lnTo>
                    <a:pt x="314" y="262"/>
                  </a:lnTo>
                  <a:lnTo>
                    <a:pt x="284" y="271"/>
                  </a:lnTo>
                  <a:lnTo>
                    <a:pt x="258" y="282"/>
                  </a:lnTo>
                  <a:lnTo>
                    <a:pt x="236" y="297"/>
                  </a:lnTo>
                  <a:lnTo>
                    <a:pt x="218" y="313"/>
                  </a:lnTo>
                  <a:lnTo>
                    <a:pt x="205" y="333"/>
                  </a:lnTo>
                  <a:lnTo>
                    <a:pt x="196" y="354"/>
                  </a:lnTo>
                  <a:lnTo>
                    <a:pt x="194" y="376"/>
                  </a:lnTo>
                  <a:lnTo>
                    <a:pt x="196" y="399"/>
                  </a:lnTo>
                  <a:lnTo>
                    <a:pt x="203" y="421"/>
                  </a:lnTo>
                  <a:lnTo>
                    <a:pt x="215" y="441"/>
                  </a:lnTo>
                  <a:lnTo>
                    <a:pt x="233" y="458"/>
                  </a:lnTo>
                  <a:lnTo>
                    <a:pt x="254" y="472"/>
                  </a:lnTo>
                  <a:lnTo>
                    <a:pt x="281" y="485"/>
                  </a:lnTo>
                  <a:lnTo>
                    <a:pt x="312" y="495"/>
                  </a:lnTo>
                  <a:lnTo>
                    <a:pt x="348" y="505"/>
                  </a:lnTo>
                  <a:lnTo>
                    <a:pt x="348" y="259"/>
                  </a:lnTo>
                  <a:close/>
                  <a:moveTo>
                    <a:pt x="389" y="0"/>
                  </a:moveTo>
                  <a:lnTo>
                    <a:pt x="402" y="3"/>
                  </a:lnTo>
                  <a:lnTo>
                    <a:pt x="414" y="9"/>
                  </a:lnTo>
                  <a:lnTo>
                    <a:pt x="423" y="20"/>
                  </a:lnTo>
                  <a:lnTo>
                    <a:pt x="429" y="33"/>
                  </a:lnTo>
                  <a:lnTo>
                    <a:pt x="431" y="47"/>
                  </a:lnTo>
                  <a:lnTo>
                    <a:pt x="431" y="120"/>
                  </a:lnTo>
                  <a:lnTo>
                    <a:pt x="454" y="121"/>
                  </a:lnTo>
                  <a:lnTo>
                    <a:pt x="479" y="124"/>
                  </a:lnTo>
                  <a:lnTo>
                    <a:pt x="506" y="129"/>
                  </a:lnTo>
                  <a:lnTo>
                    <a:pt x="534" y="135"/>
                  </a:lnTo>
                  <a:lnTo>
                    <a:pt x="564" y="144"/>
                  </a:lnTo>
                  <a:lnTo>
                    <a:pt x="593" y="154"/>
                  </a:lnTo>
                  <a:lnTo>
                    <a:pt x="621" y="165"/>
                  </a:lnTo>
                  <a:lnTo>
                    <a:pt x="648" y="179"/>
                  </a:lnTo>
                  <a:lnTo>
                    <a:pt x="674" y="195"/>
                  </a:lnTo>
                  <a:lnTo>
                    <a:pt x="698" y="211"/>
                  </a:lnTo>
                  <a:lnTo>
                    <a:pt x="718" y="230"/>
                  </a:lnTo>
                  <a:lnTo>
                    <a:pt x="734" y="251"/>
                  </a:lnTo>
                  <a:lnTo>
                    <a:pt x="748" y="274"/>
                  </a:lnTo>
                  <a:lnTo>
                    <a:pt x="755" y="298"/>
                  </a:lnTo>
                  <a:lnTo>
                    <a:pt x="758" y="324"/>
                  </a:lnTo>
                  <a:lnTo>
                    <a:pt x="756" y="345"/>
                  </a:lnTo>
                  <a:lnTo>
                    <a:pt x="749" y="364"/>
                  </a:lnTo>
                  <a:lnTo>
                    <a:pt x="740" y="380"/>
                  </a:lnTo>
                  <a:lnTo>
                    <a:pt x="726" y="392"/>
                  </a:lnTo>
                  <a:lnTo>
                    <a:pt x="709" y="401"/>
                  </a:lnTo>
                  <a:lnTo>
                    <a:pt x="691" y="407"/>
                  </a:lnTo>
                  <a:lnTo>
                    <a:pt x="671" y="408"/>
                  </a:lnTo>
                  <a:lnTo>
                    <a:pt x="655" y="407"/>
                  </a:lnTo>
                  <a:lnTo>
                    <a:pt x="640" y="402"/>
                  </a:lnTo>
                  <a:lnTo>
                    <a:pt x="626" y="393"/>
                  </a:lnTo>
                  <a:lnTo>
                    <a:pt x="615" y="383"/>
                  </a:lnTo>
                  <a:lnTo>
                    <a:pt x="603" y="370"/>
                  </a:lnTo>
                  <a:lnTo>
                    <a:pt x="592" y="357"/>
                  </a:lnTo>
                  <a:lnTo>
                    <a:pt x="580" y="342"/>
                  </a:lnTo>
                  <a:lnTo>
                    <a:pt x="569" y="328"/>
                  </a:lnTo>
                  <a:lnTo>
                    <a:pt x="555" y="313"/>
                  </a:lnTo>
                  <a:lnTo>
                    <a:pt x="542" y="299"/>
                  </a:lnTo>
                  <a:lnTo>
                    <a:pt x="525" y="286"/>
                  </a:lnTo>
                  <a:lnTo>
                    <a:pt x="506" y="276"/>
                  </a:lnTo>
                  <a:lnTo>
                    <a:pt x="484" y="267"/>
                  </a:lnTo>
                  <a:lnTo>
                    <a:pt x="459" y="261"/>
                  </a:lnTo>
                  <a:lnTo>
                    <a:pt x="431" y="259"/>
                  </a:lnTo>
                  <a:lnTo>
                    <a:pt x="431" y="519"/>
                  </a:lnTo>
                  <a:lnTo>
                    <a:pt x="464" y="526"/>
                  </a:lnTo>
                  <a:lnTo>
                    <a:pt x="498" y="535"/>
                  </a:lnTo>
                  <a:lnTo>
                    <a:pt x="530" y="543"/>
                  </a:lnTo>
                  <a:lnTo>
                    <a:pt x="562" y="552"/>
                  </a:lnTo>
                  <a:lnTo>
                    <a:pt x="591" y="564"/>
                  </a:lnTo>
                  <a:lnTo>
                    <a:pt x="619" y="576"/>
                  </a:lnTo>
                  <a:lnTo>
                    <a:pt x="646" y="590"/>
                  </a:lnTo>
                  <a:lnTo>
                    <a:pt x="670" y="605"/>
                  </a:lnTo>
                  <a:lnTo>
                    <a:pt x="693" y="623"/>
                  </a:lnTo>
                  <a:lnTo>
                    <a:pt x="713" y="643"/>
                  </a:lnTo>
                  <a:lnTo>
                    <a:pt x="731" y="666"/>
                  </a:lnTo>
                  <a:lnTo>
                    <a:pt x="746" y="691"/>
                  </a:lnTo>
                  <a:lnTo>
                    <a:pt x="757" y="719"/>
                  </a:lnTo>
                  <a:lnTo>
                    <a:pt x="767" y="749"/>
                  </a:lnTo>
                  <a:lnTo>
                    <a:pt x="772" y="783"/>
                  </a:lnTo>
                  <a:lnTo>
                    <a:pt x="774" y="821"/>
                  </a:lnTo>
                  <a:lnTo>
                    <a:pt x="771" y="861"/>
                  </a:lnTo>
                  <a:lnTo>
                    <a:pt x="765" y="900"/>
                  </a:lnTo>
                  <a:lnTo>
                    <a:pt x="752" y="934"/>
                  </a:lnTo>
                  <a:lnTo>
                    <a:pt x="736" y="965"/>
                  </a:lnTo>
                  <a:lnTo>
                    <a:pt x="716" y="993"/>
                  </a:lnTo>
                  <a:lnTo>
                    <a:pt x="692" y="1018"/>
                  </a:lnTo>
                  <a:lnTo>
                    <a:pt x="665" y="1040"/>
                  </a:lnTo>
                  <a:lnTo>
                    <a:pt x="634" y="1059"/>
                  </a:lnTo>
                  <a:lnTo>
                    <a:pt x="599" y="1075"/>
                  </a:lnTo>
                  <a:lnTo>
                    <a:pt x="562" y="1088"/>
                  </a:lnTo>
                  <a:lnTo>
                    <a:pt x="521" y="1098"/>
                  </a:lnTo>
                  <a:lnTo>
                    <a:pt x="477" y="1106"/>
                  </a:lnTo>
                  <a:lnTo>
                    <a:pt x="431" y="1110"/>
                  </a:lnTo>
                  <a:lnTo>
                    <a:pt x="431" y="1194"/>
                  </a:lnTo>
                  <a:lnTo>
                    <a:pt x="429" y="1209"/>
                  </a:lnTo>
                  <a:lnTo>
                    <a:pt x="423" y="1221"/>
                  </a:lnTo>
                  <a:lnTo>
                    <a:pt x="414" y="1231"/>
                  </a:lnTo>
                  <a:lnTo>
                    <a:pt x="402" y="1239"/>
                  </a:lnTo>
                  <a:lnTo>
                    <a:pt x="389" y="1241"/>
                  </a:lnTo>
                  <a:lnTo>
                    <a:pt x="376" y="1239"/>
                  </a:lnTo>
                  <a:lnTo>
                    <a:pt x="365" y="1231"/>
                  </a:lnTo>
                  <a:lnTo>
                    <a:pt x="356" y="1221"/>
                  </a:lnTo>
                  <a:lnTo>
                    <a:pt x="350" y="1209"/>
                  </a:lnTo>
                  <a:lnTo>
                    <a:pt x="348" y="1194"/>
                  </a:lnTo>
                  <a:lnTo>
                    <a:pt x="348" y="1110"/>
                  </a:lnTo>
                  <a:lnTo>
                    <a:pt x="300" y="1107"/>
                  </a:lnTo>
                  <a:lnTo>
                    <a:pt x="256" y="1099"/>
                  </a:lnTo>
                  <a:lnTo>
                    <a:pt x="215" y="1090"/>
                  </a:lnTo>
                  <a:lnTo>
                    <a:pt x="177" y="1077"/>
                  </a:lnTo>
                  <a:lnTo>
                    <a:pt x="144" y="1061"/>
                  </a:lnTo>
                  <a:lnTo>
                    <a:pt x="113" y="1042"/>
                  </a:lnTo>
                  <a:lnTo>
                    <a:pt x="87" y="1022"/>
                  </a:lnTo>
                  <a:lnTo>
                    <a:pt x="64" y="1001"/>
                  </a:lnTo>
                  <a:lnTo>
                    <a:pt x="44" y="978"/>
                  </a:lnTo>
                  <a:lnTo>
                    <a:pt x="29" y="954"/>
                  </a:lnTo>
                  <a:lnTo>
                    <a:pt x="16" y="930"/>
                  </a:lnTo>
                  <a:lnTo>
                    <a:pt x="7" y="906"/>
                  </a:lnTo>
                  <a:lnTo>
                    <a:pt x="1" y="881"/>
                  </a:lnTo>
                  <a:lnTo>
                    <a:pt x="0" y="858"/>
                  </a:lnTo>
                  <a:lnTo>
                    <a:pt x="2" y="836"/>
                  </a:lnTo>
                  <a:lnTo>
                    <a:pt x="8" y="818"/>
                  </a:lnTo>
                  <a:lnTo>
                    <a:pt x="17" y="801"/>
                  </a:lnTo>
                  <a:lnTo>
                    <a:pt x="30" y="788"/>
                  </a:lnTo>
                  <a:lnTo>
                    <a:pt x="45" y="779"/>
                  </a:lnTo>
                  <a:lnTo>
                    <a:pt x="64" y="774"/>
                  </a:lnTo>
                  <a:lnTo>
                    <a:pt x="85" y="772"/>
                  </a:lnTo>
                  <a:lnTo>
                    <a:pt x="106" y="773"/>
                  </a:lnTo>
                  <a:lnTo>
                    <a:pt x="124" y="777"/>
                  </a:lnTo>
                  <a:lnTo>
                    <a:pt x="139" y="783"/>
                  </a:lnTo>
                  <a:lnTo>
                    <a:pt x="150" y="792"/>
                  </a:lnTo>
                  <a:lnTo>
                    <a:pt x="159" y="802"/>
                  </a:lnTo>
                  <a:lnTo>
                    <a:pt x="167" y="813"/>
                  </a:lnTo>
                  <a:lnTo>
                    <a:pt x="173" y="826"/>
                  </a:lnTo>
                  <a:lnTo>
                    <a:pt x="178" y="839"/>
                  </a:lnTo>
                  <a:lnTo>
                    <a:pt x="184" y="853"/>
                  </a:lnTo>
                  <a:lnTo>
                    <a:pt x="189" y="867"/>
                  </a:lnTo>
                  <a:lnTo>
                    <a:pt x="194" y="882"/>
                  </a:lnTo>
                  <a:lnTo>
                    <a:pt x="201" y="897"/>
                  </a:lnTo>
                  <a:lnTo>
                    <a:pt x="210" y="910"/>
                  </a:lnTo>
                  <a:lnTo>
                    <a:pt x="219" y="924"/>
                  </a:lnTo>
                  <a:lnTo>
                    <a:pt x="233" y="935"/>
                  </a:lnTo>
                  <a:lnTo>
                    <a:pt x="247" y="945"/>
                  </a:lnTo>
                  <a:lnTo>
                    <a:pt x="266" y="955"/>
                  </a:lnTo>
                  <a:lnTo>
                    <a:pt x="289" y="962"/>
                  </a:lnTo>
                  <a:lnTo>
                    <a:pt x="317" y="967"/>
                  </a:lnTo>
                  <a:lnTo>
                    <a:pt x="348" y="970"/>
                  </a:lnTo>
                  <a:lnTo>
                    <a:pt x="348" y="684"/>
                  </a:lnTo>
                  <a:lnTo>
                    <a:pt x="299" y="674"/>
                  </a:lnTo>
                  <a:lnTo>
                    <a:pt x="254" y="662"/>
                  </a:lnTo>
                  <a:lnTo>
                    <a:pt x="211" y="646"/>
                  </a:lnTo>
                  <a:lnTo>
                    <a:pt x="173" y="629"/>
                  </a:lnTo>
                  <a:lnTo>
                    <a:pt x="139" y="611"/>
                  </a:lnTo>
                  <a:lnTo>
                    <a:pt x="108" y="589"/>
                  </a:lnTo>
                  <a:lnTo>
                    <a:pt x="82" y="565"/>
                  </a:lnTo>
                  <a:lnTo>
                    <a:pt x="60" y="538"/>
                  </a:lnTo>
                  <a:lnTo>
                    <a:pt x="43" y="509"/>
                  </a:lnTo>
                  <a:lnTo>
                    <a:pt x="31" y="477"/>
                  </a:lnTo>
                  <a:lnTo>
                    <a:pt x="23" y="443"/>
                  </a:lnTo>
                  <a:lnTo>
                    <a:pt x="20" y="407"/>
                  </a:lnTo>
                  <a:lnTo>
                    <a:pt x="23" y="368"/>
                  </a:lnTo>
                  <a:lnTo>
                    <a:pt x="30" y="333"/>
                  </a:lnTo>
                  <a:lnTo>
                    <a:pt x="41" y="300"/>
                  </a:lnTo>
                  <a:lnTo>
                    <a:pt x="56" y="269"/>
                  </a:lnTo>
                  <a:lnTo>
                    <a:pt x="74" y="242"/>
                  </a:lnTo>
                  <a:lnTo>
                    <a:pt x="96" y="217"/>
                  </a:lnTo>
                  <a:lnTo>
                    <a:pt x="120" y="196"/>
                  </a:lnTo>
                  <a:lnTo>
                    <a:pt x="147" y="176"/>
                  </a:lnTo>
                  <a:lnTo>
                    <a:pt x="176" y="160"/>
                  </a:lnTo>
                  <a:lnTo>
                    <a:pt x="209" y="147"/>
                  </a:lnTo>
                  <a:lnTo>
                    <a:pt x="241" y="135"/>
                  </a:lnTo>
                  <a:lnTo>
                    <a:pt x="276" y="127"/>
                  </a:lnTo>
                  <a:lnTo>
                    <a:pt x="312" y="122"/>
                  </a:lnTo>
                  <a:lnTo>
                    <a:pt x="348" y="120"/>
                  </a:lnTo>
                  <a:lnTo>
                    <a:pt x="348" y="47"/>
                  </a:lnTo>
                  <a:lnTo>
                    <a:pt x="350" y="33"/>
                  </a:lnTo>
                  <a:lnTo>
                    <a:pt x="356" y="20"/>
                  </a:lnTo>
                  <a:lnTo>
                    <a:pt x="365" y="9"/>
                  </a:lnTo>
                  <a:lnTo>
                    <a:pt x="376" y="3"/>
                  </a:lnTo>
                  <a:lnTo>
                    <a:pt x="389"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grpSp>
        <p:nvGrpSpPr>
          <p:cNvPr id="5" name="Group 81"/>
          <p:cNvGrpSpPr/>
          <p:nvPr/>
        </p:nvGrpSpPr>
        <p:grpSpPr>
          <a:xfrm>
            <a:off x="6941850" y="1946190"/>
            <a:ext cx="652464" cy="716757"/>
            <a:chOff x="592138" y="2925763"/>
            <a:chExt cx="434976" cy="477838"/>
          </a:xfrm>
          <a:solidFill>
            <a:sysClr val="window" lastClr="FFFFFF"/>
          </a:solidFill>
        </p:grpSpPr>
        <p:sp>
          <p:nvSpPr>
            <p:cNvPr id="148" name="Freeform 37"/>
            <p:cNvSpPr>
              <a:spLocks noEditPoints="1"/>
            </p:cNvSpPr>
            <p:nvPr/>
          </p:nvSpPr>
          <p:spPr bwMode="auto">
            <a:xfrm>
              <a:off x="663576" y="2998788"/>
              <a:ext cx="292100" cy="404813"/>
            </a:xfrm>
            <a:custGeom>
              <a:avLst/>
              <a:gdLst>
                <a:gd name="T0" fmla="*/ 750 w 2029"/>
                <a:gd name="T1" fmla="*/ 299 h 2800"/>
                <a:gd name="T2" fmla="*/ 479 w 2029"/>
                <a:gd name="T3" fmla="*/ 466 h 2800"/>
                <a:gd name="T4" fmla="*/ 304 w 2029"/>
                <a:gd name="T5" fmla="*/ 723 h 2800"/>
                <a:gd name="T6" fmla="*/ 259 w 2029"/>
                <a:gd name="T7" fmla="*/ 1034 h 2800"/>
                <a:gd name="T8" fmla="*/ 314 w 2029"/>
                <a:gd name="T9" fmla="*/ 1283 h 2800"/>
                <a:gd name="T10" fmla="*/ 414 w 2029"/>
                <a:gd name="T11" fmla="*/ 1472 h 2800"/>
                <a:gd name="T12" fmla="*/ 530 w 2029"/>
                <a:gd name="T13" fmla="*/ 1646 h 2800"/>
                <a:gd name="T14" fmla="*/ 603 w 2029"/>
                <a:gd name="T15" fmla="*/ 1843 h 2800"/>
                <a:gd name="T16" fmla="*/ 647 w 2029"/>
                <a:gd name="T17" fmla="*/ 1978 h 2800"/>
                <a:gd name="T18" fmla="*/ 1346 w 2029"/>
                <a:gd name="T19" fmla="*/ 2011 h 2800"/>
                <a:gd name="T20" fmla="*/ 1421 w 2029"/>
                <a:gd name="T21" fmla="*/ 1912 h 2800"/>
                <a:gd name="T22" fmla="*/ 1460 w 2029"/>
                <a:gd name="T23" fmla="*/ 1721 h 2800"/>
                <a:gd name="T24" fmla="*/ 1570 w 2029"/>
                <a:gd name="T25" fmla="*/ 1538 h 2800"/>
                <a:gd name="T26" fmla="*/ 1678 w 2029"/>
                <a:gd name="T27" fmla="*/ 1364 h 2800"/>
                <a:gd name="T28" fmla="*/ 1756 w 2029"/>
                <a:gd name="T29" fmla="*/ 1143 h 2800"/>
                <a:gd name="T30" fmla="*/ 1760 w 2029"/>
                <a:gd name="T31" fmla="*/ 844 h 2800"/>
                <a:gd name="T32" fmla="*/ 1634 w 2029"/>
                <a:gd name="T33" fmla="*/ 559 h 2800"/>
                <a:gd name="T34" fmla="*/ 1397 w 2029"/>
                <a:gd name="T35" fmla="*/ 352 h 2800"/>
                <a:gd name="T36" fmla="*/ 1084 w 2029"/>
                <a:gd name="T37" fmla="*/ 258 h 2800"/>
                <a:gd name="T38" fmla="*/ 1258 w 2029"/>
                <a:gd name="T39" fmla="*/ 29 h 2800"/>
                <a:gd name="T40" fmla="*/ 1613 w 2029"/>
                <a:gd name="T41" fmla="*/ 188 h 2800"/>
                <a:gd name="T42" fmla="*/ 1877 w 2029"/>
                <a:gd name="T43" fmla="*/ 461 h 2800"/>
                <a:gd name="T44" fmla="*/ 2015 w 2029"/>
                <a:gd name="T45" fmla="*/ 815 h 2800"/>
                <a:gd name="T46" fmla="*/ 2013 w 2029"/>
                <a:gd name="T47" fmla="*/ 1166 h 2800"/>
                <a:gd name="T48" fmla="*/ 1934 w 2029"/>
                <a:gd name="T49" fmla="*/ 1424 h 2800"/>
                <a:gd name="T50" fmla="*/ 1825 w 2029"/>
                <a:gd name="T51" fmla="*/ 1617 h 2800"/>
                <a:gd name="T52" fmla="*/ 1714 w 2029"/>
                <a:gd name="T53" fmla="*/ 1785 h 2800"/>
                <a:gd name="T54" fmla="*/ 1677 w 2029"/>
                <a:gd name="T55" fmla="*/ 1934 h 2800"/>
                <a:gd name="T56" fmla="*/ 1572 w 2029"/>
                <a:gd name="T57" fmla="*/ 2150 h 2800"/>
                <a:gd name="T58" fmla="*/ 1487 w 2029"/>
                <a:gd name="T59" fmla="*/ 2294 h 2800"/>
                <a:gd name="T60" fmla="*/ 1480 w 2029"/>
                <a:gd name="T61" fmla="*/ 2429 h 2800"/>
                <a:gd name="T62" fmla="*/ 1476 w 2029"/>
                <a:gd name="T63" fmla="*/ 2492 h 2800"/>
                <a:gd name="T64" fmla="*/ 1446 w 2029"/>
                <a:gd name="T65" fmla="*/ 2575 h 2800"/>
                <a:gd name="T66" fmla="*/ 1340 w 2029"/>
                <a:gd name="T67" fmla="*/ 2666 h 2800"/>
                <a:gd name="T68" fmla="*/ 1184 w 2029"/>
                <a:gd name="T69" fmla="*/ 2779 h 2800"/>
                <a:gd name="T70" fmla="*/ 891 w 2029"/>
                <a:gd name="T71" fmla="*/ 2798 h 2800"/>
                <a:gd name="T72" fmla="*/ 762 w 2029"/>
                <a:gd name="T73" fmla="*/ 2698 h 2800"/>
                <a:gd name="T74" fmla="*/ 607 w 2029"/>
                <a:gd name="T75" fmla="*/ 2606 h 2800"/>
                <a:gd name="T76" fmla="*/ 556 w 2029"/>
                <a:gd name="T77" fmla="*/ 2509 h 2800"/>
                <a:gd name="T78" fmla="*/ 551 w 2029"/>
                <a:gd name="T79" fmla="*/ 2466 h 2800"/>
                <a:gd name="T80" fmla="*/ 545 w 2029"/>
                <a:gd name="T81" fmla="*/ 2350 h 2800"/>
                <a:gd name="T82" fmla="*/ 538 w 2029"/>
                <a:gd name="T83" fmla="*/ 2221 h 2800"/>
                <a:gd name="T84" fmla="*/ 376 w 2029"/>
                <a:gd name="T85" fmla="*/ 2025 h 2800"/>
                <a:gd name="T86" fmla="*/ 340 w 2029"/>
                <a:gd name="T87" fmla="*/ 1839 h 2800"/>
                <a:gd name="T88" fmla="*/ 248 w 2029"/>
                <a:gd name="T89" fmla="*/ 1682 h 2800"/>
                <a:gd name="T90" fmla="*/ 138 w 2029"/>
                <a:gd name="T91" fmla="*/ 1508 h 2800"/>
                <a:gd name="T92" fmla="*/ 41 w 2029"/>
                <a:gd name="T93" fmla="*/ 1278 h 2800"/>
                <a:gd name="T94" fmla="*/ 0 w 2029"/>
                <a:gd name="T95" fmla="*/ 973 h 2800"/>
                <a:gd name="T96" fmla="*/ 80 w 2029"/>
                <a:gd name="T97" fmla="*/ 595 h 2800"/>
                <a:gd name="T98" fmla="*/ 298 w 2029"/>
                <a:gd name="T99" fmla="*/ 286 h 2800"/>
                <a:gd name="T100" fmla="*/ 621 w 2029"/>
                <a:gd name="T101" fmla="*/ 77 h 2800"/>
                <a:gd name="T102" fmla="*/ 1014 w 2029"/>
                <a:gd name="T103" fmla="*/ 0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9" h="2800">
                  <a:moveTo>
                    <a:pt x="1014" y="255"/>
                  </a:moveTo>
                  <a:lnTo>
                    <a:pt x="945" y="258"/>
                  </a:lnTo>
                  <a:lnTo>
                    <a:pt x="878" y="266"/>
                  </a:lnTo>
                  <a:lnTo>
                    <a:pt x="813" y="281"/>
                  </a:lnTo>
                  <a:lnTo>
                    <a:pt x="750" y="299"/>
                  </a:lnTo>
                  <a:lnTo>
                    <a:pt x="690" y="324"/>
                  </a:lnTo>
                  <a:lnTo>
                    <a:pt x="632" y="354"/>
                  </a:lnTo>
                  <a:lnTo>
                    <a:pt x="578" y="387"/>
                  </a:lnTo>
                  <a:lnTo>
                    <a:pt x="527" y="424"/>
                  </a:lnTo>
                  <a:lnTo>
                    <a:pt x="479" y="466"/>
                  </a:lnTo>
                  <a:lnTo>
                    <a:pt x="435" y="511"/>
                  </a:lnTo>
                  <a:lnTo>
                    <a:pt x="396" y="559"/>
                  </a:lnTo>
                  <a:lnTo>
                    <a:pt x="361" y="611"/>
                  </a:lnTo>
                  <a:lnTo>
                    <a:pt x="330" y="666"/>
                  </a:lnTo>
                  <a:lnTo>
                    <a:pt x="304" y="723"/>
                  </a:lnTo>
                  <a:lnTo>
                    <a:pt x="284" y="783"/>
                  </a:lnTo>
                  <a:lnTo>
                    <a:pt x="270" y="844"/>
                  </a:lnTo>
                  <a:lnTo>
                    <a:pt x="260" y="908"/>
                  </a:lnTo>
                  <a:lnTo>
                    <a:pt x="257" y="973"/>
                  </a:lnTo>
                  <a:lnTo>
                    <a:pt x="259" y="1034"/>
                  </a:lnTo>
                  <a:lnTo>
                    <a:pt x="264" y="1090"/>
                  </a:lnTo>
                  <a:lnTo>
                    <a:pt x="273" y="1143"/>
                  </a:lnTo>
                  <a:lnTo>
                    <a:pt x="284" y="1193"/>
                  </a:lnTo>
                  <a:lnTo>
                    <a:pt x="298" y="1240"/>
                  </a:lnTo>
                  <a:lnTo>
                    <a:pt x="314" y="1283"/>
                  </a:lnTo>
                  <a:lnTo>
                    <a:pt x="331" y="1325"/>
                  </a:lnTo>
                  <a:lnTo>
                    <a:pt x="351" y="1364"/>
                  </a:lnTo>
                  <a:lnTo>
                    <a:pt x="371" y="1402"/>
                  </a:lnTo>
                  <a:lnTo>
                    <a:pt x="393" y="1437"/>
                  </a:lnTo>
                  <a:lnTo>
                    <a:pt x="414" y="1472"/>
                  </a:lnTo>
                  <a:lnTo>
                    <a:pt x="437" y="1505"/>
                  </a:lnTo>
                  <a:lnTo>
                    <a:pt x="458" y="1537"/>
                  </a:lnTo>
                  <a:lnTo>
                    <a:pt x="483" y="1573"/>
                  </a:lnTo>
                  <a:lnTo>
                    <a:pt x="507" y="1610"/>
                  </a:lnTo>
                  <a:lnTo>
                    <a:pt x="530" y="1646"/>
                  </a:lnTo>
                  <a:lnTo>
                    <a:pt x="551" y="1683"/>
                  </a:lnTo>
                  <a:lnTo>
                    <a:pt x="569" y="1721"/>
                  </a:lnTo>
                  <a:lnTo>
                    <a:pt x="584" y="1760"/>
                  </a:lnTo>
                  <a:lnTo>
                    <a:pt x="595" y="1800"/>
                  </a:lnTo>
                  <a:lnTo>
                    <a:pt x="603" y="1843"/>
                  </a:lnTo>
                  <a:lnTo>
                    <a:pt x="605" y="1888"/>
                  </a:lnTo>
                  <a:lnTo>
                    <a:pt x="608" y="1912"/>
                  </a:lnTo>
                  <a:lnTo>
                    <a:pt x="617" y="1936"/>
                  </a:lnTo>
                  <a:lnTo>
                    <a:pt x="630" y="1958"/>
                  </a:lnTo>
                  <a:lnTo>
                    <a:pt x="647" y="1978"/>
                  </a:lnTo>
                  <a:lnTo>
                    <a:pt x="665" y="1996"/>
                  </a:lnTo>
                  <a:lnTo>
                    <a:pt x="683" y="2011"/>
                  </a:lnTo>
                  <a:lnTo>
                    <a:pt x="701" y="2025"/>
                  </a:lnTo>
                  <a:lnTo>
                    <a:pt x="1328" y="2025"/>
                  </a:lnTo>
                  <a:lnTo>
                    <a:pt x="1346" y="2011"/>
                  </a:lnTo>
                  <a:lnTo>
                    <a:pt x="1364" y="1996"/>
                  </a:lnTo>
                  <a:lnTo>
                    <a:pt x="1383" y="1978"/>
                  </a:lnTo>
                  <a:lnTo>
                    <a:pt x="1399" y="1958"/>
                  </a:lnTo>
                  <a:lnTo>
                    <a:pt x="1412" y="1936"/>
                  </a:lnTo>
                  <a:lnTo>
                    <a:pt x="1421" y="1912"/>
                  </a:lnTo>
                  <a:lnTo>
                    <a:pt x="1424" y="1888"/>
                  </a:lnTo>
                  <a:lnTo>
                    <a:pt x="1426" y="1843"/>
                  </a:lnTo>
                  <a:lnTo>
                    <a:pt x="1434" y="1800"/>
                  </a:lnTo>
                  <a:lnTo>
                    <a:pt x="1445" y="1760"/>
                  </a:lnTo>
                  <a:lnTo>
                    <a:pt x="1460" y="1721"/>
                  </a:lnTo>
                  <a:lnTo>
                    <a:pt x="1478" y="1684"/>
                  </a:lnTo>
                  <a:lnTo>
                    <a:pt x="1498" y="1646"/>
                  </a:lnTo>
                  <a:lnTo>
                    <a:pt x="1520" y="1610"/>
                  </a:lnTo>
                  <a:lnTo>
                    <a:pt x="1545" y="1574"/>
                  </a:lnTo>
                  <a:lnTo>
                    <a:pt x="1570" y="1538"/>
                  </a:lnTo>
                  <a:lnTo>
                    <a:pt x="1592" y="1506"/>
                  </a:lnTo>
                  <a:lnTo>
                    <a:pt x="1614" y="1473"/>
                  </a:lnTo>
                  <a:lnTo>
                    <a:pt x="1636" y="1438"/>
                  </a:lnTo>
                  <a:lnTo>
                    <a:pt x="1658" y="1402"/>
                  </a:lnTo>
                  <a:lnTo>
                    <a:pt x="1678" y="1364"/>
                  </a:lnTo>
                  <a:lnTo>
                    <a:pt x="1698" y="1325"/>
                  </a:lnTo>
                  <a:lnTo>
                    <a:pt x="1715" y="1283"/>
                  </a:lnTo>
                  <a:lnTo>
                    <a:pt x="1731" y="1240"/>
                  </a:lnTo>
                  <a:lnTo>
                    <a:pt x="1745" y="1193"/>
                  </a:lnTo>
                  <a:lnTo>
                    <a:pt x="1756" y="1143"/>
                  </a:lnTo>
                  <a:lnTo>
                    <a:pt x="1765" y="1090"/>
                  </a:lnTo>
                  <a:lnTo>
                    <a:pt x="1770" y="1034"/>
                  </a:lnTo>
                  <a:lnTo>
                    <a:pt x="1772" y="973"/>
                  </a:lnTo>
                  <a:lnTo>
                    <a:pt x="1769" y="908"/>
                  </a:lnTo>
                  <a:lnTo>
                    <a:pt x="1760" y="844"/>
                  </a:lnTo>
                  <a:lnTo>
                    <a:pt x="1745" y="782"/>
                  </a:lnTo>
                  <a:lnTo>
                    <a:pt x="1725" y="723"/>
                  </a:lnTo>
                  <a:lnTo>
                    <a:pt x="1700" y="666"/>
                  </a:lnTo>
                  <a:lnTo>
                    <a:pt x="1668" y="610"/>
                  </a:lnTo>
                  <a:lnTo>
                    <a:pt x="1634" y="559"/>
                  </a:lnTo>
                  <a:lnTo>
                    <a:pt x="1594" y="511"/>
                  </a:lnTo>
                  <a:lnTo>
                    <a:pt x="1550" y="466"/>
                  </a:lnTo>
                  <a:lnTo>
                    <a:pt x="1503" y="424"/>
                  </a:lnTo>
                  <a:lnTo>
                    <a:pt x="1451" y="386"/>
                  </a:lnTo>
                  <a:lnTo>
                    <a:pt x="1397" y="352"/>
                  </a:lnTo>
                  <a:lnTo>
                    <a:pt x="1339" y="324"/>
                  </a:lnTo>
                  <a:lnTo>
                    <a:pt x="1278" y="299"/>
                  </a:lnTo>
                  <a:lnTo>
                    <a:pt x="1216" y="281"/>
                  </a:lnTo>
                  <a:lnTo>
                    <a:pt x="1151" y="266"/>
                  </a:lnTo>
                  <a:lnTo>
                    <a:pt x="1084" y="258"/>
                  </a:lnTo>
                  <a:lnTo>
                    <a:pt x="1014" y="255"/>
                  </a:lnTo>
                  <a:close/>
                  <a:moveTo>
                    <a:pt x="1014" y="0"/>
                  </a:moveTo>
                  <a:lnTo>
                    <a:pt x="1097" y="3"/>
                  </a:lnTo>
                  <a:lnTo>
                    <a:pt x="1179" y="13"/>
                  </a:lnTo>
                  <a:lnTo>
                    <a:pt x="1258" y="29"/>
                  </a:lnTo>
                  <a:lnTo>
                    <a:pt x="1335" y="50"/>
                  </a:lnTo>
                  <a:lnTo>
                    <a:pt x="1408" y="77"/>
                  </a:lnTo>
                  <a:lnTo>
                    <a:pt x="1480" y="109"/>
                  </a:lnTo>
                  <a:lnTo>
                    <a:pt x="1548" y="147"/>
                  </a:lnTo>
                  <a:lnTo>
                    <a:pt x="1613" y="188"/>
                  </a:lnTo>
                  <a:lnTo>
                    <a:pt x="1673" y="235"/>
                  </a:lnTo>
                  <a:lnTo>
                    <a:pt x="1731" y="286"/>
                  </a:lnTo>
                  <a:lnTo>
                    <a:pt x="1783" y="340"/>
                  </a:lnTo>
                  <a:lnTo>
                    <a:pt x="1833" y="399"/>
                  </a:lnTo>
                  <a:lnTo>
                    <a:pt x="1877" y="461"/>
                  </a:lnTo>
                  <a:lnTo>
                    <a:pt x="1915" y="526"/>
                  </a:lnTo>
                  <a:lnTo>
                    <a:pt x="1949" y="595"/>
                  </a:lnTo>
                  <a:lnTo>
                    <a:pt x="1976" y="667"/>
                  </a:lnTo>
                  <a:lnTo>
                    <a:pt x="1999" y="739"/>
                  </a:lnTo>
                  <a:lnTo>
                    <a:pt x="2015" y="815"/>
                  </a:lnTo>
                  <a:lnTo>
                    <a:pt x="2025" y="893"/>
                  </a:lnTo>
                  <a:lnTo>
                    <a:pt x="2029" y="973"/>
                  </a:lnTo>
                  <a:lnTo>
                    <a:pt x="2026" y="1041"/>
                  </a:lnTo>
                  <a:lnTo>
                    <a:pt x="2021" y="1105"/>
                  </a:lnTo>
                  <a:lnTo>
                    <a:pt x="2013" y="1166"/>
                  </a:lnTo>
                  <a:lnTo>
                    <a:pt x="2001" y="1224"/>
                  </a:lnTo>
                  <a:lnTo>
                    <a:pt x="1988" y="1278"/>
                  </a:lnTo>
                  <a:lnTo>
                    <a:pt x="1972" y="1329"/>
                  </a:lnTo>
                  <a:lnTo>
                    <a:pt x="1953" y="1378"/>
                  </a:lnTo>
                  <a:lnTo>
                    <a:pt x="1934" y="1424"/>
                  </a:lnTo>
                  <a:lnTo>
                    <a:pt x="1913" y="1466"/>
                  </a:lnTo>
                  <a:lnTo>
                    <a:pt x="1892" y="1507"/>
                  </a:lnTo>
                  <a:lnTo>
                    <a:pt x="1869" y="1546"/>
                  </a:lnTo>
                  <a:lnTo>
                    <a:pt x="1847" y="1583"/>
                  </a:lnTo>
                  <a:lnTo>
                    <a:pt x="1825" y="1617"/>
                  </a:lnTo>
                  <a:lnTo>
                    <a:pt x="1803" y="1649"/>
                  </a:lnTo>
                  <a:lnTo>
                    <a:pt x="1781" y="1681"/>
                  </a:lnTo>
                  <a:lnTo>
                    <a:pt x="1756" y="1719"/>
                  </a:lnTo>
                  <a:lnTo>
                    <a:pt x="1733" y="1753"/>
                  </a:lnTo>
                  <a:lnTo>
                    <a:pt x="1714" y="1785"/>
                  </a:lnTo>
                  <a:lnTo>
                    <a:pt x="1700" y="1813"/>
                  </a:lnTo>
                  <a:lnTo>
                    <a:pt x="1689" y="1839"/>
                  </a:lnTo>
                  <a:lnTo>
                    <a:pt x="1682" y="1864"/>
                  </a:lnTo>
                  <a:lnTo>
                    <a:pt x="1680" y="1888"/>
                  </a:lnTo>
                  <a:lnTo>
                    <a:pt x="1677" y="1934"/>
                  </a:lnTo>
                  <a:lnTo>
                    <a:pt x="1667" y="1980"/>
                  </a:lnTo>
                  <a:lnTo>
                    <a:pt x="1652" y="2025"/>
                  </a:lnTo>
                  <a:lnTo>
                    <a:pt x="1630" y="2068"/>
                  </a:lnTo>
                  <a:lnTo>
                    <a:pt x="1604" y="2110"/>
                  </a:lnTo>
                  <a:lnTo>
                    <a:pt x="1572" y="2150"/>
                  </a:lnTo>
                  <a:lnTo>
                    <a:pt x="1534" y="2187"/>
                  </a:lnTo>
                  <a:lnTo>
                    <a:pt x="1491" y="2221"/>
                  </a:lnTo>
                  <a:lnTo>
                    <a:pt x="1490" y="2242"/>
                  </a:lnTo>
                  <a:lnTo>
                    <a:pt x="1489" y="2267"/>
                  </a:lnTo>
                  <a:lnTo>
                    <a:pt x="1487" y="2294"/>
                  </a:lnTo>
                  <a:lnTo>
                    <a:pt x="1486" y="2322"/>
                  </a:lnTo>
                  <a:lnTo>
                    <a:pt x="1484" y="2350"/>
                  </a:lnTo>
                  <a:lnTo>
                    <a:pt x="1483" y="2378"/>
                  </a:lnTo>
                  <a:lnTo>
                    <a:pt x="1481" y="2405"/>
                  </a:lnTo>
                  <a:lnTo>
                    <a:pt x="1480" y="2429"/>
                  </a:lnTo>
                  <a:lnTo>
                    <a:pt x="1479" y="2449"/>
                  </a:lnTo>
                  <a:lnTo>
                    <a:pt x="1478" y="2466"/>
                  </a:lnTo>
                  <a:lnTo>
                    <a:pt x="1478" y="2476"/>
                  </a:lnTo>
                  <a:lnTo>
                    <a:pt x="1476" y="2479"/>
                  </a:lnTo>
                  <a:lnTo>
                    <a:pt x="1476" y="2492"/>
                  </a:lnTo>
                  <a:lnTo>
                    <a:pt x="1474" y="2506"/>
                  </a:lnTo>
                  <a:lnTo>
                    <a:pt x="1470" y="2522"/>
                  </a:lnTo>
                  <a:lnTo>
                    <a:pt x="1465" y="2539"/>
                  </a:lnTo>
                  <a:lnTo>
                    <a:pt x="1457" y="2557"/>
                  </a:lnTo>
                  <a:lnTo>
                    <a:pt x="1446" y="2575"/>
                  </a:lnTo>
                  <a:lnTo>
                    <a:pt x="1432" y="2594"/>
                  </a:lnTo>
                  <a:lnTo>
                    <a:pt x="1416" y="2613"/>
                  </a:lnTo>
                  <a:lnTo>
                    <a:pt x="1395" y="2631"/>
                  </a:lnTo>
                  <a:lnTo>
                    <a:pt x="1370" y="2650"/>
                  </a:lnTo>
                  <a:lnTo>
                    <a:pt x="1340" y="2666"/>
                  </a:lnTo>
                  <a:lnTo>
                    <a:pt x="1307" y="2683"/>
                  </a:lnTo>
                  <a:lnTo>
                    <a:pt x="1267" y="2698"/>
                  </a:lnTo>
                  <a:lnTo>
                    <a:pt x="1244" y="2727"/>
                  </a:lnTo>
                  <a:lnTo>
                    <a:pt x="1216" y="2754"/>
                  </a:lnTo>
                  <a:lnTo>
                    <a:pt x="1184" y="2779"/>
                  </a:lnTo>
                  <a:lnTo>
                    <a:pt x="1162" y="2790"/>
                  </a:lnTo>
                  <a:lnTo>
                    <a:pt x="1138" y="2798"/>
                  </a:lnTo>
                  <a:lnTo>
                    <a:pt x="1113" y="2800"/>
                  </a:lnTo>
                  <a:lnTo>
                    <a:pt x="916" y="2800"/>
                  </a:lnTo>
                  <a:lnTo>
                    <a:pt x="891" y="2798"/>
                  </a:lnTo>
                  <a:lnTo>
                    <a:pt x="867" y="2790"/>
                  </a:lnTo>
                  <a:lnTo>
                    <a:pt x="845" y="2779"/>
                  </a:lnTo>
                  <a:lnTo>
                    <a:pt x="813" y="2754"/>
                  </a:lnTo>
                  <a:lnTo>
                    <a:pt x="785" y="2727"/>
                  </a:lnTo>
                  <a:lnTo>
                    <a:pt x="762" y="2698"/>
                  </a:lnTo>
                  <a:lnTo>
                    <a:pt x="720" y="2681"/>
                  </a:lnTo>
                  <a:lnTo>
                    <a:pt x="684" y="2664"/>
                  </a:lnTo>
                  <a:lnTo>
                    <a:pt x="653" y="2646"/>
                  </a:lnTo>
                  <a:lnTo>
                    <a:pt x="628" y="2626"/>
                  </a:lnTo>
                  <a:lnTo>
                    <a:pt x="607" y="2606"/>
                  </a:lnTo>
                  <a:lnTo>
                    <a:pt x="590" y="2585"/>
                  </a:lnTo>
                  <a:lnTo>
                    <a:pt x="578" y="2566"/>
                  </a:lnTo>
                  <a:lnTo>
                    <a:pt x="567" y="2546"/>
                  </a:lnTo>
                  <a:lnTo>
                    <a:pt x="561" y="2527"/>
                  </a:lnTo>
                  <a:lnTo>
                    <a:pt x="556" y="2509"/>
                  </a:lnTo>
                  <a:lnTo>
                    <a:pt x="554" y="2494"/>
                  </a:lnTo>
                  <a:lnTo>
                    <a:pt x="552" y="2479"/>
                  </a:lnTo>
                  <a:lnTo>
                    <a:pt x="552" y="2479"/>
                  </a:lnTo>
                  <a:lnTo>
                    <a:pt x="552" y="2476"/>
                  </a:lnTo>
                  <a:lnTo>
                    <a:pt x="551" y="2466"/>
                  </a:lnTo>
                  <a:lnTo>
                    <a:pt x="550" y="2449"/>
                  </a:lnTo>
                  <a:lnTo>
                    <a:pt x="549" y="2429"/>
                  </a:lnTo>
                  <a:lnTo>
                    <a:pt x="548" y="2405"/>
                  </a:lnTo>
                  <a:lnTo>
                    <a:pt x="546" y="2378"/>
                  </a:lnTo>
                  <a:lnTo>
                    <a:pt x="545" y="2350"/>
                  </a:lnTo>
                  <a:lnTo>
                    <a:pt x="543" y="2322"/>
                  </a:lnTo>
                  <a:lnTo>
                    <a:pt x="542" y="2294"/>
                  </a:lnTo>
                  <a:lnTo>
                    <a:pt x="540" y="2267"/>
                  </a:lnTo>
                  <a:lnTo>
                    <a:pt x="539" y="2242"/>
                  </a:lnTo>
                  <a:lnTo>
                    <a:pt x="538" y="2221"/>
                  </a:lnTo>
                  <a:lnTo>
                    <a:pt x="495" y="2187"/>
                  </a:lnTo>
                  <a:lnTo>
                    <a:pt x="457" y="2150"/>
                  </a:lnTo>
                  <a:lnTo>
                    <a:pt x="425" y="2110"/>
                  </a:lnTo>
                  <a:lnTo>
                    <a:pt x="398" y="2068"/>
                  </a:lnTo>
                  <a:lnTo>
                    <a:pt x="376" y="2025"/>
                  </a:lnTo>
                  <a:lnTo>
                    <a:pt x="362" y="1980"/>
                  </a:lnTo>
                  <a:lnTo>
                    <a:pt x="352" y="1934"/>
                  </a:lnTo>
                  <a:lnTo>
                    <a:pt x="349" y="1888"/>
                  </a:lnTo>
                  <a:lnTo>
                    <a:pt x="347" y="1864"/>
                  </a:lnTo>
                  <a:lnTo>
                    <a:pt x="340" y="1839"/>
                  </a:lnTo>
                  <a:lnTo>
                    <a:pt x="329" y="1813"/>
                  </a:lnTo>
                  <a:lnTo>
                    <a:pt x="315" y="1785"/>
                  </a:lnTo>
                  <a:lnTo>
                    <a:pt x="296" y="1753"/>
                  </a:lnTo>
                  <a:lnTo>
                    <a:pt x="274" y="1719"/>
                  </a:lnTo>
                  <a:lnTo>
                    <a:pt x="248" y="1682"/>
                  </a:lnTo>
                  <a:lnTo>
                    <a:pt x="227" y="1650"/>
                  </a:lnTo>
                  <a:lnTo>
                    <a:pt x="205" y="1617"/>
                  </a:lnTo>
                  <a:lnTo>
                    <a:pt x="182" y="1583"/>
                  </a:lnTo>
                  <a:lnTo>
                    <a:pt x="160" y="1546"/>
                  </a:lnTo>
                  <a:lnTo>
                    <a:pt x="138" y="1508"/>
                  </a:lnTo>
                  <a:lnTo>
                    <a:pt x="116" y="1466"/>
                  </a:lnTo>
                  <a:lnTo>
                    <a:pt x="95" y="1424"/>
                  </a:lnTo>
                  <a:lnTo>
                    <a:pt x="76" y="1378"/>
                  </a:lnTo>
                  <a:lnTo>
                    <a:pt x="57" y="1329"/>
                  </a:lnTo>
                  <a:lnTo>
                    <a:pt x="41" y="1278"/>
                  </a:lnTo>
                  <a:lnTo>
                    <a:pt x="28" y="1224"/>
                  </a:lnTo>
                  <a:lnTo>
                    <a:pt x="16" y="1166"/>
                  </a:lnTo>
                  <a:lnTo>
                    <a:pt x="8" y="1105"/>
                  </a:lnTo>
                  <a:lnTo>
                    <a:pt x="2" y="1041"/>
                  </a:lnTo>
                  <a:lnTo>
                    <a:pt x="0" y="973"/>
                  </a:lnTo>
                  <a:lnTo>
                    <a:pt x="4" y="893"/>
                  </a:lnTo>
                  <a:lnTo>
                    <a:pt x="14" y="815"/>
                  </a:lnTo>
                  <a:lnTo>
                    <a:pt x="30" y="739"/>
                  </a:lnTo>
                  <a:lnTo>
                    <a:pt x="53" y="667"/>
                  </a:lnTo>
                  <a:lnTo>
                    <a:pt x="80" y="595"/>
                  </a:lnTo>
                  <a:lnTo>
                    <a:pt x="114" y="526"/>
                  </a:lnTo>
                  <a:lnTo>
                    <a:pt x="152" y="461"/>
                  </a:lnTo>
                  <a:lnTo>
                    <a:pt x="196" y="399"/>
                  </a:lnTo>
                  <a:lnTo>
                    <a:pt x="246" y="340"/>
                  </a:lnTo>
                  <a:lnTo>
                    <a:pt x="298" y="286"/>
                  </a:lnTo>
                  <a:lnTo>
                    <a:pt x="356" y="235"/>
                  </a:lnTo>
                  <a:lnTo>
                    <a:pt x="416" y="188"/>
                  </a:lnTo>
                  <a:lnTo>
                    <a:pt x="481" y="147"/>
                  </a:lnTo>
                  <a:lnTo>
                    <a:pt x="549" y="109"/>
                  </a:lnTo>
                  <a:lnTo>
                    <a:pt x="621" y="77"/>
                  </a:lnTo>
                  <a:lnTo>
                    <a:pt x="695" y="50"/>
                  </a:lnTo>
                  <a:lnTo>
                    <a:pt x="771" y="29"/>
                  </a:lnTo>
                  <a:lnTo>
                    <a:pt x="850" y="13"/>
                  </a:lnTo>
                  <a:lnTo>
                    <a:pt x="932" y="3"/>
                  </a:lnTo>
                  <a:lnTo>
                    <a:pt x="101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49" name="Freeform 38"/>
            <p:cNvSpPr>
              <a:spLocks/>
            </p:cNvSpPr>
            <p:nvPr/>
          </p:nvSpPr>
          <p:spPr bwMode="auto">
            <a:xfrm>
              <a:off x="800101" y="2925763"/>
              <a:ext cx="19050" cy="46038"/>
            </a:xfrm>
            <a:custGeom>
              <a:avLst/>
              <a:gdLst>
                <a:gd name="T0" fmla="*/ 63 w 127"/>
                <a:gd name="T1" fmla="*/ 0 h 318"/>
                <a:gd name="T2" fmla="*/ 63 w 127"/>
                <a:gd name="T3" fmla="*/ 0 h 318"/>
                <a:gd name="T4" fmla="*/ 80 w 127"/>
                <a:gd name="T5" fmla="*/ 2 h 318"/>
                <a:gd name="T6" fmla="*/ 96 w 127"/>
                <a:gd name="T7" fmla="*/ 9 h 318"/>
                <a:gd name="T8" fmla="*/ 109 w 127"/>
                <a:gd name="T9" fmla="*/ 19 h 318"/>
                <a:gd name="T10" fmla="*/ 119 w 127"/>
                <a:gd name="T11" fmla="*/ 32 h 318"/>
                <a:gd name="T12" fmla="*/ 125 w 127"/>
                <a:gd name="T13" fmla="*/ 47 h 318"/>
                <a:gd name="T14" fmla="*/ 127 w 127"/>
                <a:gd name="T15" fmla="*/ 64 h 318"/>
                <a:gd name="T16" fmla="*/ 127 w 127"/>
                <a:gd name="T17" fmla="*/ 254 h 318"/>
                <a:gd name="T18" fmla="*/ 125 w 127"/>
                <a:gd name="T19" fmla="*/ 272 h 318"/>
                <a:gd name="T20" fmla="*/ 119 w 127"/>
                <a:gd name="T21" fmla="*/ 286 h 318"/>
                <a:gd name="T22" fmla="*/ 109 w 127"/>
                <a:gd name="T23" fmla="*/ 300 h 318"/>
                <a:gd name="T24" fmla="*/ 96 w 127"/>
                <a:gd name="T25" fmla="*/ 309 h 318"/>
                <a:gd name="T26" fmla="*/ 80 w 127"/>
                <a:gd name="T27" fmla="*/ 315 h 318"/>
                <a:gd name="T28" fmla="*/ 63 w 127"/>
                <a:gd name="T29" fmla="*/ 318 h 318"/>
                <a:gd name="T30" fmla="*/ 47 w 127"/>
                <a:gd name="T31" fmla="*/ 315 h 318"/>
                <a:gd name="T32" fmla="*/ 31 w 127"/>
                <a:gd name="T33" fmla="*/ 309 h 318"/>
                <a:gd name="T34" fmla="*/ 18 w 127"/>
                <a:gd name="T35" fmla="*/ 300 h 318"/>
                <a:gd name="T36" fmla="*/ 8 w 127"/>
                <a:gd name="T37" fmla="*/ 286 h 318"/>
                <a:gd name="T38" fmla="*/ 2 w 127"/>
                <a:gd name="T39" fmla="*/ 272 h 318"/>
                <a:gd name="T40" fmla="*/ 0 w 127"/>
                <a:gd name="T41" fmla="*/ 254 h 318"/>
                <a:gd name="T42" fmla="*/ 0 w 127"/>
                <a:gd name="T43" fmla="*/ 64 h 318"/>
                <a:gd name="T44" fmla="*/ 2 w 127"/>
                <a:gd name="T45" fmla="*/ 47 h 318"/>
                <a:gd name="T46" fmla="*/ 8 w 127"/>
                <a:gd name="T47" fmla="*/ 32 h 318"/>
                <a:gd name="T48" fmla="*/ 18 w 127"/>
                <a:gd name="T49" fmla="*/ 19 h 318"/>
                <a:gd name="T50" fmla="*/ 31 w 127"/>
                <a:gd name="T51" fmla="*/ 9 h 318"/>
                <a:gd name="T52" fmla="*/ 47 w 127"/>
                <a:gd name="T53" fmla="*/ 2 h 318"/>
                <a:gd name="T54" fmla="*/ 63 w 127"/>
                <a:gd name="T5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 h="318">
                  <a:moveTo>
                    <a:pt x="63" y="0"/>
                  </a:moveTo>
                  <a:lnTo>
                    <a:pt x="63" y="0"/>
                  </a:lnTo>
                  <a:lnTo>
                    <a:pt x="80" y="2"/>
                  </a:lnTo>
                  <a:lnTo>
                    <a:pt x="96" y="9"/>
                  </a:lnTo>
                  <a:lnTo>
                    <a:pt x="109" y="19"/>
                  </a:lnTo>
                  <a:lnTo>
                    <a:pt x="119" y="32"/>
                  </a:lnTo>
                  <a:lnTo>
                    <a:pt x="125" y="47"/>
                  </a:lnTo>
                  <a:lnTo>
                    <a:pt x="127" y="64"/>
                  </a:lnTo>
                  <a:lnTo>
                    <a:pt x="127" y="254"/>
                  </a:lnTo>
                  <a:lnTo>
                    <a:pt x="125" y="272"/>
                  </a:lnTo>
                  <a:lnTo>
                    <a:pt x="119" y="286"/>
                  </a:lnTo>
                  <a:lnTo>
                    <a:pt x="109" y="300"/>
                  </a:lnTo>
                  <a:lnTo>
                    <a:pt x="96" y="309"/>
                  </a:lnTo>
                  <a:lnTo>
                    <a:pt x="80" y="315"/>
                  </a:lnTo>
                  <a:lnTo>
                    <a:pt x="63" y="318"/>
                  </a:lnTo>
                  <a:lnTo>
                    <a:pt x="47" y="315"/>
                  </a:lnTo>
                  <a:lnTo>
                    <a:pt x="31" y="309"/>
                  </a:lnTo>
                  <a:lnTo>
                    <a:pt x="18" y="300"/>
                  </a:lnTo>
                  <a:lnTo>
                    <a:pt x="8" y="286"/>
                  </a:lnTo>
                  <a:lnTo>
                    <a:pt x="2" y="272"/>
                  </a:lnTo>
                  <a:lnTo>
                    <a:pt x="0" y="254"/>
                  </a:lnTo>
                  <a:lnTo>
                    <a:pt x="0" y="64"/>
                  </a:lnTo>
                  <a:lnTo>
                    <a:pt x="2" y="47"/>
                  </a:lnTo>
                  <a:lnTo>
                    <a:pt x="8" y="32"/>
                  </a:lnTo>
                  <a:lnTo>
                    <a:pt x="18" y="19"/>
                  </a:lnTo>
                  <a:lnTo>
                    <a:pt x="31" y="9"/>
                  </a:lnTo>
                  <a:lnTo>
                    <a:pt x="47" y="2"/>
                  </a:lnTo>
                  <a:lnTo>
                    <a:pt x="63"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0" name="Freeform 39"/>
            <p:cNvSpPr>
              <a:spLocks/>
            </p:cNvSpPr>
            <p:nvPr/>
          </p:nvSpPr>
          <p:spPr bwMode="auto">
            <a:xfrm>
              <a:off x="696913" y="2954338"/>
              <a:ext cx="31750" cy="41275"/>
            </a:xfrm>
            <a:custGeom>
              <a:avLst/>
              <a:gdLst>
                <a:gd name="T0" fmla="*/ 64 w 224"/>
                <a:gd name="T1" fmla="*/ 0 h 293"/>
                <a:gd name="T2" fmla="*/ 80 w 224"/>
                <a:gd name="T3" fmla="*/ 2 h 293"/>
                <a:gd name="T4" fmla="*/ 95 w 224"/>
                <a:gd name="T5" fmla="*/ 8 h 293"/>
                <a:gd name="T6" fmla="*/ 109 w 224"/>
                <a:gd name="T7" fmla="*/ 18 h 293"/>
                <a:gd name="T8" fmla="*/ 119 w 224"/>
                <a:gd name="T9" fmla="*/ 32 h 293"/>
                <a:gd name="T10" fmla="*/ 216 w 224"/>
                <a:gd name="T11" fmla="*/ 197 h 293"/>
                <a:gd name="T12" fmla="*/ 222 w 224"/>
                <a:gd name="T13" fmla="*/ 213 h 293"/>
                <a:gd name="T14" fmla="*/ 224 w 224"/>
                <a:gd name="T15" fmla="*/ 230 h 293"/>
                <a:gd name="T16" fmla="*/ 222 w 224"/>
                <a:gd name="T17" fmla="*/ 245 h 293"/>
                <a:gd name="T18" fmla="*/ 216 w 224"/>
                <a:gd name="T19" fmla="*/ 261 h 293"/>
                <a:gd name="T20" fmla="*/ 206 w 224"/>
                <a:gd name="T21" fmla="*/ 274 h 293"/>
                <a:gd name="T22" fmla="*/ 193 w 224"/>
                <a:gd name="T23" fmla="*/ 285 h 293"/>
                <a:gd name="T24" fmla="*/ 177 w 224"/>
                <a:gd name="T25" fmla="*/ 291 h 293"/>
                <a:gd name="T26" fmla="*/ 160 w 224"/>
                <a:gd name="T27" fmla="*/ 293 h 293"/>
                <a:gd name="T28" fmla="*/ 143 w 224"/>
                <a:gd name="T29" fmla="*/ 291 h 293"/>
                <a:gd name="T30" fmla="*/ 129 w 224"/>
                <a:gd name="T31" fmla="*/ 285 h 293"/>
                <a:gd name="T32" fmla="*/ 115 w 224"/>
                <a:gd name="T33" fmla="*/ 274 h 293"/>
                <a:gd name="T34" fmla="*/ 105 w 224"/>
                <a:gd name="T35" fmla="*/ 261 h 293"/>
                <a:gd name="T36" fmla="*/ 8 w 224"/>
                <a:gd name="T37" fmla="*/ 95 h 293"/>
                <a:gd name="T38" fmla="*/ 2 w 224"/>
                <a:gd name="T39" fmla="*/ 80 h 293"/>
                <a:gd name="T40" fmla="*/ 0 w 224"/>
                <a:gd name="T41" fmla="*/ 63 h 293"/>
                <a:gd name="T42" fmla="*/ 2 w 224"/>
                <a:gd name="T43" fmla="*/ 48 h 293"/>
                <a:gd name="T44" fmla="*/ 8 w 224"/>
                <a:gd name="T45" fmla="*/ 32 h 293"/>
                <a:gd name="T46" fmla="*/ 19 w 224"/>
                <a:gd name="T47" fmla="*/ 19 h 293"/>
                <a:gd name="T48" fmla="*/ 31 w 224"/>
                <a:gd name="T49" fmla="*/ 9 h 293"/>
                <a:gd name="T50" fmla="*/ 48 w 224"/>
                <a:gd name="T51" fmla="*/ 2 h 293"/>
                <a:gd name="T52" fmla="*/ 64 w 224"/>
                <a:gd name="T5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3">
                  <a:moveTo>
                    <a:pt x="64" y="0"/>
                  </a:moveTo>
                  <a:lnTo>
                    <a:pt x="80" y="2"/>
                  </a:lnTo>
                  <a:lnTo>
                    <a:pt x="95" y="8"/>
                  </a:lnTo>
                  <a:lnTo>
                    <a:pt x="109" y="18"/>
                  </a:lnTo>
                  <a:lnTo>
                    <a:pt x="119" y="32"/>
                  </a:lnTo>
                  <a:lnTo>
                    <a:pt x="216" y="197"/>
                  </a:lnTo>
                  <a:lnTo>
                    <a:pt x="222" y="213"/>
                  </a:lnTo>
                  <a:lnTo>
                    <a:pt x="224" y="230"/>
                  </a:lnTo>
                  <a:lnTo>
                    <a:pt x="222" y="245"/>
                  </a:lnTo>
                  <a:lnTo>
                    <a:pt x="216" y="261"/>
                  </a:lnTo>
                  <a:lnTo>
                    <a:pt x="206" y="274"/>
                  </a:lnTo>
                  <a:lnTo>
                    <a:pt x="193" y="285"/>
                  </a:lnTo>
                  <a:lnTo>
                    <a:pt x="177" y="291"/>
                  </a:lnTo>
                  <a:lnTo>
                    <a:pt x="160" y="293"/>
                  </a:lnTo>
                  <a:lnTo>
                    <a:pt x="143" y="291"/>
                  </a:lnTo>
                  <a:lnTo>
                    <a:pt x="129" y="285"/>
                  </a:lnTo>
                  <a:lnTo>
                    <a:pt x="115" y="274"/>
                  </a:lnTo>
                  <a:lnTo>
                    <a:pt x="105" y="261"/>
                  </a:lnTo>
                  <a:lnTo>
                    <a:pt x="8" y="95"/>
                  </a:lnTo>
                  <a:lnTo>
                    <a:pt x="2" y="80"/>
                  </a:lnTo>
                  <a:lnTo>
                    <a:pt x="0" y="63"/>
                  </a:lnTo>
                  <a:lnTo>
                    <a:pt x="2" y="48"/>
                  </a:lnTo>
                  <a:lnTo>
                    <a:pt x="8" y="32"/>
                  </a:lnTo>
                  <a:lnTo>
                    <a:pt x="19" y="19"/>
                  </a:lnTo>
                  <a:lnTo>
                    <a:pt x="31" y="9"/>
                  </a:lnTo>
                  <a:lnTo>
                    <a:pt x="48" y="2"/>
                  </a:lnTo>
                  <a:lnTo>
                    <a:pt x="6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1" name="Freeform 40"/>
            <p:cNvSpPr>
              <a:spLocks/>
            </p:cNvSpPr>
            <p:nvPr/>
          </p:nvSpPr>
          <p:spPr bwMode="auto">
            <a:xfrm>
              <a:off x="620713" y="3028950"/>
              <a:ext cx="41275" cy="33338"/>
            </a:xfrm>
            <a:custGeom>
              <a:avLst/>
              <a:gdLst>
                <a:gd name="T0" fmla="*/ 64 w 294"/>
                <a:gd name="T1" fmla="*/ 0 h 222"/>
                <a:gd name="T2" fmla="*/ 79 w 294"/>
                <a:gd name="T3" fmla="*/ 2 h 222"/>
                <a:gd name="T4" fmla="*/ 96 w 294"/>
                <a:gd name="T5" fmla="*/ 8 h 222"/>
                <a:gd name="T6" fmla="*/ 263 w 294"/>
                <a:gd name="T7" fmla="*/ 103 h 222"/>
                <a:gd name="T8" fmla="*/ 276 w 294"/>
                <a:gd name="T9" fmla="*/ 114 h 222"/>
                <a:gd name="T10" fmla="*/ 286 w 294"/>
                <a:gd name="T11" fmla="*/ 127 h 222"/>
                <a:gd name="T12" fmla="*/ 292 w 294"/>
                <a:gd name="T13" fmla="*/ 142 h 222"/>
                <a:gd name="T14" fmla="*/ 294 w 294"/>
                <a:gd name="T15" fmla="*/ 158 h 222"/>
                <a:gd name="T16" fmla="*/ 292 w 294"/>
                <a:gd name="T17" fmla="*/ 175 h 222"/>
                <a:gd name="T18" fmla="*/ 286 w 294"/>
                <a:gd name="T19" fmla="*/ 190 h 222"/>
                <a:gd name="T20" fmla="*/ 275 w 294"/>
                <a:gd name="T21" fmla="*/ 204 h 222"/>
                <a:gd name="T22" fmla="*/ 262 w 294"/>
                <a:gd name="T23" fmla="*/ 214 h 222"/>
                <a:gd name="T24" fmla="*/ 246 w 294"/>
                <a:gd name="T25" fmla="*/ 220 h 222"/>
                <a:gd name="T26" fmla="*/ 230 w 294"/>
                <a:gd name="T27" fmla="*/ 222 h 222"/>
                <a:gd name="T28" fmla="*/ 213 w 294"/>
                <a:gd name="T29" fmla="*/ 220 h 222"/>
                <a:gd name="T30" fmla="*/ 198 w 294"/>
                <a:gd name="T31" fmla="*/ 213 h 222"/>
                <a:gd name="T32" fmla="*/ 31 w 294"/>
                <a:gd name="T33" fmla="*/ 118 h 222"/>
                <a:gd name="T34" fmla="*/ 18 w 294"/>
                <a:gd name="T35" fmla="*/ 108 h 222"/>
                <a:gd name="T36" fmla="*/ 8 w 294"/>
                <a:gd name="T37" fmla="*/ 95 h 222"/>
                <a:gd name="T38" fmla="*/ 2 w 294"/>
                <a:gd name="T39" fmla="*/ 80 h 222"/>
                <a:gd name="T40" fmla="*/ 0 w 294"/>
                <a:gd name="T41" fmla="*/ 63 h 222"/>
                <a:gd name="T42" fmla="*/ 2 w 294"/>
                <a:gd name="T43" fmla="*/ 47 h 222"/>
                <a:gd name="T44" fmla="*/ 8 w 294"/>
                <a:gd name="T45" fmla="*/ 31 h 222"/>
                <a:gd name="T46" fmla="*/ 19 w 294"/>
                <a:gd name="T47" fmla="*/ 18 h 222"/>
                <a:gd name="T48" fmla="*/ 32 w 294"/>
                <a:gd name="T49" fmla="*/ 8 h 222"/>
                <a:gd name="T50" fmla="*/ 47 w 294"/>
                <a:gd name="T51" fmla="*/ 2 h 222"/>
                <a:gd name="T52" fmla="*/ 64 w 294"/>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2">
                  <a:moveTo>
                    <a:pt x="64" y="0"/>
                  </a:moveTo>
                  <a:lnTo>
                    <a:pt x="79" y="2"/>
                  </a:lnTo>
                  <a:lnTo>
                    <a:pt x="96" y="8"/>
                  </a:lnTo>
                  <a:lnTo>
                    <a:pt x="263" y="103"/>
                  </a:lnTo>
                  <a:lnTo>
                    <a:pt x="276" y="114"/>
                  </a:lnTo>
                  <a:lnTo>
                    <a:pt x="286" y="127"/>
                  </a:lnTo>
                  <a:lnTo>
                    <a:pt x="292" y="142"/>
                  </a:lnTo>
                  <a:lnTo>
                    <a:pt x="294" y="158"/>
                  </a:lnTo>
                  <a:lnTo>
                    <a:pt x="292" y="175"/>
                  </a:lnTo>
                  <a:lnTo>
                    <a:pt x="286" y="190"/>
                  </a:lnTo>
                  <a:lnTo>
                    <a:pt x="275" y="204"/>
                  </a:lnTo>
                  <a:lnTo>
                    <a:pt x="262" y="214"/>
                  </a:lnTo>
                  <a:lnTo>
                    <a:pt x="246" y="220"/>
                  </a:lnTo>
                  <a:lnTo>
                    <a:pt x="230" y="222"/>
                  </a:lnTo>
                  <a:lnTo>
                    <a:pt x="213" y="220"/>
                  </a:lnTo>
                  <a:lnTo>
                    <a:pt x="198" y="213"/>
                  </a:lnTo>
                  <a:lnTo>
                    <a:pt x="31" y="118"/>
                  </a:lnTo>
                  <a:lnTo>
                    <a:pt x="18" y="108"/>
                  </a:lnTo>
                  <a:lnTo>
                    <a:pt x="8" y="95"/>
                  </a:lnTo>
                  <a:lnTo>
                    <a:pt x="2" y="80"/>
                  </a:lnTo>
                  <a:lnTo>
                    <a:pt x="0" y="63"/>
                  </a:lnTo>
                  <a:lnTo>
                    <a:pt x="2" y="47"/>
                  </a:lnTo>
                  <a:lnTo>
                    <a:pt x="8" y="31"/>
                  </a:lnTo>
                  <a:lnTo>
                    <a:pt x="19" y="18"/>
                  </a:lnTo>
                  <a:lnTo>
                    <a:pt x="32" y="8"/>
                  </a:lnTo>
                  <a:lnTo>
                    <a:pt x="47" y="2"/>
                  </a:lnTo>
                  <a:lnTo>
                    <a:pt x="6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2" name="Freeform 41"/>
            <p:cNvSpPr>
              <a:spLocks/>
            </p:cNvSpPr>
            <p:nvPr/>
          </p:nvSpPr>
          <p:spPr bwMode="auto">
            <a:xfrm>
              <a:off x="592138" y="3132138"/>
              <a:ext cx="46038" cy="19050"/>
            </a:xfrm>
            <a:custGeom>
              <a:avLst/>
              <a:gdLst>
                <a:gd name="T0" fmla="*/ 64 w 321"/>
                <a:gd name="T1" fmla="*/ 0 h 128"/>
                <a:gd name="T2" fmla="*/ 257 w 321"/>
                <a:gd name="T3" fmla="*/ 0 h 128"/>
                <a:gd name="T4" fmla="*/ 273 w 321"/>
                <a:gd name="T5" fmla="*/ 4 h 128"/>
                <a:gd name="T6" fmla="*/ 289 w 321"/>
                <a:gd name="T7" fmla="*/ 10 h 128"/>
                <a:gd name="T8" fmla="*/ 302 w 321"/>
                <a:gd name="T9" fmla="*/ 19 h 128"/>
                <a:gd name="T10" fmla="*/ 312 w 321"/>
                <a:gd name="T11" fmla="*/ 33 h 128"/>
                <a:gd name="T12" fmla="*/ 318 w 321"/>
                <a:gd name="T13" fmla="*/ 47 h 128"/>
                <a:gd name="T14" fmla="*/ 321 w 321"/>
                <a:gd name="T15" fmla="*/ 65 h 128"/>
                <a:gd name="T16" fmla="*/ 318 w 321"/>
                <a:gd name="T17" fmla="*/ 82 h 128"/>
                <a:gd name="T18" fmla="*/ 312 w 321"/>
                <a:gd name="T19" fmla="*/ 96 h 128"/>
                <a:gd name="T20" fmla="*/ 302 w 321"/>
                <a:gd name="T21" fmla="*/ 110 h 128"/>
                <a:gd name="T22" fmla="*/ 289 w 321"/>
                <a:gd name="T23" fmla="*/ 119 h 128"/>
                <a:gd name="T24" fmla="*/ 273 w 321"/>
                <a:gd name="T25" fmla="*/ 126 h 128"/>
                <a:gd name="T26" fmla="*/ 257 w 321"/>
                <a:gd name="T27" fmla="*/ 128 h 128"/>
                <a:gd name="T28" fmla="*/ 64 w 321"/>
                <a:gd name="T29" fmla="*/ 128 h 128"/>
                <a:gd name="T30" fmla="*/ 47 w 321"/>
                <a:gd name="T31" fmla="*/ 126 h 128"/>
                <a:gd name="T32" fmla="*/ 32 w 321"/>
                <a:gd name="T33" fmla="*/ 119 h 128"/>
                <a:gd name="T34" fmla="*/ 19 w 321"/>
                <a:gd name="T35" fmla="*/ 110 h 128"/>
                <a:gd name="T36" fmla="*/ 9 w 321"/>
                <a:gd name="T37" fmla="*/ 96 h 128"/>
                <a:gd name="T38" fmla="*/ 2 w 321"/>
                <a:gd name="T39" fmla="*/ 82 h 128"/>
                <a:gd name="T40" fmla="*/ 0 w 321"/>
                <a:gd name="T41" fmla="*/ 65 h 128"/>
                <a:gd name="T42" fmla="*/ 2 w 321"/>
                <a:gd name="T43" fmla="*/ 47 h 128"/>
                <a:gd name="T44" fmla="*/ 9 w 321"/>
                <a:gd name="T45" fmla="*/ 33 h 128"/>
                <a:gd name="T46" fmla="*/ 19 w 321"/>
                <a:gd name="T47" fmla="*/ 19 h 128"/>
                <a:gd name="T48" fmla="*/ 32 w 321"/>
                <a:gd name="T49" fmla="*/ 10 h 128"/>
                <a:gd name="T50" fmla="*/ 47 w 321"/>
                <a:gd name="T51" fmla="*/ 4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3" y="4"/>
                  </a:lnTo>
                  <a:lnTo>
                    <a:pt x="289" y="10"/>
                  </a:lnTo>
                  <a:lnTo>
                    <a:pt x="302" y="19"/>
                  </a:lnTo>
                  <a:lnTo>
                    <a:pt x="312" y="33"/>
                  </a:lnTo>
                  <a:lnTo>
                    <a:pt x="318" y="47"/>
                  </a:lnTo>
                  <a:lnTo>
                    <a:pt x="321" y="65"/>
                  </a:lnTo>
                  <a:lnTo>
                    <a:pt x="318" y="82"/>
                  </a:lnTo>
                  <a:lnTo>
                    <a:pt x="312" y="96"/>
                  </a:lnTo>
                  <a:lnTo>
                    <a:pt x="302" y="110"/>
                  </a:lnTo>
                  <a:lnTo>
                    <a:pt x="289" y="119"/>
                  </a:lnTo>
                  <a:lnTo>
                    <a:pt x="273" y="126"/>
                  </a:lnTo>
                  <a:lnTo>
                    <a:pt x="257" y="128"/>
                  </a:lnTo>
                  <a:lnTo>
                    <a:pt x="64" y="128"/>
                  </a:lnTo>
                  <a:lnTo>
                    <a:pt x="47" y="126"/>
                  </a:lnTo>
                  <a:lnTo>
                    <a:pt x="32" y="119"/>
                  </a:lnTo>
                  <a:lnTo>
                    <a:pt x="19" y="110"/>
                  </a:lnTo>
                  <a:lnTo>
                    <a:pt x="9" y="96"/>
                  </a:lnTo>
                  <a:lnTo>
                    <a:pt x="2" y="82"/>
                  </a:lnTo>
                  <a:lnTo>
                    <a:pt x="0" y="65"/>
                  </a:lnTo>
                  <a:lnTo>
                    <a:pt x="2" y="47"/>
                  </a:lnTo>
                  <a:lnTo>
                    <a:pt x="9" y="33"/>
                  </a:lnTo>
                  <a:lnTo>
                    <a:pt x="19" y="19"/>
                  </a:lnTo>
                  <a:lnTo>
                    <a:pt x="32" y="10"/>
                  </a:lnTo>
                  <a:lnTo>
                    <a:pt x="47" y="4"/>
                  </a:lnTo>
                  <a:lnTo>
                    <a:pt x="6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3" name="Freeform 42"/>
            <p:cNvSpPr>
              <a:spLocks/>
            </p:cNvSpPr>
            <p:nvPr/>
          </p:nvSpPr>
          <p:spPr bwMode="auto">
            <a:xfrm>
              <a:off x="620713" y="3222625"/>
              <a:ext cx="41275" cy="31750"/>
            </a:xfrm>
            <a:custGeom>
              <a:avLst/>
              <a:gdLst>
                <a:gd name="T0" fmla="*/ 230 w 294"/>
                <a:gd name="T1" fmla="*/ 0 h 224"/>
                <a:gd name="T2" fmla="*/ 247 w 294"/>
                <a:gd name="T3" fmla="*/ 3 h 224"/>
                <a:gd name="T4" fmla="*/ 262 w 294"/>
                <a:gd name="T5" fmla="*/ 9 h 224"/>
                <a:gd name="T6" fmla="*/ 275 w 294"/>
                <a:gd name="T7" fmla="*/ 19 h 224"/>
                <a:gd name="T8" fmla="*/ 286 w 294"/>
                <a:gd name="T9" fmla="*/ 33 h 224"/>
                <a:gd name="T10" fmla="*/ 292 w 294"/>
                <a:gd name="T11" fmla="*/ 48 h 224"/>
                <a:gd name="T12" fmla="*/ 294 w 294"/>
                <a:gd name="T13" fmla="*/ 65 h 224"/>
                <a:gd name="T14" fmla="*/ 292 w 294"/>
                <a:gd name="T15" fmla="*/ 80 h 224"/>
                <a:gd name="T16" fmla="*/ 286 w 294"/>
                <a:gd name="T17" fmla="*/ 96 h 224"/>
                <a:gd name="T18" fmla="*/ 275 w 294"/>
                <a:gd name="T19" fmla="*/ 110 h 224"/>
                <a:gd name="T20" fmla="*/ 263 w 294"/>
                <a:gd name="T21" fmla="*/ 120 h 224"/>
                <a:gd name="T22" fmla="*/ 96 w 294"/>
                <a:gd name="T23" fmla="*/ 215 h 224"/>
                <a:gd name="T24" fmla="*/ 80 w 294"/>
                <a:gd name="T25" fmla="*/ 221 h 224"/>
                <a:gd name="T26" fmla="*/ 64 w 294"/>
                <a:gd name="T27" fmla="*/ 224 h 224"/>
                <a:gd name="T28" fmla="*/ 47 w 294"/>
                <a:gd name="T29" fmla="*/ 221 h 224"/>
                <a:gd name="T30" fmla="*/ 32 w 294"/>
                <a:gd name="T31" fmla="*/ 216 h 224"/>
                <a:gd name="T32" fmla="*/ 19 w 294"/>
                <a:gd name="T33" fmla="*/ 205 h 224"/>
                <a:gd name="T34" fmla="*/ 8 w 294"/>
                <a:gd name="T35" fmla="*/ 192 h 224"/>
                <a:gd name="T36" fmla="*/ 2 w 294"/>
                <a:gd name="T37" fmla="*/ 176 h 224"/>
                <a:gd name="T38" fmla="*/ 0 w 294"/>
                <a:gd name="T39" fmla="*/ 159 h 224"/>
                <a:gd name="T40" fmla="*/ 2 w 294"/>
                <a:gd name="T41" fmla="*/ 144 h 224"/>
                <a:gd name="T42" fmla="*/ 8 w 294"/>
                <a:gd name="T43" fmla="*/ 128 h 224"/>
                <a:gd name="T44" fmla="*/ 18 w 294"/>
                <a:gd name="T45" fmla="*/ 116 h 224"/>
                <a:gd name="T46" fmla="*/ 31 w 294"/>
                <a:gd name="T47" fmla="*/ 105 h 224"/>
                <a:gd name="T48" fmla="*/ 198 w 294"/>
                <a:gd name="T49" fmla="*/ 10 h 224"/>
                <a:gd name="T50" fmla="*/ 215 w 294"/>
                <a:gd name="T51" fmla="*/ 2 h 224"/>
                <a:gd name="T52" fmla="*/ 230 w 294"/>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4">
                  <a:moveTo>
                    <a:pt x="230" y="0"/>
                  </a:moveTo>
                  <a:lnTo>
                    <a:pt x="247" y="3"/>
                  </a:lnTo>
                  <a:lnTo>
                    <a:pt x="262" y="9"/>
                  </a:lnTo>
                  <a:lnTo>
                    <a:pt x="275" y="19"/>
                  </a:lnTo>
                  <a:lnTo>
                    <a:pt x="286" y="33"/>
                  </a:lnTo>
                  <a:lnTo>
                    <a:pt x="292" y="48"/>
                  </a:lnTo>
                  <a:lnTo>
                    <a:pt x="294" y="65"/>
                  </a:lnTo>
                  <a:lnTo>
                    <a:pt x="292" y="80"/>
                  </a:lnTo>
                  <a:lnTo>
                    <a:pt x="286" y="96"/>
                  </a:lnTo>
                  <a:lnTo>
                    <a:pt x="275" y="110"/>
                  </a:lnTo>
                  <a:lnTo>
                    <a:pt x="263" y="120"/>
                  </a:lnTo>
                  <a:lnTo>
                    <a:pt x="96" y="215"/>
                  </a:lnTo>
                  <a:lnTo>
                    <a:pt x="80"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4" name="Freeform 43"/>
            <p:cNvSpPr>
              <a:spLocks/>
            </p:cNvSpPr>
            <p:nvPr/>
          </p:nvSpPr>
          <p:spPr bwMode="auto">
            <a:xfrm>
              <a:off x="957263" y="3222625"/>
              <a:ext cx="41275" cy="31750"/>
            </a:xfrm>
            <a:custGeom>
              <a:avLst/>
              <a:gdLst>
                <a:gd name="T0" fmla="*/ 64 w 294"/>
                <a:gd name="T1" fmla="*/ 0 h 224"/>
                <a:gd name="T2" fmla="*/ 80 w 294"/>
                <a:gd name="T3" fmla="*/ 2 h 224"/>
                <a:gd name="T4" fmla="*/ 96 w 294"/>
                <a:gd name="T5" fmla="*/ 10 h 224"/>
                <a:gd name="T6" fmla="*/ 263 w 294"/>
                <a:gd name="T7" fmla="*/ 105 h 224"/>
                <a:gd name="T8" fmla="*/ 276 w 294"/>
                <a:gd name="T9" fmla="*/ 116 h 224"/>
                <a:gd name="T10" fmla="*/ 286 w 294"/>
                <a:gd name="T11" fmla="*/ 128 h 224"/>
                <a:gd name="T12" fmla="*/ 292 w 294"/>
                <a:gd name="T13" fmla="*/ 144 h 224"/>
                <a:gd name="T14" fmla="*/ 294 w 294"/>
                <a:gd name="T15" fmla="*/ 159 h 224"/>
                <a:gd name="T16" fmla="*/ 292 w 294"/>
                <a:gd name="T17" fmla="*/ 176 h 224"/>
                <a:gd name="T18" fmla="*/ 286 w 294"/>
                <a:gd name="T19" fmla="*/ 192 h 224"/>
                <a:gd name="T20" fmla="*/ 275 w 294"/>
                <a:gd name="T21" fmla="*/ 205 h 224"/>
                <a:gd name="T22" fmla="*/ 262 w 294"/>
                <a:gd name="T23" fmla="*/ 216 h 224"/>
                <a:gd name="T24" fmla="*/ 247 w 294"/>
                <a:gd name="T25" fmla="*/ 221 h 224"/>
                <a:gd name="T26" fmla="*/ 230 w 294"/>
                <a:gd name="T27" fmla="*/ 224 h 224"/>
                <a:gd name="T28" fmla="*/ 214 w 294"/>
                <a:gd name="T29" fmla="*/ 221 h 224"/>
                <a:gd name="T30" fmla="*/ 198 w 294"/>
                <a:gd name="T31" fmla="*/ 215 h 224"/>
                <a:gd name="T32" fmla="*/ 31 w 294"/>
                <a:gd name="T33" fmla="*/ 120 h 224"/>
                <a:gd name="T34" fmla="*/ 19 w 294"/>
                <a:gd name="T35" fmla="*/ 110 h 224"/>
                <a:gd name="T36" fmla="*/ 8 w 294"/>
                <a:gd name="T37" fmla="*/ 96 h 224"/>
                <a:gd name="T38" fmla="*/ 2 w 294"/>
                <a:gd name="T39" fmla="*/ 80 h 224"/>
                <a:gd name="T40" fmla="*/ 0 w 294"/>
                <a:gd name="T41" fmla="*/ 65 h 224"/>
                <a:gd name="T42" fmla="*/ 2 w 294"/>
                <a:gd name="T43" fmla="*/ 48 h 224"/>
                <a:gd name="T44" fmla="*/ 8 w 294"/>
                <a:gd name="T45" fmla="*/ 33 h 224"/>
                <a:gd name="T46" fmla="*/ 19 w 294"/>
                <a:gd name="T47" fmla="*/ 19 h 224"/>
                <a:gd name="T48" fmla="*/ 32 w 294"/>
                <a:gd name="T49" fmla="*/ 9 h 224"/>
                <a:gd name="T50" fmla="*/ 47 w 294"/>
                <a:gd name="T51" fmla="*/ 3 h 224"/>
                <a:gd name="T52" fmla="*/ 64 w 294"/>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4">
                  <a:moveTo>
                    <a:pt x="64" y="0"/>
                  </a:moveTo>
                  <a:lnTo>
                    <a:pt x="80" y="2"/>
                  </a:lnTo>
                  <a:lnTo>
                    <a:pt x="96" y="10"/>
                  </a:lnTo>
                  <a:lnTo>
                    <a:pt x="263" y="105"/>
                  </a:lnTo>
                  <a:lnTo>
                    <a:pt x="276" y="116"/>
                  </a:lnTo>
                  <a:lnTo>
                    <a:pt x="286" y="128"/>
                  </a:lnTo>
                  <a:lnTo>
                    <a:pt x="292" y="144"/>
                  </a:lnTo>
                  <a:lnTo>
                    <a:pt x="294" y="159"/>
                  </a:lnTo>
                  <a:lnTo>
                    <a:pt x="292" y="176"/>
                  </a:lnTo>
                  <a:lnTo>
                    <a:pt x="286" y="192"/>
                  </a:lnTo>
                  <a:lnTo>
                    <a:pt x="275" y="205"/>
                  </a:lnTo>
                  <a:lnTo>
                    <a:pt x="262" y="216"/>
                  </a:lnTo>
                  <a:lnTo>
                    <a:pt x="247" y="221"/>
                  </a:lnTo>
                  <a:lnTo>
                    <a:pt x="230" y="224"/>
                  </a:lnTo>
                  <a:lnTo>
                    <a:pt x="214" y="221"/>
                  </a:lnTo>
                  <a:lnTo>
                    <a:pt x="198" y="215"/>
                  </a:lnTo>
                  <a:lnTo>
                    <a:pt x="31" y="120"/>
                  </a:lnTo>
                  <a:lnTo>
                    <a:pt x="19" y="110"/>
                  </a:lnTo>
                  <a:lnTo>
                    <a:pt x="8" y="96"/>
                  </a:lnTo>
                  <a:lnTo>
                    <a:pt x="2" y="80"/>
                  </a:lnTo>
                  <a:lnTo>
                    <a:pt x="0" y="65"/>
                  </a:lnTo>
                  <a:lnTo>
                    <a:pt x="2" y="48"/>
                  </a:lnTo>
                  <a:lnTo>
                    <a:pt x="8" y="33"/>
                  </a:lnTo>
                  <a:lnTo>
                    <a:pt x="19" y="19"/>
                  </a:lnTo>
                  <a:lnTo>
                    <a:pt x="32" y="9"/>
                  </a:lnTo>
                  <a:lnTo>
                    <a:pt x="47" y="3"/>
                  </a:lnTo>
                  <a:lnTo>
                    <a:pt x="6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5" name="Freeform 44"/>
            <p:cNvSpPr>
              <a:spLocks/>
            </p:cNvSpPr>
            <p:nvPr/>
          </p:nvSpPr>
          <p:spPr bwMode="auto">
            <a:xfrm>
              <a:off x="981076" y="3132138"/>
              <a:ext cx="46038" cy="19050"/>
            </a:xfrm>
            <a:custGeom>
              <a:avLst/>
              <a:gdLst>
                <a:gd name="T0" fmla="*/ 64 w 321"/>
                <a:gd name="T1" fmla="*/ 0 h 128"/>
                <a:gd name="T2" fmla="*/ 257 w 321"/>
                <a:gd name="T3" fmla="*/ 0 h 128"/>
                <a:gd name="T4" fmla="*/ 274 w 321"/>
                <a:gd name="T5" fmla="*/ 4 h 128"/>
                <a:gd name="T6" fmla="*/ 290 w 321"/>
                <a:gd name="T7" fmla="*/ 10 h 128"/>
                <a:gd name="T8" fmla="*/ 302 w 321"/>
                <a:gd name="T9" fmla="*/ 19 h 128"/>
                <a:gd name="T10" fmla="*/ 312 w 321"/>
                <a:gd name="T11" fmla="*/ 33 h 128"/>
                <a:gd name="T12" fmla="*/ 319 w 321"/>
                <a:gd name="T13" fmla="*/ 47 h 128"/>
                <a:gd name="T14" fmla="*/ 321 w 321"/>
                <a:gd name="T15" fmla="*/ 65 h 128"/>
                <a:gd name="T16" fmla="*/ 319 w 321"/>
                <a:gd name="T17" fmla="*/ 82 h 128"/>
                <a:gd name="T18" fmla="*/ 312 w 321"/>
                <a:gd name="T19" fmla="*/ 96 h 128"/>
                <a:gd name="T20" fmla="*/ 302 w 321"/>
                <a:gd name="T21" fmla="*/ 110 h 128"/>
                <a:gd name="T22" fmla="*/ 290 w 321"/>
                <a:gd name="T23" fmla="*/ 119 h 128"/>
                <a:gd name="T24" fmla="*/ 274 w 321"/>
                <a:gd name="T25" fmla="*/ 126 h 128"/>
                <a:gd name="T26" fmla="*/ 257 w 321"/>
                <a:gd name="T27" fmla="*/ 128 h 128"/>
                <a:gd name="T28" fmla="*/ 64 w 321"/>
                <a:gd name="T29" fmla="*/ 128 h 128"/>
                <a:gd name="T30" fmla="*/ 48 w 321"/>
                <a:gd name="T31" fmla="*/ 126 h 128"/>
                <a:gd name="T32" fmla="*/ 32 w 321"/>
                <a:gd name="T33" fmla="*/ 119 h 128"/>
                <a:gd name="T34" fmla="*/ 19 w 321"/>
                <a:gd name="T35" fmla="*/ 110 h 128"/>
                <a:gd name="T36" fmla="*/ 9 w 321"/>
                <a:gd name="T37" fmla="*/ 96 h 128"/>
                <a:gd name="T38" fmla="*/ 3 w 321"/>
                <a:gd name="T39" fmla="*/ 82 h 128"/>
                <a:gd name="T40" fmla="*/ 0 w 321"/>
                <a:gd name="T41" fmla="*/ 65 h 128"/>
                <a:gd name="T42" fmla="*/ 3 w 321"/>
                <a:gd name="T43" fmla="*/ 47 h 128"/>
                <a:gd name="T44" fmla="*/ 9 w 321"/>
                <a:gd name="T45" fmla="*/ 33 h 128"/>
                <a:gd name="T46" fmla="*/ 19 w 321"/>
                <a:gd name="T47" fmla="*/ 19 h 128"/>
                <a:gd name="T48" fmla="*/ 32 w 321"/>
                <a:gd name="T49" fmla="*/ 10 h 128"/>
                <a:gd name="T50" fmla="*/ 48 w 321"/>
                <a:gd name="T51" fmla="*/ 4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4"/>
                  </a:lnTo>
                  <a:lnTo>
                    <a:pt x="290" y="10"/>
                  </a:lnTo>
                  <a:lnTo>
                    <a:pt x="302" y="19"/>
                  </a:lnTo>
                  <a:lnTo>
                    <a:pt x="312" y="33"/>
                  </a:lnTo>
                  <a:lnTo>
                    <a:pt x="319" y="47"/>
                  </a:lnTo>
                  <a:lnTo>
                    <a:pt x="321" y="65"/>
                  </a:lnTo>
                  <a:lnTo>
                    <a:pt x="319" y="82"/>
                  </a:lnTo>
                  <a:lnTo>
                    <a:pt x="312" y="96"/>
                  </a:lnTo>
                  <a:lnTo>
                    <a:pt x="302" y="110"/>
                  </a:lnTo>
                  <a:lnTo>
                    <a:pt x="290" y="119"/>
                  </a:lnTo>
                  <a:lnTo>
                    <a:pt x="274" y="126"/>
                  </a:lnTo>
                  <a:lnTo>
                    <a:pt x="257" y="128"/>
                  </a:lnTo>
                  <a:lnTo>
                    <a:pt x="64" y="128"/>
                  </a:lnTo>
                  <a:lnTo>
                    <a:pt x="48" y="126"/>
                  </a:lnTo>
                  <a:lnTo>
                    <a:pt x="32" y="119"/>
                  </a:lnTo>
                  <a:lnTo>
                    <a:pt x="19" y="110"/>
                  </a:lnTo>
                  <a:lnTo>
                    <a:pt x="9" y="96"/>
                  </a:lnTo>
                  <a:lnTo>
                    <a:pt x="3" y="82"/>
                  </a:lnTo>
                  <a:lnTo>
                    <a:pt x="0" y="65"/>
                  </a:lnTo>
                  <a:lnTo>
                    <a:pt x="3" y="47"/>
                  </a:lnTo>
                  <a:lnTo>
                    <a:pt x="9" y="33"/>
                  </a:lnTo>
                  <a:lnTo>
                    <a:pt x="19" y="19"/>
                  </a:lnTo>
                  <a:lnTo>
                    <a:pt x="32" y="10"/>
                  </a:lnTo>
                  <a:lnTo>
                    <a:pt x="48" y="4"/>
                  </a:lnTo>
                  <a:lnTo>
                    <a:pt x="6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6" name="Freeform 45"/>
            <p:cNvSpPr>
              <a:spLocks/>
            </p:cNvSpPr>
            <p:nvPr/>
          </p:nvSpPr>
          <p:spPr bwMode="auto">
            <a:xfrm>
              <a:off x="957263" y="3028950"/>
              <a:ext cx="41275" cy="33338"/>
            </a:xfrm>
            <a:custGeom>
              <a:avLst/>
              <a:gdLst>
                <a:gd name="T0" fmla="*/ 230 w 294"/>
                <a:gd name="T1" fmla="*/ 0 h 222"/>
                <a:gd name="T2" fmla="*/ 247 w 294"/>
                <a:gd name="T3" fmla="*/ 2 h 222"/>
                <a:gd name="T4" fmla="*/ 262 w 294"/>
                <a:gd name="T5" fmla="*/ 8 h 222"/>
                <a:gd name="T6" fmla="*/ 275 w 294"/>
                <a:gd name="T7" fmla="*/ 18 h 222"/>
                <a:gd name="T8" fmla="*/ 286 w 294"/>
                <a:gd name="T9" fmla="*/ 31 h 222"/>
                <a:gd name="T10" fmla="*/ 292 w 294"/>
                <a:gd name="T11" fmla="*/ 47 h 222"/>
                <a:gd name="T12" fmla="*/ 294 w 294"/>
                <a:gd name="T13" fmla="*/ 63 h 222"/>
                <a:gd name="T14" fmla="*/ 292 w 294"/>
                <a:gd name="T15" fmla="*/ 80 h 222"/>
                <a:gd name="T16" fmla="*/ 286 w 294"/>
                <a:gd name="T17" fmla="*/ 95 h 222"/>
                <a:gd name="T18" fmla="*/ 276 w 294"/>
                <a:gd name="T19" fmla="*/ 108 h 222"/>
                <a:gd name="T20" fmla="*/ 263 w 294"/>
                <a:gd name="T21" fmla="*/ 118 h 222"/>
                <a:gd name="T22" fmla="*/ 96 w 294"/>
                <a:gd name="T23" fmla="*/ 213 h 222"/>
                <a:gd name="T24" fmla="*/ 80 w 294"/>
                <a:gd name="T25" fmla="*/ 220 h 222"/>
                <a:gd name="T26" fmla="*/ 64 w 294"/>
                <a:gd name="T27" fmla="*/ 222 h 222"/>
                <a:gd name="T28" fmla="*/ 48 w 294"/>
                <a:gd name="T29" fmla="*/ 220 h 222"/>
                <a:gd name="T30" fmla="*/ 32 w 294"/>
                <a:gd name="T31" fmla="*/ 214 h 222"/>
                <a:gd name="T32" fmla="*/ 19 w 294"/>
                <a:gd name="T33" fmla="*/ 204 h 222"/>
                <a:gd name="T34" fmla="*/ 8 w 294"/>
                <a:gd name="T35" fmla="*/ 190 h 222"/>
                <a:gd name="T36" fmla="*/ 2 w 294"/>
                <a:gd name="T37" fmla="*/ 175 h 222"/>
                <a:gd name="T38" fmla="*/ 0 w 294"/>
                <a:gd name="T39" fmla="*/ 158 h 222"/>
                <a:gd name="T40" fmla="*/ 2 w 294"/>
                <a:gd name="T41" fmla="*/ 142 h 222"/>
                <a:gd name="T42" fmla="*/ 8 w 294"/>
                <a:gd name="T43" fmla="*/ 127 h 222"/>
                <a:gd name="T44" fmla="*/ 19 w 294"/>
                <a:gd name="T45" fmla="*/ 114 h 222"/>
                <a:gd name="T46" fmla="*/ 31 w 294"/>
                <a:gd name="T47" fmla="*/ 103 h 222"/>
                <a:gd name="T48" fmla="*/ 198 w 294"/>
                <a:gd name="T49" fmla="*/ 8 h 222"/>
                <a:gd name="T50" fmla="*/ 215 w 294"/>
                <a:gd name="T51" fmla="*/ 2 h 222"/>
                <a:gd name="T52" fmla="*/ 230 w 294"/>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2">
                  <a:moveTo>
                    <a:pt x="230" y="0"/>
                  </a:moveTo>
                  <a:lnTo>
                    <a:pt x="247" y="2"/>
                  </a:lnTo>
                  <a:lnTo>
                    <a:pt x="262" y="8"/>
                  </a:lnTo>
                  <a:lnTo>
                    <a:pt x="275" y="18"/>
                  </a:lnTo>
                  <a:lnTo>
                    <a:pt x="286" y="31"/>
                  </a:lnTo>
                  <a:lnTo>
                    <a:pt x="292" y="47"/>
                  </a:lnTo>
                  <a:lnTo>
                    <a:pt x="294" y="63"/>
                  </a:lnTo>
                  <a:lnTo>
                    <a:pt x="292" y="80"/>
                  </a:lnTo>
                  <a:lnTo>
                    <a:pt x="286" y="95"/>
                  </a:lnTo>
                  <a:lnTo>
                    <a:pt x="276" y="108"/>
                  </a:lnTo>
                  <a:lnTo>
                    <a:pt x="263" y="118"/>
                  </a:lnTo>
                  <a:lnTo>
                    <a:pt x="96" y="213"/>
                  </a:lnTo>
                  <a:lnTo>
                    <a:pt x="80" y="220"/>
                  </a:lnTo>
                  <a:lnTo>
                    <a:pt x="64" y="222"/>
                  </a:lnTo>
                  <a:lnTo>
                    <a:pt x="48" y="220"/>
                  </a:lnTo>
                  <a:lnTo>
                    <a:pt x="32" y="214"/>
                  </a:lnTo>
                  <a:lnTo>
                    <a:pt x="19" y="204"/>
                  </a:lnTo>
                  <a:lnTo>
                    <a:pt x="8" y="190"/>
                  </a:lnTo>
                  <a:lnTo>
                    <a:pt x="2" y="175"/>
                  </a:lnTo>
                  <a:lnTo>
                    <a:pt x="0" y="158"/>
                  </a:lnTo>
                  <a:lnTo>
                    <a:pt x="2" y="142"/>
                  </a:lnTo>
                  <a:lnTo>
                    <a:pt x="8" y="127"/>
                  </a:lnTo>
                  <a:lnTo>
                    <a:pt x="19" y="114"/>
                  </a:lnTo>
                  <a:lnTo>
                    <a:pt x="31" y="103"/>
                  </a:lnTo>
                  <a:lnTo>
                    <a:pt x="198" y="8"/>
                  </a:lnTo>
                  <a:lnTo>
                    <a:pt x="215" y="2"/>
                  </a:lnTo>
                  <a:lnTo>
                    <a:pt x="23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7" name="Freeform 46"/>
            <p:cNvSpPr>
              <a:spLocks/>
            </p:cNvSpPr>
            <p:nvPr/>
          </p:nvSpPr>
          <p:spPr bwMode="auto">
            <a:xfrm>
              <a:off x="890588" y="2954338"/>
              <a:ext cx="31750" cy="41275"/>
            </a:xfrm>
            <a:custGeom>
              <a:avLst/>
              <a:gdLst>
                <a:gd name="T0" fmla="*/ 159 w 224"/>
                <a:gd name="T1" fmla="*/ 0 h 292"/>
                <a:gd name="T2" fmla="*/ 176 w 224"/>
                <a:gd name="T3" fmla="*/ 2 h 292"/>
                <a:gd name="T4" fmla="*/ 192 w 224"/>
                <a:gd name="T5" fmla="*/ 9 h 292"/>
                <a:gd name="T6" fmla="*/ 205 w 224"/>
                <a:gd name="T7" fmla="*/ 19 h 292"/>
                <a:gd name="T8" fmla="*/ 216 w 224"/>
                <a:gd name="T9" fmla="*/ 32 h 292"/>
                <a:gd name="T10" fmla="*/ 222 w 224"/>
                <a:gd name="T11" fmla="*/ 48 h 292"/>
                <a:gd name="T12" fmla="*/ 224 w 224"/>
                <a:gd name="T13" fmla="*/ 63 h 292"/>
                <a:gd name="T14" fmla="*/ 222 w 224"/>
                <a:gd name="T15" fmla="*/ 80 h 292"/>
                <a:gd name="T16" fmla="*/ 216 w 224"/>
                <a:gd name="T17" fmla="*/ 95 h 292"/>
                <a:gd name="T18" fmla="*/ 119 w 224"/>
                <a:gd name="T19" fmla="*/ 261 h 292"/>
                <a:gd name="T20" fmla="*/ 109 w 224"/>
                <a:gd name="T21" fmla="*/ 274 h 292"/>
                <a:gd name="T22" fmla="*/ 95 w 224"/>
                <a:gd name="T23" fmla="*/ 285 h 292"/>
                <a:gd name="T24" fmla="*/ 81 w 224"/>
                <a:gd name="T25" fmla="*/ 290 h 292"/>
                <a:gd name="T26" fmla="*/ 64 w 224"/>
                <a:gd name="T27" fmla="*/ 292 h 292"/>
                <a:gd name="T28" fmla="*/ 48 w 224"/>
                <a:gd name="T29" fmla="*/ 290 h 292"/>
                <a:gd name="T30" fmla="*/ 32 w 224"/>
                <a:gd name="T31" fmla="*/ 284 h 292"/>
                <a:gd name="T32" fmla="*/ 18 w 224"/>
                <a:gd name="T33" fmla="*/ 273 h 292"/>
                <a:gd name="T34" fmla="*/ 8 w 224"/>
                <a:gd name="T35" fmla="*/ 261 h 292"/>
                <a:gd name="T36" fmla="*/ 2 w 224"/>
                <a:gd name="T37" fmla="*/ 245 h 292"/>
                <a:gd name="T38" fmla="*/ 0 w 224"/>
                <a:gd name="T39" fmla="*/ 230 h 292"/>
                <a:gd name="T40" fmla="*/ 2 w 224"/>
                <a:gd name="T41" fmla="*/ 213 h 292"/>
                <a:gd name="T42" fmla="*/ 8 w 224"/>
                <a:gd name="T43" fmla="*/ 197 h 292"/>
                <a:gd name="T44" fmla="*/ 105 w 224"/>
                <a:gd name="T45" fmla="*/ 32 h 292"/>
                <a:gd name="T46" fmla="*/ 115 w 224"/>
                <a:gd name="T47" fmla="*/ 18 h 292"/>
                <a:gd name="T48" fmla="*/ 129 w 224"/>
                <a:gd name="T49" fmla="*/ 8 h 292"/>
                <a:gd name="T50" fmla="*/ 144 w 224"/>
                <a:gd name="T51" fmla="*/ 2 h 292"/>
                <a:gd name="T52" fmla="*/ 159 w 22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2">
                  <a:moveTo>
                    <a:pt x="159" y="0"/>
                  </a:moveTo>
                  <a:lnTo>
                    <a:pt x="176" y="2"/>
                  </a:lnTo>
                  <a:lnTo>
                    <a:pt x="192" y="9"/>
                  </a:lnTo>
                  <a:lnTo>
                    <a:pt x="205" y="19"/>
                  </a:lnTo>
                  <a:lnTo>
                    <a:pt x="216" y="32"/>
                  </a:lnTo>
                  <a:lnTo>
                    <a:pt x="222" y="48"/>
                  </a:lnTo>
                  <a:lnTo>
                    <a:pt x="224" y="63"/>
                  </a:lnTo>
                  <a:lnTo>
                    <a:pt x="222" y="80"/>
                  </a:lnTo>
                  <a:lnTo>
                    <a:pt x="216" y="95"/>
                  </a:lnTo>
                  <a:lnTo>
                    <a:pt x="119" y="261"/>
                  </a:lnTo>
                  <a:lnTo>
                    <a:pt x="109" y="274"/>
                  </a:lnTo>
                  <a:lnTo>
                    <a:pt x="95" y="285"/>
                  </a:lnTo>
                  <a:lnTo>
                    <a:pt x="81" y="290"/>
                  </a:lnTo>
                  <a:lnTo>
                    <a:pt x="64" y="292"/>
                  </a:lnTo>
                  <a:lnTo>
                    <a:pt x="48" y="290"/>
                  </a:lnTo>
                  <a:lnTo>
                    <a:pt x="32" y="284"/>
                  </a:lnTo>
                  <a:lnTo>
                    <a:pt x="18" y="273"/>
                  </a:lnTo>
                  <a:lnTo>
                    <a:pt x="8" y="261"/>
                  </a:lnTo>
                  <a:lnTo>
                    <a:pt x="2" y="245"/>
                  </a:lnTo>
                  <a:lnTo>
                    <a:pt x="0" y="230"/>
                  </a:lnTo>
                  <a:lnTo>
                    <a:pt x="2" y="213"/>
                  </a:lnTo>
                  <a:lnTo>
                    <a:pt x="8" y="197"/>
                  </a:lnTo>
                  <a:lnTo>
                    <a:pt x="105" y="32"/>
                  </a:lnTo>
                  <a:lnTo>
                    <a:pt x="115" y="18"/>
                  </a:lnTo>
                  <a:lnTo>
                    <a:pt x="129" y="8"/>
                  </a:lnTo>
                  <a:lnTo>
                    <a:pt x="144" y="2"/>
                  </a:lnTo>
                  <a:lnTo>
                    <a:pt x="159"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8" name="Freeform 47"/>
            <p:cNvSpPr>
              <a:spLocks/>
            </p:cNvSpPr>
            <p:nvPr/>
          </p:nvSpPr>
          <p:spPr bwMode="auto">
            <a:xfrm>
              <a:off x="787401" y="3065463"/>
              <a:ext cx="44450" cy="142875"/>
            </a:xfrm>
            <a:custGeom>
              <a:avLst/>
              <a:gdLst>
                <a:gd name="T0" fmla="*/ 154 w 308"/>
                <a:gd name="T1" fmla="*/ 0 h 991"/>
                <a:gd name="T2" fmla="*/ 186 w 308"/>
                <a:gd name="T3" fmla="*/ 2 h 991"/>
                <a:gd name="T4" fmla="*/ 213 w 308"/>
                <a:gd name="T5" fmla="*/ 8 h 991"/>
                <a:gd name="T6" fmla="*/ 238 w 308"/>
                <a:gd name="T7" fmla="*/ 17 h 991"/>
                <a:gd name="T8" fmla="*/ 259 w 308"/>
                <a:gd name="T9" fmla="*/ 30 h 991"/>
                <a:gd name="T10" fmla="*/ 277 w 308"/>
                <a:gd name="T11" fmla="*/ 47 h 991"/>
                <a:gd name="T12" fmla="*/ 291 w 308"/>
                <a:gd name="T13" fmla="*/ 67 h 991"/>
                <a:gd name="T14" fmla="*/ 301 w 308"/>
                <a:gd name="T15" fmla="*/ 91 h 991"/>
                <a:gd name="T16" fmla="*/ 306 w 308"/>
                <a:gd name="T17" fmla="*/ 119 h 991"/>
                <a:gd name="T18" fmla="*/ 308 w 308"/>
                <a:gd name="T19" fmla="*/ 150 h 991"/>
                <a:gd name="T20" fmla="*/ 308 w 308"/>
                <a:gd name="T21" fmla="*/ 375 h 991"/>
                <a:gd name="T22" fmla="*/ 307 w 308"/>
                <a:gd name="T23" fmla="*/ 405 h 991"/>
                <a:gd name="T24" fmla="*/ 304 w 308"/>
                <a:gd name="T25" fmla="*/ 435 h 991"/>
                <a:gd name="T26" fmla="*/ 301 w 308"/>
                <a:gd name="T27" fmla="*/ 466 h 991"/>
                <a:gd name="T28" fmla="*/ 240 w 308"/>
                <a:gd name="T29" fmla="*/ 920 h 991"/>
                <a:gd name="T30" fmla="*/ 236 w 308"/>
                <a:gd name="T31" fmla="*/ 942 h 991"/>
                <a:gd name="T32" fmla="*/ 229 w 308"/>
                <a:gd name="T33" fmla="*/ 959 h 991"/>
                <a:gd name="T34" fmla="*/ 219 w 308"/>
                <a:gd name="T35" fmla="*/ 972 h 991"/>
                <a:gd name="T36" fmla="*/ 207 w 308"/>
                <a:gd name="T37" fmla="*/ 981 h 991"/>
                <a:gd name="T38" fmla="*/ 192 w 308"/>
                <a:gd name="T39" fmla="*/ 987 h 991"/>
                <a:gd name="T40" fmla="*/ 174 w 308"/>
                <a:gd name="T41" fmla="*/ 990 h 991"/>
                <a:gd name="T42" fmla="*/ 154 w 308"/>
                <a:gd name="T43" fmla="*/ 991 h 991"/>
                <a:gd name="T44" fmla="*/ 135 w 308"/>
                <a:gd name="T45" fmla="*/ 990 h 991"/>
                <a:gd name="T46" fmla="*/ 117 w 308"/>
                <a:gd name="T47" fmla="*/ 987 h 991"/>
                <a:gd name="T48" fmla="*/ 102 w 308"/>
                <a:gd name="T49" fmla="*/ 981 h 991"/>
                <a:gd name="T50" fmla="*/ 90 w 308"/>
                <a:gd name="T51" fmla="*/ 972 h 991"/>
                <a:gd name="T52" fmla="*/ 80 w 308"/>
                <a:gd name="T53" fmla="*/ 959 h 991"/>
                <a:gd name="T54" fmla="*/ 73 w 308"/>
                <a:gd name="T55" fmla="*/ 942 h 991"/>
                <a:gd name="T56" fmla="*/ 69 w 308"/>
                <a:gd name="T57" fmla="*/ 920 h 991"/>
                <a:gd name="T58" fmla="*/ 8 w 308"/>
                <a:gd name="T59" fmla="*/ 466 h 991"/>
                <a:gd name="T60" fmla="*/ 5 w 308"/>
                <a:gd name="T61" fmla="*/ 435 h 991"/>
                <a:gd name="T62" fmla="*/ 2 w 308"/>
                <a:gd name="T63" fmla="*/ 405 h 991"/>
                <a:gd name="T64" fmla="*/ 0 w 308"/>
                <a:gd name="T65" fmla="*/ 375 h 991"/>
                <a:gd name="T66" fmla="*/ 0 w 308"/>
                <a:gd name="T67" fmla="*/ 150 h 991"/>
                <a:gd name="T68" fmla="*/ 3 w 308"/>
                <a:gd name="T69" fmla="*/ 119 h 991"/>
                <a:gd name="T70" fmla="*/ 8 w 308"/>
                <a:gd name="T71" fmla="*/ 91 h 991"/>
                <a:gd name="T72" fmla="*/ 18 w 308"/>
                <a:gd name="T73" fmla="*/ 67 h 991"/>
                <a:gd name="T74" fmla="*/ 32 w 308"/>
                <a:gd name="T75" fmla="*/ 47 h 991"/>
                <a:gd name="T76" fmla="*/ 50 w 308"/>
                <a:gd name="T77" fmla="*/ 30 h 991"/>
                <a:gd name="T78" fmla="*/ 71 w 308"/>
                <a:gd name="T79" fmla="*/ 17 h 991"/>
                <a:gd name="T80" fmla="*/ 96 w 308"/>
                <a:gd name="T81" fmla="*/ 8 h 991"/>
                <a:gd name="T82" fmla="*/ 123 w 308"/>
                <a:gd name="T83" fmla="*/ 2 h 991"/>
                <a:gd name="T84" fmla="*/ 154 w 308"/>
                <a:gd name="T85"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991">
                  <a:moveTo>
                    <a:pt x="154" y="0"/>
                  </a:moveTo>
                  <a:lnTo>
                    <a:pt x="186" y="2"/>
                  </a:lnTo>
                  <a:lnTo>
                    <a:pt x="213" y="8"/>
                  </a:lnTo>
                  <a:lnTo>
                    <a:pt x="238" y="17"/>
                  </a:lnTo>
                  <a:lnTo>
                    <a:pt x="259" y="30"/>
                  </a:lnTo>
                  <a:lnTo>
                    <a:pt x="277" y="47"/>
                  </a:lnTo>
                  <a:lnTo>
                    <a:pt x="291" y="67"/>
                  </a:lnTo>
                  <a:lnTo>
                    <a:pt x="301" y="91"/>
                  </a:lnTo>
                  <a:lnTo>
                    <a:pt x="306" y="119"/>
                  </a:lnTo>
                  <a:lnTo>
                    <a:pt x="308" y="150"/>
                  </a:lnTo>
                  <a:lnTo>
                    <a:pt x="308" y="375"/>
                  </a:lnTo>
                  <a:lnTo>
                    <a:pt x="307" y="405"/>
                  </a:lnTo>
                  <a:lnTo>
                    <a:pt x="304" y="435"/>
                  </a:lnTo>
                  <a:lnTo>
                    <a:pt x="301" y="466"/>
                  </a:lnTo>
                  <a:lnTo>
                    <a:pt x="240" y="920"/>
                  </a:lnTo>
                  <a:lnTo>
                    <a:pt x="236" y="942"/>
                  </a:lnTo>
                  <a:lnTo>
                    <a:pt x="229" y="959"/>
                  </a:lnTo>
                  <a:lnTo>
                    <a:pt x="219" y="972"/>
                  </a:lnTo>
                  <a:lnTo>
                    <a:pt x="207" y="981"/>
                  </a:lnTo>
                  <a:lnTo>
                    <a:pt x="192" y="987"/>
                  </a:lnTo>
                  <a:lnTo>
                    <a:pt x="174" y="990"/>
                  </a:lnTo>
                  <a:lnTo>
                    <a:pt x="154" y="991"/>
                  </a:lnTo>
                  <a:lnTo>
                    <a:pt x="135" y="990"/>
                  </a:lnTo>
                  <a:lnTo>
                    <a:pt x="117" y="987"/>
                  </a:lnTo>
                  <a:lnTo>
                    <a:pt x="102" y="981"/>
                  </a:lnTo>
                  <a:lnTo>
                    <a:pt x="90" y="972"/>
                  </a:lnTo>
                  <a:lnTo>
                    <a:pt x="80" y="959"/>
                  </a:lnTo>
                  <a:lnTo>
                    <a:pt x="73" y="942"/>
                  </a:lnTo>
                  <a:lnTo>
                    <a:pt x="69" y="920"/>
                  </a:lnTo>
                  <a:lnTo>
                    <a:pt x="8" y="466"/>
                  </a:lnTo>
                  <a:lnTo>
                    <a:pt x="5" y="435"/>
                  </a:lnTo>
                  <a:lnTo>
                    <a:pt x="2" y="405"/>
                  </a:lnTo>
                  <a:lnTo>
                    <a:pt x="0" y="375"/>
                  </a:lnTo>
                  <a:lnTo>
                    <a:pt x="0" y="150"/>
                  </a:lnTo>
                  <a:lnTo>
                    <a:pt x="3" y="119"/>
                  </a:lnTo>
                  <a:lnTo>
                    <a:pt x="8" y="91"/>
                  </a:lnTo>
                  <a:lnTo>
                    <a:pt x="18" y="67"/>
                  </a:lnTo>
                  <a:lnTo>
                    <a:pt x="32" y="47"/>
                  </a:lnTo>
                  <a:lnTo>
                    <a:pt x="50" y="30"/>
                  </a:lnTo>
                  <a:lnTo>
                    <a:pt x="71" y="17"/>
                  </a:lnTo>
                  <a:lnTo>
                    <a:pt x="96" y="8"/>
                  </a:lnTo>
                  <a:lnTo>
                    <a:pt x="123" y="2"/>
                  </a:lnTo>
                  <a:lnTo>
                    <a:pt x="15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59" name="Freeform 48"/>
            <p:cNvSpPr>
              <a:spLocks/>
            </p:cNvSpPr>
            <p:nvPr/>
          </p:nvSpPr>
          <p:spPr bwMode="auto">
            <a:xfrm>
              <a:off x="785813" y="3225800"/>
              <a:ext cx="47625" cy="46038"/>
            </a:xfrm>
            <a:custGeom>
              <a:avLst/>
              <a:gdLst>
                <a:gd name="T0" fmla="*/ 160 w 321"/>
                <a:gd name="T1" fmla="*/ 0 h 319"/>
                <a:gd name="T2" fmla="*/ 193 w 321"/>
                <a:gd name="T3" fmla="*/ 4 h 319"/>
                <a:gd name="T4" fmla="*/ 222 w 321"/>
                <a:gd name="T5" fmla="*/ 14 h 319"/>
                <a:gd name="T6" fmla="*/ 250 w 321"/>
                <a:gd name="T7" fmla="*/ 28 h 319"/>
                <a:gd name="T8" fmla="*/ 274 w 321"/>
                <a:gd name="T9" fmla="*/ 47 h 319"/>
                <a:gd name="T10" fmla="*/ 294 w 321"/>
                <a:gd name="T11" fmla="*/ 71 h 319"/>
                <a:gd name="T12" fmla="*/ 308 w 321"/>
                <a:gd name="T13" fmla="*/ 98 h 319"/>
                <a:gd name="T14" fmla="*/ 318 w 321"/>
                <a:gd name="T15" fmla="*/ 128 h 319"/>
                <a:gd name="T16" fmla="*/ 321 w 321"/>
                <a:gd name="T17" fmla="*/ 159 h 319"/>
                <a:gd name="T18" fmla="*/ 318 w 321"/>
                <a:gd name="T19" fmla="*/ 192 h 319"/>
                <a:gd name="T20" fmla="*/ 308 w 321"/>
                <a:gd name="T21" fmla="*/ 222 h 319"/>
                <a:gd name="T22" fmla="*/ 294 w 321"/>
                <a:gd name="T23" fmla="*/ 249 h 319"/>
                <a:gd name="T24" fmla="*/ 274 w 321"/>
                <a:gd name="T25" fmla="*/ 272 h 319"/>
                <a:gd name="T26" fmla="*/ 250 w 321"/>
                <a:gd name="T27" fmla="*/ 291 h 319"/>
                <a:gd name="T28" fmla="*/ 222 w 321"/>
                <a:gd name="T29" fmla="*/ 306 h 319"/>
                <a:gd name="T30" fmla="*/ 193 w 321"/>
                <a:gd name="T31" fmla="*/ 315 h 319"/>
                <a:gd name="T32" fmla="*/ 160 w 321"/>
                <a:gd name="T33" fmla="*/ 319 h 319"/>
                <a:gd name="T34" fmla="*/ 128 w 321"/>
                <a:gd name="T35" fmla="*/ 315 h 319"/>
                <a:gd name="T36" fmla="*/ 99 w 321"/>
                <a:gd name="T37" fmla="*/ 306 h 319"/>
                <a:gd name="T38" fmla="*/ 71 w 321"/>
                <a:gd name="T39" fmla="*/ 291 h 319"/>
                <a:gd name="T40" fmla="*/ 47 w 321"/>
                <a:gd name="T41" fmla="*/ 272 h 319"/>
                <a:gd name="T42" fmla="*/ 27 w 321"/>
                <a:gd name="T43" fmla="*/ 249 h 319"/>
                <a:gd name="T44" fmla="*/ 13 w 321"/>
                <a:gd name="T45" fmla="*/ 222 h 319"/>
                <a:gd name="T46" fmla="*/ 3 w 321"/>
                <a:gd name="T47" fmla="*/ 192 h 319"/>
                <a:gd name="T48" fmla="*/ 0 w 321"/>
                <a:gd name="T49" fmla="*/ 159 h 319"/>
                <a:gd name="T50" fmla="*/ 3 w 321"/>
                <a:gd name="T51" fmla="*/ 128 h 319"/>
                <a:gd name="T52" fmla="*/ 13 w 321"/>
                <a:gd name="T53" fmla="*/ 98 h 319"/>
                <a:gd name="T54" fmla="*/ 27 w 321"/>
                <a:gd name="T55" fmla="*/ 71 h 319"/>
                <a:gd name="T56" fmla="*/ 47 w 321"/>
                <a:gd name="T57" fmla="*/ 47 h 319"/>
                <a:gd name="T58" fmla="*/ 71 w 321"/>
                <a:gd name="T59" fmla="*/ 28 h 319"/>
                <a:gd name="T60" fmla="*/ 99 w 321"/>
                <a:gd name="T61" fmla="*/ 14 h 319"/>
                <a:gd name="T62" fmla="*/ 128 w 321"/>
                <a:gd name="T63" fmla="*/ 4 h 319"/>
                <a:gd name="T64" fmla="*/ 160 w 32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319">
                  <a:moveTo>
                    <a:pt x="160" y="0"/>
                  </a:moveTo>
                  <a:lnTo>
                    <a:pt x="193" y="4"/>
                  </a:lnTo>
                  <a:lnTo>
                    <a:pt x="222" y="14"/>
                  </a:lnTo>
                  <a:lnTo>
                    <a:pt x="250" y="28"/>
                  </a:lnTo>
                  <a:lnTo>
                    <a:pt x="274" y="47"/>
                  </a:lnTo>
                  <a:lnTo>
                    <a:pt x="294" y="71"/>
                  </a:lnTo>
                  <a:lnTo>
                    <a:pt x="308" y="98"/>
                  </a:lnTo>
                  <a:lnTo>
                    <a:pt x="318" y="128"/>
                  </a:lnTo>
                  <a:lnTo>
                    <a:pt x="321" y="159"/>
                  </a:lnTo>
                  <a:lnTo>
                    <a:pt x="318" y="192"/>
                  </a:lnTo>
                  <a:lnTo>
                    <a:pt x="308" y="222"/>
                  </a:lnTo>
                  <a:lnTo>
                    <a:pt x="294" y="249"/>
                  </a:lnTo>
                  <a:lnTo>
                    <a:pt x="274" y="272"/>
                  </a:lnTo>
                  <a:lnTo>
                    <a:pt x="250" y="291"/>
                  </a:lnTo>
                  <a:lnTo>
                    <a:pt x="222" y="306"/>
                  </a:lnTo>
                  <a:lnTo>
                    <a:pt x="193" y="315"/>
                  </a:lnTo>
                  <a:lnTo>
                    <a:pt x="160" y="319"/>
                  </a:lnTo>
                  <a:lnTo>
                    <a:pt x="128" y="315"/>
                  </a:lnTo>
                  <a:lnTo>
                    <a:pt x="99" y="306"/>
                  </a:lnTo>
                  <a:lnTo>
                    <a:pt x="71" y="291"/>
                  </a:lnTo>
                  <a:lnTo>
                    <a:pt x="47" y="272"/>
                  </a:lnTo>
                  <a:lnTo>
                    <a:pt x="27" y="249"/>
                  </a:lnTo>
                  <a:lnTo>
                    <a:pt x="13" y="222"/>
                  </a:lnTo>
                  <a:lnTo>
                    <a:pt x="3" y="192"/>
                  </a:lnTo>
                  <a:lnTo>
                    <a:pt x="0" y="159"/>
                  </a:lnTo>
                  <a:lnTo>
                    <a:pt x="3" y="128"/>
                  </a:lnTo>
                  <a:lnTo>
                    <a:pt x="13" y="98"/>
                  </a:lnTo>
                  <a:lnTo>
                    <a:pt x="27" y="71"/>
                  </a:lnTo>
                  <a:lnTo>
                    <a:pt x="47" y="47"/>
                  </a:lnTo>
                  <a:lnTo>
                    <a:pt x="71" y="28"/>
                  </a:lnTo>
                  <a:lnTo>
                    <a:pt x="99" y="14"/>
                  </a:lnTo>
                  <a:lnTo>
                    <a:pt x="128" y="4"/>
                  </a:lnTo>
                  <a:lnTo>
                    <a:pt x="160"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grpSp>
        <p:nvGrpSpPr>
          <p:cNvPr id="6" name="Group 89"/>
          <p:cNvGrpSpPr/>
          <p:nvPr/>
        </p:nvGrpSpPr>
        <p:grpSpPr>
          <a:xfrm>
            <a:off x="6858508" y="4281201"/>
            <a:ext cx="819152" cy="716757"/>
            <a:chOff x="1247775" y="3403600"/>
            <a:chExt cx="571501" cy="500063"/>
          </a:xfrm>
          <a:solidFill>
            <a:sysClr val="window" lastClr="FFFFFF"/>
          </a:solidFill>
        </p:grpSpPr>
        <p:sp>
          <p:nvSpPr>
            <p:cNvPr id="161" name="Freeform 53"/>
            <p:cNvSpPr>
              <a:spLocks/>
            </p:cNvSpPr>
            <p:nvPr/>
          </p:nvSpPr>
          <p:spPr bwMode="auto">
            <a:xfrm>
              <a:off x="1628775" y="3475038"/>
              <a:ext cx="77788" cy="160338"/>
            </a:xfrm>
            <a:custGeom>
              <a:avLst/>
              <a:gdLst>
                <a:gd name="T0" fmla="*/ 284 w 493"/>
                <a:gd name="T1" fmla="*/ 3 h 1010"/>
                <a:gd name="T2" fmla="*/ 308 w 493"/>
                <a:gd name="T3" fmla="*/ 39 h 1010"/>
                <a:gd name="T4" fmla="*/ 310 w 493"/>
                <a:gd name="T5" fmla="*/ 116 h 1010"/>
                <a:gd name="T6" fmla="*/ 313 w 493"/>
                <a:gd name="T7" fmla="*/ 119 h 1010"/>
                <a:gd name="T8" fmla="*/ 326 w 493"/>
                <a:gd name="T9" fmla="*/ 121 h 1010"/>
                <a:gd name="T10" fmla="*/ 373 w 493"/>
                <a:gd name="T11" fmla="*/ 131 h 1010"/>
                <a:gd name="T12" fmla="*/ 429 w 493"/>
                <a:gd name="T13" fmla="*/ 146 h 1010"/>
                <a:gd name="T14" fmla="*/ 460 w 493"/>
                <a:gd name="T15" fmla="*/ 168 h 1010"/>
                <a:gd name="T16" fmla="*/ 442 w 493"/>
                <a:gd name="T17" fmla="*/ 242 h 1010"/>
                <a:gd name="T18" fmla="*/ 418 w 493"/>
                <a:gd name="T19" fmla="*/ 265 h 1010"/>
                <a:gd name="T20" fmla="*/ 388 w 493"/>
                <a:gd name="T21" fmla="*/ 262 h 1010"/>
                <a:gd name="T22" fmla="*/ 367 w 493"/>
                <a:gd name="T23" fmla="*/ 252 h 1010"/>
                <a:gd name="T24" fmla="*/ 312 w 493"/>
                <a:gd name="T25" fmla="*/ 238 h 1010"/>
                <a:gd name="T26" fmla="*/ 237 w 493"/>
                <a:gd name="T27" fmla="*/ 235 h 1010"/>
                <a:gd name="T28" fmla="*/ 183 w 493"/>
                <a:gd name="T29" fmla="*/ 256 h 1010"/>
                <a:gd name="T30" fmla="*/ 158 w 493"/>
                <a:gd name="T31" fmla="*/ 289 h 1010"/>
                <a:gd name="T32" fmla="*/ 155 w 493"/>
                <a:gd name="T33" fmla="*/ 330 h 1010"/>
                <a:gd name="T34" fmla="*/ 176 w 493"/>
                <a:gd name="T35" fmla="*/ 369 h 1010"/>
                <a:gd name="T36" fmla="*/ 231 w 493"/>
                <a:gd name="T37" fmla="*/ 405 h 1010"/>
                <a:gd name="T38" fmla="*/ 336 w 493"/>
                <a:gd name="T39" fmla="*/ 451 h 1010"/>
                <a:gd name="T40" fmla="*/ 434 w 493"/>
                <a:gd name="T41" fmla="*/ 517 h 1010"/>
                <a:gd name="T42" fmla="*/ 484 w 493"/>
                <a:gd name="T43" fmla="*/ 600 h 1010"/>
                <a:gd name="T44" fmla="*/ 491 w 493"/>
                <a:gd name="T45" fmla="*/ 701 h 1010"/>
                <a:gd name="T46" fmla="*/ 454 w 493"/>
                <a:gd name="T47" fmla="*/ 792 h 1010"/>
                <a:gd name="T48" fmla="*/ 377 w 493"/>
                <a:gd name="T49" fmla="*/ 857 h 1010"/>
                <a:gd name="T50" fmla="*/ 307 w 493"/>
                <a:gd name="T51" fmla="*/ 883 h 1010"/>
                <a:gd name="T52" fmla="*/ 302 w 493"/>
                <a:gd name="T53" fmla="*/ 886 h 1010"/>
                <a:gd name="T54" fmla="*/ 301 w 493"/>
                <a:gd name="T55" fmla="*/ 971 h 1010"/>
                <a:gd name="T56" fmla="*/ 276 w 493"/>
                <a:gd name="T57" fmla="*/ 1008 h 1010"/>
                <a:gd name="T58" fmla="*/ 208 w 493"/>
                <a:gd name="T59" fmla="*/ 1008 h 1010"/>
                <a:gd name="T60" fmla="*/ 183 w 493"/>
                <a:gd name="T61" fmla="*/ 971 h 1010"/>
                <a:gd name="T62" fmla="*/ 182 w 493"/>
                <a:gd name="T63" fmla="*/ 890 h 1010"/>
                <a:gd name="T64" fmla="*/ 177 w 493"/>
                <a:gd name="T65" fmla="*/ 887 h 1010"/>
                <a:gd name="T66" fmla="*/ 160 w 493"/>
                <a:gd name="T67" fmla="*/ 885 h 1010"/>
                <a:gd name="T68" fmla="*/ 104 w 493"/>
                <a:gd name="T69" fmla="*/ 873 h 1010"/>
                <a:gd name="T70" fmla="*/ 37 w 493"/>
                <a:gd name="T71" fmla="*/ 852 h 1010"/>
                <a:gd name="T72" fmla="*/ 2 w 493"/>
                <a:gd name="T73" fmla="*/ 827 h 1010"/>
                <a:gd name="T74" fmla="*/ 21 w 493"/>
                <a:gd name="T75" fmla="*/ 751 h 1010"/>
                <a:gd name="T76" fmla="*/ 45 w 493"/>
                <a:gd name="T77" fmla="*/ 728 h 1010"/>
                <a:gd name="T78" fmla="*/ 68 w 493"/>
                <a:gd name="T79" fmla="*/ 728 h 1010"/>
                <a:gd name="T80" fmla="*/ 83 w 493"/>
                <a:gd name="T81" fmla="*/ 735 h 1010"/>
                <a:gd name="T82" fmla="*/ 124 w 493"/>
                <a:gd name="T83" fmla="*/ 750 h 1010"/>
                <a:gd name="T84" fmla="*/ 182 w 493"/>
                <a:gd name="T85" fmla="*/ 767 h 1010"/>
                <a:gd name="T86" fmla="*/ 252 w 493"/>
                <a:gd name="T87" fmla="*/ 769 h 1010"/>
                <a:gd name="T88" fmla="*/ 321 w 493"/>
                <a:gd name="T89" fmla="*/ 736 h 1010"/>
                <a:gd name="T90" fmla="*/ 347 w 493"/>
                <a:gd name="T91" fmla="*/ 675 h 1010"/>
                <a:gd name="T92" fmla="*/ 325 w 493"/>
                <a:gd name="T93" fmla="*/ 616 h 1010"/>
                <a:gd name="T94" fmla="*/ 256 w 493"/>
                <a:gd name="T95" fmla="*/ 568 h 1010"/>
                <a:gd name="T96" fmla="*/ 163 w 493"/>
                <a:gd name="T97" fmla="*/ 528 h 1010"/>
                <a:gd name="T98" fmla="*/ 84 w 493"/>
                <a:gd name="T99" fmla="*/ 482 h 1010"/>
                <a:gd name="T100" fmla="*/ 28 w 493"/>
                <a:gd name="T101" fmla="*/ 417 h 1010"/>
                <a:gd name="T102" fmla="*/ 8 w 493"/>
                <a:gd name="T103" fmla="*/ 330 h 1010"/>
                <a:gd name="T104" fmla="*/ 29 w 493"/>
                <a:gd name="T105" fmla="*/ 238 h 1010"/>
                <a:gd name="T106" fmla="*/ 89 w 493"/>
                <a:gd name="T107" fmla="*/ 167 h 1010"/>
                <a:gd name="T108" fmla="*/ 183 w 493"/>
                <a:gd name="T109" fmla="*/ 124 h 1010"/>
                <a:gd name="T110" fmla="*/ 189 w 493"/>
                <a:gd name="T111" fmla="*/ 122 h 1010"/>
                <a:gd name="T112" fmla="*/ 192 w 493"/>
                <a:gd name="T113" fmla="*/ 116 h 1010"/>
                <a:gd name="T114" fmla="*/ 204 w 493"/>
                <a:gd name="T115" fmla="*/ 11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3" h="1010">
                  <a:moveTo>
                    <a:pt x="232" y="0"/>
                  </a:moveTo>
                  <a:lnTo>
                    <a:pt x="267" y="0"/>
                  </a:lnTo>
                  <a:lnTo>
                    <a:pt x="284" y="3"/>
                  </a:lnTo>
                  <a:lnTo>
                    <a:pt x="297" y="11"/>
                  </a:lnTo>
                  <a:lnTo>
                    <a:pt x="305" y="24"/>
                  </a:lnTo>
                  <a:lnTo>
                    <a:pt x="308" y="39"/>
                  </a:lnTo>
                  <a:lnTo>
                    <a:pt x="309" y="111"/>
                  </a:lnTo>
                  <a:lnTo>
                    <a:pt x="309" y="115"/>
                  </a:lnTo>
                  <a:lnTo>
                    <a:pt x="310" y="116"/>
                  </a:lnTo>
                  <a:lnTo>
                    <a:pt x="311" y="117"/>
                  </a:lnTo>
                  <a:lnTo>
                    <a:pt x="312" y="118"/>
                  </a:lnTo>
                  <a:lnTo>
                    <a:pt x="313" y="119"/>
                  </a:lnTo>
                  <a:lnTo>
                    <a:pt x="314" y="119"/>
                  </a:lnTo>
                  <a:lnTo>
                    <a:pt x="317" y="119"/>
                  </a:lnTo>
                  <a:lnTo>
                    <a:pt x="326" y="121"/>
                  </a:lnTo>
                  <a:lnTo>
                    <a:pt x="339" y="123"/>
                  </a:lnTo>
                  <a:lnTo>
                    <a:pt x="355" y="127"/>
                  </a:lnTo>
                  <a:lnTo>
                    <a:pt x="373" y="131"/>
                  </a:lnTo>
                  <a:lnTo>
                    <a:pt x="392" y="135"/>
                  </a:lnTo>
                  <a:lnTo>
                    <a:pt x="411" y="141"/>
                  </a:lnTo>
                  <a:lnTo>
                    <a:pt x="429" y="146"/>
                  </a:lnTo>
                  <a:lnTo>
                    <a:pt x="445" y="153"/>
                  </a:lnTo>
                  <a:lnTo>
                    <a:pt x="454" y="158"/>
                  </a:lnTo>
                  <a:lnTo>
                    <a:pt x="460" y="168"/>
                  </a:lnTo>
                  <a:lnTo>
                    <a:pt x="464" y="179"/>
                  </a:lnTo>
                  <a:lnTo>
                    <a:pt x="461" y="192"/>
                  </a:lnTo>
                  <a:lnTo>
                    <a:pt x="442" y="242"/>
                  </a:lnTo>
                  <a:lnTo>
                    <a:pt x="436" y="252"/>
                  </a:lnTo>
                  <a:lnTo>
                    <a:pt x="428" y="260"/>
                  </a:lnTo>
                  <a:lnTo>
                    <a:pt x="418" y="265"/>
                  </a:lnTo>
                  <a:lnTo>
                    <a:pt x="407" y="266"/>
                  </a:lnTo>
                  <a:lnTo>
                    <a:pt x="397" y="265"/>
                  </a:lnTo>
                  <a:lnTo>
                    <a:pt x="388" y="262"/>
                  </a:lnTo>
                  <a:lnTo>
                    <a:pt x="386" y="261"/>
                  </a:lnTo>
                  <a:lnTo>
                    <a:pt x="379" y="258"/>
                  </a:lnTo>
                  <a:lnTo>
                    <a:pt x="367" y="252"/>
                  </a:lnTo>
                  <a:lnTo>
                    <a:pt x="351" y="248"/>
                  </a:lnTo>
                  <a:lnTo>
                    <a:pt x="333" y="242"/>
                  </a:lnTo>
                  <a:lnTo>
                    <a:pt x="312" y="238"/>
                  </a:lnTo>
                  <a:lnTo>
                    <a:pt x="288" y="235"/>
                  </a:lnTo>
                  <a:lnTo>
                    <a:pt x="262" y="234"/>
                  </a:lnTo>
                  <a:lnTo>
                    <a:pt x="237" y="235"/>
                  </a:lnTo>
                  <a:lnTo>
                    <a:pt x="216" y="239"/>
                  </a:lnTo>
                  <a:lnTo>
                    <a:pt x="199" y="247"/>
                  </a:lnTo>
                  <a:lnTo>
                    <a:pt x="183" y="256"/>
                  </a:lnTo>
                  <a:lnTo>
                    <a:pt x="172" y="265"/>
                  </a:lnTo>
                  <a:lnTo>
                    <a:pt x="164" y="277"/>
                  </a:lnTo>
                  <a:lnTo>
                    <a:pt x="158" y="289"/>
                  </a:lnTo>
                  <a:lnTo>
                    <a:pt x="154" y="302"/>
                  </a:lnTo>
                  <a:lnTo>
                    <a:pt x="153" y="316"/>
                  </a:lnTo>
                  <a:lnTo>
                    <a:pt x="155" y="330"/>
                  </a:lnTo>
                  <a:lnTo>
                    <a:pt x="158" y="344"/>
                  </a:lnTo>
                  <a:lnTo>
                    <a:pt x="165" y="357"/>
                  </a:lnTo>
                  <a:lnTo>
                    <a:pt x="176" y="369"/>
                  </a:lnTo>
                  <a:lnTo>
                    <a:pt x="190" y="381"/>
                  </a:lnTo>
                  <a:lnTo>
                    <a:pt x="208" y="393"/>
                  </a:lnTo>
                  <a:lnTo>
                    <a:pt x="231" y="405"/>
                  </a:lnTo>
                  <a:lnTo>
                    <a:pt x="259" y="418"/>
                  </a:lnTo>
                  <a:lnTo>
                    <a:pt x="292" y="431"/>
                  </a:lnTo>
                  <a:lnTo>
                    <a:pt x="336" y="451"/>
                  </a:lnTo>
                  <a:lnTo>
                    <a:pt x="374" y="472"/>
                  </a:lnTo>
                  <a:lnTo>
                    <a:pt x="407" y="494"/>
                  </a:lnTo>
                  <a:lnTo>
                    <a:pt x="434" y="517"/>
                  </a:lnTo>
                  <a:lnTo>
                    <a:pt x="456" y="543"/>
                  </a:lnTo>
                  <a:lnTo>
                    <a:pt x="472" y="570"/>
                  </a:lnTo>
                  <a:lnTo>
                    <a:pt x="484" y="600"/>
                  </a:lnTo>
                  <a:lnTo>
                    <a:pt x="491" y="631"/>
                  </a:lnTo>
                  <a:lnTo>
                    <a:pt x="493" y="666"/>
                  </a:lnTo>
                  <a:lnTo>
                    <a:pt x="491" y="701"/>
                  </a:lnTo>
                  <a:lnTo>
                    <a:pt x="483" y="734"/>
                  </a:lnTo>
                  <a:lnTo>
                    <a:pt x="471" y="763"/>
                  </a:lnTo>
                  <a:lnTo>
                    <a:pt x="454" y="792"/>
                  </a:lnTo>
                  <a:lnTo>
                    <a:pt x="432" y="817"/>
                  </a:lnTo>
                  <a:lnTo>
                    <a:pt x="407" y="839"/>
                  </a:lnTo>
                  <a:lnTo>
                    <a:pt x="377" y="857"/>
                  </a:lnTo>
                  <a:lnTo>
                    <a:pt x="344" y="872"/>
                  </a:lnTo>
                  <a:lnTo>
                    <a:pt x="308" y="883"/>
                  </a:lnTo>
                  <a:lnTo>
                    <a:pt x="307" y="883"/>
                  </a:lnTo>
                  <a:lnTo>
                    <a:pt x="305" y="884"/>
                  </a:lnTo>
                  <a:lnTo>
                    <a:pt x="303" y="885"/>
                  </a:lnTo>
                  <a:lnTo>
                    <a:pt x="302" y="886"/>
                  </a:lnTo>
                  <a:lnTo>
                    <a:pt x="301" y="888"/>
                  </a:lnTo>
                  <a:lnTo>
                    <a:pt x="301" y="891"/>
                  </a:lnTo>
                  <a:lnTo>
                    <a:pt x="301" y="971"/>
                  </a:lnTo>
                  <a:lnTo>
                    <a:pt x="298" y="986"/>
                  </a:lnTo>
                  <a:lnTo>
                    <a:pt x="289" y="999"/>
                  </a:lnTo>
                  <a:lnTo>
                    <a:pt x="276" y="1008"/>
                  </a:lnTo>
                  <a:lnTo>
                    <a:pt x="261" y="1010"/>
                  </a:lnTo>
                  <a:lnTo>
                    <a:pt x="224" y="1010"/>
                  </a:lnTo>
                  <a:lnTo>
                    <a:pt x="208" y="1008"/>
                  </a:lnTo>
                  <a:lnTo>
                    <a:pt x="195" y="999"/>
                  </a:lnTo>
                  <a:lnTo>
                    <a:pt x="187" y="986"/>
                  </a:lnTo>
                  <a:lnTo>
                    <a:pt x="183" y="971"/>
                  </a:lnTo>
                  <a:lnTo>
                    <a:pt x="183" y="896"/>
                  </a:lnTo>
                  <a:lnTo>
                    <a:pt x="183" y="892"/>
                  </a:lnTo>
                  <a:lnTo>
                    <a:pt x="182" y="890"/>
                  </a:lnTo>
                  <a:lnTo>
                    <a:pt x="180" y="889"/>
                  </a:lnTo>
                  <a:lnTo>
                    <a:pt x="179" y="888"/>
                  </a:lnTo>
                  <a:lnTo>
                    <a:pt x="177" y="887"/>
                  </a:lnTo>
                  <a:lnTo>
                    <a:pt x="176" y="887"/>
                  </a:lnTo>
                  <a:lnTo>
                    <a:pt x="171" y="887"/>
                  </a:lnTo>
                  <a:lnTo>
                    <a:pt x="160" y="885"/>
                  </a:lnTo>
                  <a:lnTo>
                    <a:pt x="145" y="881"/>
                  </a:lnTo>
                  <a:lnTo>
                    <a:pt x="125" y="877"/>
                  </a:lnTo>
                  <a:lnTo>
                    <a:pt x="104" y="873"/>
                  </a:lnTo>
                  <a:lnTo>
                    <a:pt x="82" y="866"/>
                  </a:lnTo>
                  <a:lnTo>
                    <a:pt x="59" y="860"/>
                  </a:lnTo>
                  <a:lnTo>
                    <a:pt x="37" y="852"/>
                  </a:lnTo>
                  <a:lnTo>
                    <a:pt x="19" y="843"/>
                  </a:lnTo>
                  <a:lnTo>
                    <a:pt x="10" y="837"/>
                  </a:lnTo>
                  <a:lnTo>
                    <a:pt x="2" y="827"/>
                  </a:lnTo>
                  <a:lnTo>
                    <a:pt x="0" y="816"/>
                  </a:lnTo>
                  <a:lnTo>
                    <a:pt x="2" y="803"/>
                  </a:lnTo>
                  <a:lnTo>
                    <a:pt x="21" y="751"/>
                  </a:lnTo>
                  <a:lnTo>
                    <a:pt x="26" y="742"/>
                  </a:lnTo>
                  <a:lnTo>
                    <a:pt x="35" y="734"/>
                  </a:lnTo>
                  <a:lnTo>
                    <a:pt x="45" y="728"/>
                  </a:lnTo>
                  <a:lnTo>
                    <a:pt x="57" y="726"/>
                  </a:lnTo>
                  <a:lnTo>
                    <a:pt x="62" y="727"/>
                  </a:lnTo>
                  <a:lnTo>
                    <a:pt x="68" y="728"/>
                  </a:lnTo>
                  <a:lnTo>
                    <a:pt x="73" y="731"/>
                  </a:lnTo>
                  <a:lnTo>
                    <a:pt x="76" y="732"/>
                  </a:lnTo>
                  <a:lnTo>
                    <a:pt x="83" y="735"/>
                  </a:lnTo>
                  <a:lnTo>
                    <a:pt x="94" y="739"/>
                  </a:lnTo>
                  <a:lnTo>
                    <a:pt x="108" y="745"/>
                  </a:lnTo>
                  <a:lnTo>
                    <a:pt x="124" y="750"/>
                  </a:lnTo>
                  <a:lnTo>
                    <a:pt x="143" y="757"/>
                  </a:lnTo>
                  <a:lnTo>
                    <a:pt x="163" y="762"/>
                  </a:lnTo>
                  <a:lnTo>
                    <a:pt x="182" y="767"/>
                  </a:lnTo>
                  <a:lnTo>
                    <a:pt x="203" y="770"/>
                  </a:lnTo>
                  <a:lnTo>
                    <a:pt x="221" y="771"/>
                  </a:lnTo>
                  <a:lnTo>
                    <a:pt x="252" y="769"/>
                  </a:lnTo>
                  <a:lnTo>
                    <a:pt x="279" y="761"/>
                  </a:lnTo>
                  <a:lnTo>
                    <a:pt x="302" y="750"/>
                  </a:lnTo>
                  <a:lnTo>
                    <a:pt x="321" y="736"/>
                  </a:lnTo>
                  <a:lnTo>
                    <a:pt x="335" y="719"/>
                  </a:lnTo>
                  <a:lnTo>
                    <a:pt x="344" y="698"/>
                  </a:lnTo>
                  <a:lnTo>
                    <a:pt x="347" y="675"/>
                  </a:lnTo>
                  <a:lnTo>
                    <a:pt x="345" y="653"/>
                  </a:lnTo>
                  <a:lnTo>
                    <a:pt x="337" y="635"/>
                  </a:lnTo>
                  <a:lnTo>
                    <a:pt x="325" y="616"/>
                  </a:lnTo>
                  <a:lnTo>
                    <a:pt x="309" y="600"/>
                  </a:lnTo>
                  <a:lnTo>
                    <a:pt x="286" y="583"/>
                  </a:lnTo>
                  <a:lnTo>
                    <a:pt x="256" y="568"/>
                  </a:lnTo>
                  <a:lnTo>
                    <a:pt x="221" y="553"/>
                  </a:lnTo>
                  <a:lnTo>
                    <a:pt x="192" y="541"/>
                  </a:lnTo>
                  <a:lnTo>
                    <a:pt x="163" y="528"/>
                  </a:lnTo>
                  <a:lnTo>
                    <a:pt x="134" y="513"/>
                  </a:lnTo>
                  <a:lnTo>
                    <a:pt x="108" y="498"/>
                  </a:lnTo>
                  <a:lnTo>
                    <a:pt x="84" y="482"/>
                  </a:lnTo>
                  <a:lnTo>
                    <a:pt x="62" y="462"/>
                  </a:lnTo>
                  <a:lnTo>
                    <a:pt x="44" y="441"/>
                  </a:lnTo>
                  <a:lnTo>
                    <a:pt x="28" y="417"/>
                  </a:lnTo>
                  <a:lnTo>
                    <a:pt x="17" y="391"/>
                  </a:lnTo>
                  <a:lnTo>
                    <a:pt x="10" y="361"/>
                  </a:lnTo>
                  <a:lnTo>
                    <a:pt x="8" y="330"/>
                  </a:lnTo>
                  <a:lnTo>
                    <a:pt x="10" y="297"/>
                  </a:lnTo>
                  <a:lnTo>
                    <a:pt x="17" y="266"/>
                  </a:lnTo>
                  <a:lnTo>
                    <a:pt x="29" y="238"/>
                  </a:lnTo>
                  <a:lnTo>
                    <a:pt x="46" y="212"/>
                  </a:lnTo>
                  <a:lnTo>
                    <a:pt x="65" y="188"/>
                  </a:lnTo>
                  <a:lnTo>
                    <a:pt x="89" y="167"/>
                  </a:lnTo>
                  <a:lnTo>
                    <a:pt x="118" y="150"/>
                  </a:lnTo>
                  <a:lnTo>
                    <a:pt x="148" y="135"/>
                  </a:lnTo>
                  <a:lnTo>
                    <a:pt x="183" y="124"/>
                  </a:lnTo>
                  <a:lnTo>
                    <a:pt x="184" y="124"/>
                  </a:lnTo>
                  <a:lnTo>
                    <a:pt x="187" y="123"/>
                  </a:lnTo>
                  <a:lnTo>
                    <a:pt x="189" y="122"/>
                  </a:lnTo>
                  <a:lnTo>
                    <a:pt x="190" y="120"/>
                  </a:lnTo>
                  <a:lnTo>
                    <a:pt x="192" y="118"/>
                  </a:lnTo>
                  <a:lnTo>
                    <a:pt x="192" y="116"/>
                  </a:lnTo>
                  <a:lnTo>
                    <a:pt x="192" y="39"/>
                  </a:lnTo>
                  <a:lnTo>
                    <a:pt x="195" y="24"/>
                  </a:lnTo>
                  <a:lnTo>
                    <a:pt x="204" y="11"/>
                  </a:lnTo>
                  <a:lnTo>
                    <a:pt x="217" y="3"/>
                  </a:lnTo>
                  <a:lnTo>
                    <a:pt x="23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62" name="Freeform 54"/>
            <p:cNvSpPr>
              <a:spLocks noEditPoints="1"/>
            </p:cNvSpPr>
            <p:nvPr/>
          </p:nvSpPr>
          <p:spPr bwMode="auto">
            <a:xfrm>
              <a:off x="1517650" y="3403600"/>
              <a:ext cx="301625" cy="303213"/>
            </a:xfrm>
            <a:custGeom>
              <a:avLst/>
              <a:gdLst>
                <a:gd name="T0" fmla="*/ 813 w 1903"/>
                <a:gd name="T1" fmla="*/ 235 h 1906"/>
                <a:gd name="T2" fmla="*/ 622 w 1903"/>
                <a:gd name="T3" fmla="*/ 300 h 1906"/>
                <a:gd name="T4" fmla="*/ 458 w 1903"/>
                <a:gd name="T5" fmla="*/ 413 h 1906"/>
                <a:gd name="T6" fmla="*/ 332 w 1903"/>
                <a:gd name="T7" fmla="*/ 565 h 1906"/>
                <a:gd name="T8" fmla="*/ 250 w 1903"/>
                <a:gd name="T9" fmla="*/ 747 h 1906"/>
                <a:gd name="T10" fmla="*/ 221 w 1903"/>
                <a:gd name="T11" fmla="*/ 954 h 1906"/>
                <a:gd name="T12" fmla="*/ 250 w 1903"/>
                <a:gd name="T13" fmla="*/ 1159 h 1906"/>
                <a:gd name="T14" fmla="*/ 332 w 1903"/>
                <a:gd name="T15" fmla="*/ 1341 h 1906"/>
                <a:gd name="T16" fmla="*/ 458 w 1903"/>
                <a:gd name="T17" fmla="*/ 1493 h 1906"/>
                <a:gd name="T18" fmla="*/ 622 w 1903"/>
                <a:gd name="T19" fmla="*/ 1607 h 1906"/>
                <a:gd name="T20" fmla="*/ 813 w 1903"/>
                <a:gd name="T21" fmla="*/ 1671 h 1906"/>
                <a:gd name="T22" fmla="*/ 1022 w 1903"/>
                <a:gd name="T23" fmla="*/ 1681 h 1906"/>
                <a:gd name="T24" fmla="*/ 1221 w 1903"/>
                <a:gd name="T25" fmla="*/ 1634 h 1906"/>
                <a:gd name="T26" fmla="*/ 1393 w 1903"/>
                <a:gd name="T27" fmla="*/ 1536 h 1906"/>
                <a:gd name="T28" fmla="*/ 1533 w 1903"/>
                <a:gd name="T29" fmla="*/ 1396 h 1906"/>
                <a:gd name="T30" fmla="*/ 1631 w 1903"/>
                <a:gd name="T31" fmla="*/ 1222 h 1906"/>
                <a:gd name="T32" fmla="*/ 1679 w 1903"/>
                <a:gd name="T33" fmla="*/ 1024 h 1906"/>
                <a:gd name="T34" fmla="*/ 1669 w 1903"/>
                <a:gd name="T35" fmla="*/ 814 h 1906"/>
                <a:gd name="T36" fmla="*/ 1604 w 1903"/>
                <a:gd name="T37" fmla="*/ 623 h 1906"/>
                <a:gd name="T38" fmla="*/ 1492 w 1903"/>
                <a:gd name="T39" fmla="*/ 460 h 1906"/>
                <a:gd name="T40" fmla="*/ 1340 w 1903"/>
                <a:gd name="T41" fmla="*/ 333 h 1906"/>
                <a:gd name="T42" fmla="*/ 1157 w 1903"/>
                <a:gd name="T43" fmla="*/ 250 h 1906"/>
                <a:gd name="T44" fmla="*/ 952 w 1903"/>
                <a:gd name="T45" fmla="*/ 222 h 1906"/>
                <a:gd name="T46" fmla="*/ 1105 w 1903"/>
                <a:gd name="T47" fmla="*/ 13 h 1906"/>
                <a:gd name="T48" fmla="*/ 1321 w 1903"/>
                <a:gd name="T49" fmla="*/ 75 h 1906"/>
                <a:gd name="T50" fmla="*/ 1513 w 1903"/>
                <a:gd name="T51" fmla="*/ 185 h 1906"/>
                <a:gd name="T52" fmla="*/ 1674 w 1903"/>
                <a:gd name="T53" fmla="*/ 333 h 1906"/>
                <a:gd name="T54" fmla="*/ 1797 w 1903"/>
                <a:gd name="T55" fmla="*/ 516 h 1906"/>
                <a:gd name="T56" fmla="*/ 1876 w 1903"/>
                <a:gd name="T57" fmla="*/ 724 h 1906"/>
                <a:gd name="T58" fmla="*/ 1903 w 1903"/>
                <a:gd name="T59" fmla="*/ 954 h 1906"/>
                <a:gd name="T60" fmla="*/ 1876 w 1903"/>
                <a:gd name="T61" fmla="*/ 1182 h 1906"/>
                <a:gd name="T62" fmla="*/ 1797 w 1903"/>
                <a:gd name="T63" fmla="*/ 1391 h 1906"/>
                <a:gd name="T64" fmla="*/ 1674 w 1903"/>
                <a:gd name="T65" fmla="*/ 1573 h 1906"/>
                <a:gd name="T66" fmla="*/ 1513 w 1903"/>
                <a:gd name="T67" fmla="*/ 1722 h 1906"/>
                <a:gd name="T68" fmla="*/ 1321 w 1903"/>
                <a:gd name="T69" fmla="*/ 1831 h 1906"/>
                <a:gd name="T70" fmla="*/ 1105 w 1903"/>
                <a:gd name="T71" fmla="*/ 1893 h 1906"/>
                <a:gd name="T72" fmla="*/ 873 w 1903"/>
                <a:gd name="T73" fmla="*/ 1903 h 1906"/>
                <a:gd name="T74" fmla="*/ 650 w 1903"/>
                <a:gd name="T75" fmla="*/ 1857 h 1906"/>
                <a:gd name="T76" fmla="*/ 451 w 1903"/>
                <a:gd name="T77" fmla="*/ 1763 h 1906"/>
                <a:gd name="T78" fmla="*/ 278 w 1903"/>
                <a:gd name="T79" fmla="*/ 1627 h 1906"/>
                <a:gd name="T80" fmla="*/ 143 w 1903"/>
                <a:gd name="T81" fmla="*/ 1455 h 1906"/>
                <a:gd name="T82" fmla="*/ 48 w 1903"/>
                <a:gd name="T83" fmla="*/ 1254 h 1906"/>
                <a:gd name="T84" fmla="*/ 4 w 1903"/>
                <a:gd name="T85" fmla="*/ 1031 h 1906"/>
                <a:gd name="T86" fmla="*/ 12 w 1903"/>
                <a:gd name="T87" fmla="*/ 799 h 1906"/>
                <a:gd name="T88" fmla="*/ 74 w 1903"/>
                <a:gd name="T89" fmla="*/ 582 h 1906"/>
                <a:gd name="T90" fmla="*/ 184 w 1903"/>
                <a:gd name="T91" fmla="*/ 390 h 1906"/>
                <a:gd name="T92" fmla="*/ 332 w 1903"/>
                <a:gd name="T93" fmla="*/ 229 h 1906"/>
                <a:gd name="T94" fmla="*/ 514 w 1903"/>
                <a:gd name="T95" fmla="*/ 107 h 1906"/>
                <a:gd name="T96" fmla="*/ 722 w 1903"/>
                <a:gd name="T97" fmla="*/ 28 h 1906"/>
                <a:gd name="T98" fmla="*/ 952 w 1903"/>
                <a:gd name="T99" fmla="*/ 0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3" h="1906">
                  <a:moveTo>
                    <a:pt x="952" y="222"/>
                  </a:moveTo>
                  <a:lnTo>
                    <a:pt x="881" y="225"/>
                  </a:lnTo>
                  <a:lnTo>
                    <a:pt x="813" y="235"/>
                  </a:lnTo>
                  <a:lnTo>
                    <a:pt x="746" y="250"/>
                  </a:lnTo>
                  <a:lnTo>
                    <a:pt x="682" y="272"/>
                  </a:lnTo>
                  <a:lnTo>
                    <a:pt x="622" y="300"/>
                  </a:lnTo>
                  <a:lnTo>
                    <a:pt x="563" y="333"/>
                  </a:lnTo>
                  <a:lnTo>
                    <a:pt x="510" y="370"/>
                  </a:lnTo>
                  <a:lnTo>
                    <a:pt x="458" y="413"/>
                  </a:lnTo>
                  <a:lnTo>
                    <a:pt x="412" y="460"/>
                  </a:lnTo>
                  <a:lnTo>
                    <a:pt x="370" y="510"/>
                  </a:lnTo>
                  <a:lnTo>
                    <a:pt x="332" y="565"/>
                  </a:lnTo>
                  <a:lnTo>
                    <a:pt x="299" y="623"/>
                  </a:lnTo>
                  <a:lnTo>
                    <a:pt x="272" y="684"/>
                  </a:lnTo>
                  <a:lnTo>
                    <a:pt x="250" y="747"/>
                  </a:lnTo>
                  <a:lnTo>
                    <a:pt x="234" y="814"/>
                  </a:lnTo>
                  <a:lnTo>
                    <a:pt x="224" y="883"/>
                  </a:lnTo>
                  <a:lnTo>
                    <a:pt x="221" y="954"/>
                  </a:lnTo>
                  <a:lnTo>
                    <a:pt x="224" y="1024"/>
                  </a:lnTo>
                  <a:lnTo>
                    <a:pt x="234" y="1092"/>
                  </a:lnTo>
                  <a:lnTo>
                    <a:pt x="250" y="1159"/>
                  </a:lnTo>
                  <a:lnTo>
                    <a:pt x="272" y="1222"/>
                  </a:lnTo>
                  <a:lnTo>
                    <a:pt x="299" y="1284"/>
                  </a:lnTo>
                  <a:lnTo>
                    <a:pt x="332" y="1341"/>
                  </a:lnTo>
                  <a:lnTo>
                    <a:pt x="370" y="1396"/>
                  </a:lnTo>
                  <a:lnTo>
                    <a:pt x="412" y="1446"/>
                  </a:lnTo>
                  <a:lnTo>
                    <a:pt x="458" y="1493"/>
                  </a:lnTo>
                  <a:lnTo>
                    <a:pt x="510" y="1536"/>
                  </a:lnTo>
                  <a:lnTo>
                    <a:pt x="563" y="1574"/>
                  </a:lnTo>
                  <a:lnTo>
                    <a:pt x="622" y="1607"/>
                  </a:lnTo>
                  <a:lnTo>
                    <a:pt x="682" y="1634"/>
                  </a:lnTo>
                  <a:lnTo>
                    <a:pt x="746" y="1656"/>
                  </a:lnTo>
                  <a:lnTo>
                    <a:pt x="813" y="1671"/>
                  </a:lnTo>
                  <a:lnTo>
                    <a:pt x="881" y="1681"/>
                  </a:lnTo>
                  <a:lnTo>
                    <a:pt x="952" y="1685"/>
                  </a:lnTo>
                  <a:lnTo>
                    <a:pt x="1022" y="1681"/>
                  </a:lnTo>
                  <a:lnTo>
                    <a:pt x="1090" y="1671"/>
                  </a:lnTo>
                  <a:lnTo>
                    <a:pt x="1157" y="1656"/>
                  </a:lnTo>
                  <a:lnTo>
                    <a:pt x="1221" y="1634"/>
                  </a:lnTo>
                  <a:lnTo>
                    <a:pt x="1281" y="1607"/>
                  </a:lnTo>
                  <a:lnTo>
                    <a:pt x="1340" y="1574"/>
                  </a:lnTo>
                  <a:lnTo>
                    <a:pt x="1393" y="1536"/>
                  </a:lnTo>
                  <a:lnTo>
                    <a:pt x="1445" y="1493"/>
                  </a:lnTo>
                  <a:lnTo>
                    <a:pt x="1492" y="1446"/>
                  </a:lnTo>
                  <a:lnTo>
                    <a:pt x="1533" y="1396"/>
                  </a:lnTo>
                  <a:lnTo>
                    <a:pt x="1571" y="1341"/>
                  </a:lnTo>
                  <a:lnTo>
                    <a:pt x="1604" y="1284"/>
                  </a:lnTo>
                  <a:lnTo>
                    <a:pt x="1631" y="1222"/>
                  </a:lnTo>
                  <a:lnTo>
                    <a:pt x="1653" y="1159"/>
                  </a:lnTo>
                  <a:lnTo>
                    <a:pt x="1669" y="1092"/>
                  </a:lnTo>
                  <a:lnTo>
                    <a:pt x="1679" y="1024"/>
                  </a:lnTo>
                  <a:lnTo>
                    <a:pt x="1682" y="954"/>
                  </a:lnTo>
                  <a:lnTo>
                    <a:pt x="1679" y="883"/>
                  </a:lnTo>
                  <a:lnTo>
                    <a:pt x="1669" y="814"/>
                  </a:lnTo>
                  <a:lnTo>
                    <a:pt x="1653" y="747"/>
                  </a:lnTo>
                  <a:lnTo>
                    <a:pt x="1631" y="684"/>
                  </a:lnTo>
                  <a:lnTo>
                    <a:pt x="1604" y="623"/>
                  </a:lnTo>
                  <a:lnTo>
                    <a:pt x="1571" y="565"/>
                  </a:lnTo>
                  <a:lnTo>
                    <a:pt x="1533" y="510"/>
                  </a:lnTo>
                  <a:lnTo>
                    <a:pt x="1492" y="460"/>
                  </a:lnTo>
                  <a:lnTo>
                    <a:pt x="1445" y="413"/>
                  </a:lnTo>
                  <a:lnTo>
                    <a:pt x="1393" y="370"/>
                  </a:lnTo>
                  <a:lnTo>
                    <a:pt x="1340" y="333"/>
                  </a:lnTo>
                  <a:lnTo>
                    <a:pt x="1281" y="300"/>
                  </a:lnTo>
                  <a:lnTo>
                    <a:pt x="1221" y="272"/>
                  </a:lnTo>
                  <a:lnTo>
                    <a:pt x="1157" y="250"/>
                  </a:lnTo>
                  <a:lnTo>
                    <a:pt x="1090" y="235"/>
                  </a:lnTo>
                  <a:lnTo>
                    <a:pt x="1022" y="225"/>
                  </a:lnTo>
                  <a:lnTo>
                    <a:pt x="952" y="222"/>
                  </a:lnTo>
                  <a:close/>
                  <a:moveTo>
                    <a:pt x="952" y="0"/>
                  </a:moveTo>
                  <a:lnTo>
                    <a:pt x="1030" y="3"/>
                  </a:lnTo>
                  <a:lnTo>
                    <a:pt x="1105" y="13"/>
                  </a:lnTo>
                  <a:lnTo>
                    <a:pt x="1181" y="28"/>
                  </a:lnTo>
                  <a:lnTo>
                    <a:pt x="1253" y="49"/>
                  </a:lnTo>
                  <a:lnTo>
                    <a:pt x="1321" y="75"/>
                  </a:lnTo>
                  <a:lnTo>
                    <a:pt x="1389" y="107"/>
                  </a:lnTo>
                  <a:lnTo>
                    <a:pt x="1452" y="143"/>
                  </a:lnTo>
                  <a:lnTo>
                    <a:pt x="1513" y="185"/>
                  </a:lnTo>
                  <a:lnTo>
                    <a:pt x="1571" y="229"/>
                  </a:lnTo>
                  <a:lnTo>
                    <a:pt x="1625" y="280"/>
                  </a:lnTo>
                  <a:lnTo>
                    <a:pt x="1674" y="333"/>
                  </a:lnTo>
                  <a:lnTo>
                    <a:pt x="1720" y="390"/>
                  </a:lnTo>
                  <a:lnTo>
                    <a:pt x="1760" y="451"/>
                  </a:lnTo>
                  <a:lnTo>
                    <a:pt x="1797" y="516"/>
                  </a:lnTo>
                  <a:lnTo>
                    <a:pt x="1829" y="582"/>
                  </a:lnTo>
                  <a:lnTo>
                    <a:pt x="1855" y="652"/>
                  </a:lnTo>
                  <a:lnTo>
                    <a:pt x="1876" y="724"/>
                  </a:lnTo>
                  <a:lnTo>
                    <a:pt x="1891" y="799"/>
                  </a:lnTo>
                  <a:lnTo>
                    <a:pt x="1900" y="875"/>
                  </a:lnTo>
                  <a:lnTo>
                    <a:pt x="1903" y="954"/>
                  </a:lnTo>
                  <a:lnTo>
                    <a:pt x="1900" y="1031"/>
                  </a:lnTo>
                  <a:lnTo>
                    <a:pt x="1891" y="1108"/>
                  </a:lnTo>
                  <a:lnTo>
                    <a:pt x="1876" y="1182"/>
                  </a:lnTo>
                  <a:lnTo>
                    <a:pt x="1855" y="1254"/>
                  </a:lnTo>
                  <a:lnTo>
                    <a:pt x="1829" y="1324"/>
                  </a:lnTo>
                  <a:lnTo>
                    <a:pt x="1797" y="1391"/>
                  </a:lnTo>
                  <a:lnTo>
                    <a:pt x="1760" y="1455"/>
                  </a:lnTo>
                  <a:lnTo>
                    <a:pt x="1720" y="1516"/>
                  </a:lnTo>
                  <a:lnTo>
                    <a:pt x="1674" y="1573"/>
                  </a:lnTo>
                  <a:lnTo>
                    <a:pt x="1625" y="1627"/>
                  </a:lnTo>
                  <a:lnTo>
                    <a:pt x="1571" y="1677"/>
                  </a:lnTo>
                  <a:lnTo>
                    <a:pt x="1513" y="1722"/>
                  </a:lnTo>
                  <a:lnTo>
                    <a:pt x="1452" y="1763"/>
                  </a:lnTo>
                  <a:lnTo>
                    <a:pt x="1389" y="1799"/>
                  </a:lnTo>
                  <a:lnTo>
                    <a:pt x="1321" y="1831"/>
                  </a:lnTo>
                  <a:lnTo>
                    <a:pt x="1253" y="1857"/>
                  </a:lnTo>
                  <a:lnTo>
                    <a:pt x="1181" y="1878"/>
                  </a:lnTo>
                  <a:lnTo>
                    <a:pt x="1105" y="1893"/>
                  </a:lnTo>
                  <a:lnTo>
                    <a:pt x="1030" y="1903"/>
                  </a:lnTo>
                  <a:lnTo>
                    <a:pt x="952" y="1906"/>
                  </a:lnTo>
                  <a:lnTo>
                    <a:pt x="873" y="1903"/>
                  </a:lnTo>
                  <a:lnTo>
                    <a:pt x="798" y="1893"/>
                  </a:lnTo>
                  <a:lnTo>
                    <a:pt x="722" y="1878"/>
                  </a:lnTo>
                  <a:lnTo>
                    <a:pt x="650" y="1857"/>
                  </a:lnTo>
                  <a:lnTo>
                    <a:pt x="582" y="1831"/>
                  </a:lnTo>
                  <a:lnTo>
                    <a:pt x="514" y="1799"/>
                  </a:lnTo>
                  <a:lnTo>
                    <a:pt x="451" y="1763"/>
                  </a:lnTo>
                  <a:lnTo>
                    <a:pt x="390" y="1722"/>
                  </a:lnTo>
                  <a:lnTo>
                    <a:pt x="332" y="1677"/>
                  </a:lnTo>
                  <a:lnTo>
                    <a:pt x="278" y="1627"/>
                  </a:lnTo>
                  <a:lnTo>
                    <a:pt x="229" y="1573"/>
                  </a:lnTo>
                  <a:lnTo>
                    <a:pt x="184" y="1516"/>
                  </a:lnTo>
                  <a:lnTo>
                    <a:pt x="143" y="1455"/>
                  </a:lnTo>
                  <a:lnTo>
                    <a:pt x="106" y="1391"/>
                  </a:lnTo>
                  <a:lnTo>
                    <a:pt x="74" y="1324"/>
                  </a:lnTo>
                  <a:lnTo>
                    <a:pt x="48" y="1254"/>
                  </a:lnTo>
                  <a:lnTo>
                    <a:pt x="28" y="1182"/>
                  </a:lnTo>
                  <a:lnTo>
                    <a:pt x="12" y="1108"/>
                  </a:lnTo>
                  <a:lnTo>
                    <a:pt x="4" y="1031"/>
                  </a:lnTo>
                  <a:lnTo>
                    <a:pt x="0" y="954"/>
                  </a:lnTo>
                  <a:lnTo>
                    <a:pt x="4" y="875"/>
                  </a:lnTo>
                  <a:lnTo>
                    <a:pt x="12" y="799"/>
                  </a:lnTo>
                  <a:lnTo>
                    <a:pt x="28" y="724"/>
                  </a:lnTo>
                  <a:lnTo>
                    <a:pt x="48" y="652"/>
                  </a:lnTo>
                  <a:lnTo>
                    <a:pt x="74" y="582"/>
                  </a:lnTo>
                  <a:lnTo>
                    <a:pt x="106" y="516"/>
                  </a:lnTo>
                  <a:lnTo>
                    <a:pt x="143" y="451"/>
                  </a:lnTo>
                  <a:lnTo>
                    <a:pt x="184" y="390"/>
                  </a:lnTo>
                  <a:lnTo>
                    <a:pt x="229" y="333"/>
                  </a:lnTo>
                  <a:lnTo>
                    <a:pt x="278" y="280"/>
                  </a:lnTo>
                  <a:lnTo>
                    <a:pt x="332" y="229"/>
                  </a:lnTo>
                  <a:lnTo>
                    <a:pt x="390" y="185"/>
                  </a:lnTo>
                  <a:lnTo>
                    <a:pt x="451" y="143"/>
                  </a:lnTo>
                  <a:lnTo>
                    <a:pt x="514" y="107"/>
                  </a:lnTo>
                  <a:lnTo>
                    <a:pt x="582" y="75"/>
                  </a:lnTo>
                  <a:lnTo>
                    <a:pt x="650" y="49"/>
                  </a:lnTo>
                  <a:lnTo>
                    <a:pt x="722" y="28"/>
                  </a:lnTo>
                  <a:lnTo>
                    <a:pt x="798" y="13"/>
                  </a:lnTo>
                  <a:lnTo>
                    <a:pt x="873" y="3"/>
                  </a:lnTo>
                  <a:lnTo>
                    <a:pt x="952"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63" name="Freeform 55"/>
            <p:cNvSpPr>
              <a:spLocks/>
            </p:cNvSpPr>
            <p:nvPr/>
          </p:nvSpPr>
          <p:spPr bwMode="auto">
            <a:xfrm>
              <a:off x="1404938" y="3721100"/>
              <a:ext cx="414338" cy="182563"/>
            </a:xfrm>
            <a:custGeom>
              <a:avLst/>
              <a:gdLst>
                <a:gd name="T0" fmla="*/ 825 w 2608"/>
                <a:gd name="T1" fmla="*/ 14 h 1149"/>
                <a:gd name="T2" fmla="*/ 1025 w 2608"/>
                <a:gd name="T3" fmla="*/ 59 h 1149"/>
                <a:gd name="T4" fmla="*/ 1240 w 2608"/>
                <a:gd name="T5" fmla="*/ 119 h 1149"/>
                <a:gd name="T6" fmla="*/ 1439 w 2608"/>
                <a:gd name="T7" fmla="*/ 182 h 1149"/>
                <a:gd name="T8" fmla="*/ 1593 w 2608"/>
                <a:gd name="T9" fmla="*/ 231 h 1149"/>
                <a:gd name="T10" fmla="*/ 1678 w 2608"/>
                <a:gd name="T11" fmla="*/ 256 h 1149"/>
                <a:gd name="T12" fmla="*/ 1731 w 2608"/>
                <a:gd name="T13" fmla="*/ 309 h 1149"/>
                <a:gd name="T14" fmla="*/ 1737 w 2608"/>
                <a:gd name="T15" fmla="*/ 385 h 1149"/>
                <a:gd name="T16" fmla="*/ 1686 w 2608"/>
                <a:gd name="T17" fmla="*/ 462 h 1149"/>
                <a:gd name="T18" fmla="*/ 1565 w 2608"/>
                <a:gd name="T19" fmla="*/ 509 h 1149"/>
                <a:gd name="T20" fmla="*/ 1405 w 2608"/>
                <a:gd name="T21" fmla="*/ 518 h 1149"/>
                <a:gd name="T22" fmla="*/ 1241 w 2608"/>
                <a:gd name="T23" fmla="*/ 501 h 1149"/>
                <a:gd name="T24" fmla="*/ 1093 w 2608"/>
                <a:gd name="T25" fmla="*/ 476 h 1149"/>
                <a:gd name="T26" fmla="*/ 988 w 2608"/>
                <a:gd name="T27" fmla="*/ 457 h 1149"/>
                <a:gd name="T28" fmla="*/ 947 w 2608"/>
                <a:gd name="T29" fmla="*/ 464 h 1149"/>
                <a:gd name="T30" fmla="*/ 1003 w 2608"/>
                <a:gd name="T31" fmla="*/ 531 h 1149"/>
                <a:gd name="T32" fmla="*/ 1144 w 2608"/>
                <a:gd name="T33" fmla="*/ 586 h 1149"/>
                <a:gd name="T34" fmla="*/ 1331 w 2608"/>
                <a:gd name="T35" fmla="*/ 624 h 1149"/>
                <a:gd name="T36" fmla="*/ 1528 w 2608"/>
                <a:gd name="T37" fmla="*/ 638 h 1149"/>
                <a:gd name="T38" fmla="*/ 1762 w 2608"/>
                <a:gd name="T39" fmla="*/ 610 h 1149"/>
                <a:gd name="T40" fmla="*/ 2161 w 2608"/>
                <a:gd name="T41" fmla="*/ 490 h 1149"/>
                <a:gd name="T42" fmla="*/ 2446 w 2608"/>
                <a:gd name="T43" fmla="*/ 357 h 1149"/>
                <a:gd name="T44" fmla="*/ 2549 w 2608"/>
                <a:gd name="T45" fmla="*/ 366 h 1149"/>
                <a:gd name="T46" fmla="*/ 2604 w 2608"/>
                <a:gd name="T47" fmla="*/ 447 h 1149"/>
                <a:gd name="T48" fmla="*/ 2579 w 2608"/>
                <a:gd name="T49" fmla="*/ 569 h 1149"/>
                <a:gd name="T50" fmla="*/ 2484 w 2608"/>
                <a:gd name="T51" fmla="*/ 670 h 1149"/>
                <a:gd name="T52" fmla="*/ 2353 w 2608"/>
                <a:gd name="T53" fmla="*/ 761 h 1149"/>
                <a:gd name="T54" fmla="*/ 2177 w 2608"/>
                <a:gd name="T55" fmla="*/ 871 h 1149"/>
                <a:gd name="T56" fmla="*/ 1980 w 2608"/>
                <a:gd name="T57" fmla="*/ 982 h 1149"/>
                <a:gd name="T58" fmla="*/ 1793 w 2608"/>
                <a:gd name="T59" fmla="*/ 1076 h 1149"/>
                <a:gd name="T60" fmla="*/ 1641 w 2608"/>
                <a:gd name="T61" fmla="*/ 1137 h 1149"/>
                <a:gd name="T62" fmla="*/ 1535 w 2608"/>
                <a:gd name="T63" fmla="*/ 1149 h 1149"/>
                <a:gd name="T64" fmla="*/ 1360 w 2608"/>
                <a:gd name="T65" fmla="*/ 1134 h 1149"/>
                <a:gd name="T66" fmla="*/ 1129 w 2608"/>
                <a:gd name="T67" fmla="*/ 1103 h 1149"/>
                <a:gd name="T68" fmla="*/ 875 w 2608"/>
                <a:gd name="T69" fmla="*/ 1064 h 1149"/>
                <a:gd name="T70" fmla="*/ 631 w 2608"/>
                <a:gd name="T71" fmla="*/ 1022 h 1149"/>
                <a:gd name="T72" fmla="*/ 429 w 2608"/>
                <a:gd name="T73" fmla="*/ 985 h 1149"/>
                <a:gd name="T74" fmla="*/ 301 w 2608"/>
                <a:gd name="T75" fmla="*/ 961 h 1149"/>
                <a:gd name="T76" fmla="*/ 196 w 2608"/>
                <a:gd name="T77" fmla="*/ 964 h 1149"/>
                <a:gd name="T78" fmla="*/ 85 w 2608"/>
                <a:gd name="T79" fmla="*/ 1028 h 1149"/>
                <a:gd name="T80" fmla="*/ 28 w 2608"/>
                <a:gd name="T81" fmla="*/ 1064 h 1149"/>
                <a:gd name="T82" fmla="*/ 6 w 2608"/>
                <a:gd name="T83" fmla="*/ 1044 h 1149"/>
                <a:gd name="T84" fmla="*/ 0 w 2608"/>
                <a:gd name="T85" fmla="*/ 1023 h 1149"/>
                <a:gd name="T86" fmla="*/ 18 w 2608"/>
                <a:gd name="T87" fmla="*/ 758 h 1149"/>
                <a:gd name="T88" fmla="*/ 37 w 2608"/>
                <a:gd name="T89" fmla="*/ 450 h 1149"/>
                <a:gd name="T90" fmla="*/ 55 w 2608"/>
                <a:gd name="T91" fmla="*/ 175 h 1149"/>
                <a:gd name="T92" fmla="*/ 73 w 2608"/>
                <a:gd name="T93" fmla="*/ 84 h 1149"/>
                <a:gd name="T94" fmla="*/ 125 w 2608"/>
                <a:gd name="T95" fmla="*/ 69 h 1149"/>
                <a:gd name="T96" fmla="*/ 262 w 2608"/>
                <a:gd name="T97" fmla="*/ 47 h 1149"/>
                <a:gd name="T98" fmla="*/ 456 w 2608"/>
                <a:gd name="T99" fmla="*/ 19 h 1149"/>
                <a:gd name="T100" fmla="*/ 636 w 2608"/>
                <a:gd name="T101" fmla="*/ 2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08" h="1149">
                  <a:moveTo>
                    <a:pt x="704" y="0"/>
                  </a:moveTo>
                  <a:lnTo>
                    <a:pt x="741" y="2"/>
                  </a:lnTo>
                  <a:lnTo>
                    <a:pt x="781" y="7"/>
                  </a:lnTo>
                  <a:lnTo>
                    <a:pt x="825" y="14"/>
                  </a:lnTo>
                  <a:lnTo>
                    <a:pt x="872" y="23"/>
                  </a:lnTo>
                  <a:lnTo>
                    <a:pt x="921" y="34"/>
                  </a:lnTo>
                  <a:lnTo>
                    <a:pt x="972" y="46"/>
                  </a:lnTo>
                  <a:lnTo>
                    <a:pt x="1025" y="59"/>
                  </a:lnTo>
                  <a:lnTo>
                    <a:pt x="1078" y="73"/>
                  </a:lnTo>
                  <a:lnTo>
                    <a:pt x="1133" y="88"/>
                  </a:lnTo>
                  <a:lnTo>
                    <a:pt x="1186" y="104"/>
                  </a:lnTo>
                  <a:lnTo>
                    <a:pt x="1240" y="119"/>
                  </a:lnTo>
                  <a:lnTo>
                    <a:pt x="1292" y="135"/>
                  </a:lnTo>
                  <a:lnTo>
                    <a:pt x="1343" y="152"/>
                  </a:lnTo>
                  <a:lnTo>
                    <a:pt x="1392" y="167"/>
                  </a:lnTo>
                  <a:lnTo>
                    <a:pt x="1439" y="182"/>
                  </a:lnTo>
                  <a:lnTo>
                    <a:pt x="1483" y="196"/>
                  </a:lnTo>
                  <a:lnTo>
                    <a:pt x="1523" y="210"/>
                  </a:lnTo>
                  <a:lnTo>
                    <a:pt x="1560" y="220"/>
                  </a:lnTo>
                  <a:lnTo>
                    <a:pt x="1593" y="231"/>
                  </a:lnTo>
                  <a:lnTo>
                    <a:pt x="1620" y="239"/>
                  </a:lnTo>
                  <a:lnTo>
                    <a:pt x="1643" y="246"/>
                  </a:lnTo>
                  <a:lnTo>
                    <a:pt x="1661" y="250"/>
                  </a:lnTo>
                  <a:lnTo>
                    <a:pt x="1678" y="256"/>
                  </a:lnTo>
                  <a:lnTo>
                    <a:pt x="1695" y="266"/>
                  </a:lnTo>
                  <a:lnTo>
                    <a:pt x="1709" y="278"/>
                  </a:lnTo>
                  <a:lnTo>
                    <a:pt x="1721" y="293"/>
                  </a:lnTo>
                  <a:lnTo>
                    <a:pt x="1731" y="309"/>
                  </a:lnTo>
                  <a:lnTo>
                    <a:pt x="1736" y="326"/>
                  </a:lnTo>
                  <a:lnTo>
                    <a:pt x="1740" y="346"/>
                  </a:lnTo>
                  <a:lnTo>
                    <a:pt x="1740" y="366"/>
                  </a:lnTo>
                  <a:lnTo>
                    <a:pt x="1737" y="385"/>
                  </a:lnTo>
                  <a:lnTo>
                    <a:pt x="1729" y="406"/>
                  </a:lnTo>
                  <a:lnTo>
                    <a:pt x="1720" y="426"/>
                  </a:lnTo>
                  <a:lnTo>
                    <a:pt x="1704" y="444"/>
                  </a:lnTo>
                  <a:lnTo>
                    <a:pt x="1686" y="462"/>
                  </a:lnTo>
                  <a:lnTo>
                    <a:pt x="1662" y="477"/>
                  </a:lnTo>
                  <a:lnTo>
                    <a:pt x="1633" y="490"/>
                  </a:lnTo>
                  <a:lnTo>
                    <a:pt x="1601" y="501"/>
                  </a:lnTo>
                  <a:lnTo>
                    <a:pt x="1565" y="509"/>
                  </a:lnTo>
                  <a:lnTo>
                    <a:pt x="1527" y="514"/>
                  </a:lnTo>
                  <a:lnTo>
                    <a:pt x="1487" y="518"/>
                  </a:lnTo>
                  <a:lnTo>
                    <a:pt x="1447" y="519"/>
                  </a:lnTo>
                  <a:lnTo>
                    <a:pt x="1405" y="518"/>
                  </a:lnTo>
                  <a:lnTo>
                    <a:pt x="1364" y="515"/>
                  </a:lnTo>
                  <a:lnTo>
                    <a:pt x="1321" y="512"/>
                  </a:lnTo>
                  <a:lnTo>
                    <a:pt x="1281" y="507"/>
                  </a:lnTo>
                  <a:lnTo>
                    <a:pt x="1241" y="501"/>
                  </a:lnTo>
                  <a:lnTo>
                    <a:pt x="1200" y="495"/>
                  </a:lnTo>
                  <a:lnTo>
                    <a:pt x="1163" y="488"/>
                  </a:lnTo>
                  <a:lnTo>
                    <a:pt x="1127" y="482"/>
                  </a:lnTo>
                  <a:lnTo>
                    <a:pt x="1093" y="476"/>
                  </a:lnTo>
                  <a:lnTo>
                    <a:pt x="1062" y="469"/>
                  </a:lnTo>
                  <a:lnTo>
                    <a:pt x="1033" y="465"/>
                  </a:lnTo>
                  <a:lnTo>
                    <a:pt x="1008" y="461"/>
                  </a:lnTo>
                  <a:lnTo>
                    <a:pt x="988" y="457"/>
                  </a:lnTo>
                  <a:lnTo>
                    <a:pt x="970" y="456"/>
                  </a:lnTo>
                  <a:lnTo>
                    <a:pt x="958" y="456"/>
                  </a:lnTo>
                  <a:lnTo>
                    <a:pt x="949" y="460"/>
                  </a:lnTo>
                  <a:lnTo>
                    <a:pt x="947" y="464"/>
                  </a:lnTo>
                  <a:lnTo>
                    <a:pt x="951" y="482"/>
                  </a:lnTo>
                  <a:lnTo>
                    <a:pt x="961" y="498"/>
                  </a:lnTo>
                  <a:lnTo>
                    <a:pt x="979" y="514"/>
                  </a:lnTo>
                  <a:lnTo>
                    <a:pt x="1003" y="531"/>
                  </a:lnTo>
                  <a:lnTo>
                    <a:pt x="1031" y="546"/>
                  </a:lnTo>
                  <a:lnTo>
                    <a:pt x="1065" y="560"/>
                  </a:lnTo>
                  <a:lnTo>
                    <a:pt x="1102" y="573"/>
                  </a:lnTo>
                  <a:lnTo>
                    <a:pt x="1144" y="586"/>
                  </a:lnTo>
                  <a:lnTo>
                    <a:pt x="1187" y="597"/>
                  </a:lnTo>
                  <a:lnTo>
                    <a:pt x="1234" y="607"/>
                  </a:lnTo>
                  <a:lnTo>
                    <a:pt x="1282" y="616"/>
                  </a:lnTo>
                  <a:lnTo>
                    <a:pt x="1331" y="624"/>
                  </a:lnTo>
                  <a:lnTo>
                    <a:pt x="1381" y="630"/>
                  </a:lnTo>
                  <a:lnTo>
                    <a:pt x="1431" y="634"/>
                  </a:lnTo>
                  <a:lnTo>
                    <a:pt x="1480" y="637"/>
                  </a:lnTo>
                  <a:lnTo>
                    <a:pt x="1528" y="638"/>
                  </a:lnTo>
                  <a:lnTo>
                    <a:pt x="1575" y="637"/>
                  </a:lnTo>
                  <a:lnTo>
                    <a:pt x="1618" y="634"/>
                  </a:lnTo>
                  <a:lnTo>
                    <a:pt x="1659" y="629"/>
                  </a:lnTo>
                  <a:lnTo>
                    <a:pt x="1762" y="610"/>
                  </a:lnTo>
                  <a:lnTo>
                    <a:pt x="1866" y="586"/>
                  </a:lnTo>
                  <a:lnTo>
                    <a:pt x="1967" y="558"/>
                  </a:lnTo>
                  <a:lnTo>
                    <a:pt x="2065" y="525"/>
                  </a:lnTo>
                  <a:lnTo>
                    <a:pt x="2161" y="490"/>
                  </a:lnTo>
                  <a:lnTo>
                    <a:pt x="2252" y="452"/>
                  </a:lnTo>
                  <a:lnTo>
                    <a:pt x="2337" y="412"/>
                  </a:lnTo>
                  <a:lnTo>
                    <a:pt x="2417" y="370"/>
                  </a:lnTo>
                  <a:lnTo>
                    <a:pt x="2446" y="357"/>
                  </a:lnTo>
                  <a:lnTo>
                    <a:pt x="2475" y="352"/>
                  </a:lnTo>
                  <a:lnTo>
                    <a:pt x="2501" y="350"/>
                  </a:lnTo>
                  <a:lnTo>
                    <a:pt x="2526" y="356"/>
                  </a:lnTo>
                  <a:lnTo>
                    <a:pt x="2549" y="366"/>
                  </a:lnTo>
                  <a:lnTo>
                    <a:pt x="2568" y="380"/>
                  </a:lnTo>
                  <a:lnTo>
                    <a:pt x="2585" y="398"/>
                  </a:lnTo>
                  <a:lnTo>
                    <a:pt x="2597" y="421"/>
                  </a:lnTo>
                  <a:lnTo>
                    <a:pt x="2604" y="447"/>
                  </a:lnTo>
                  <a:lnTo>
                    <a:pt x="2608" y="474"/>
                  </a:lnTo>
                  <a:lnTo>
                    <a:pt x="2604" y="504"/>
                  </a:lnTo>
                  <a:lnTo>
                    <a:pt x="2595" y="536"/>
                  </a:lnTo>
                  <a:lnTo>
                    <a:pt x="2579" y="569"/>
                  </a:lnTo>
                  <a:lnTo>
                    <a:pt x="2555" y="603"/>
                  </a:lnTo>
                  <a:lnTo>
                    <a:pt x="2525" y="637"/>
                  </a:lnTo>
                  <a:lnTo>
                    <a:pt x="2507" y="652"/>
                  </a:lnTo>
                  <a:lnTo>
                    <a:pt x="2484" y="670"/>
                  </a:lnTo>
                  <a:lnTo>
                    <a:pt x="2458" y="690"/>
                  </a:lnTo>
                  <a:lnTo>
                    <a:pt x="2427" y="712"/>
                  </a:lnTo>
                  <a:lnTo>
                    <a:pt x="2392" y="736"/>
                  </a:lnTo>
                  <a:lnTo>
                    <a:pt x="2353" y="761"/>
                  </a:lnTo>
                  <a:lnTo>
                    <a:pt x="2313" y="788"/>
                  </a:lnTo>
                  <a:lnTo>
                    <a:pt x="2269" y="815"/>
                  </a:lnTo>
                  <a:lnTo>
                    <a:pt x="2224" y="843"/>
                  </a:lnTo>
                  <a:lnTo>
                    <a:pt x="2177" y="871"/>
                  </a:lnTo>
                  <a:lnTo>
                    <a:pt x="2129" y="900"/>
                  </a:lnTo>
                  <a:lnTo>
                    <a:pt x="2080" y="927"/>
                  </a:lnTo>
                  <a:lnTo>
                    <a:pt x="2029" y="954"/>
                  </a:lnTo>
                  <a:lnTo>
                    <a:pt x="1980" y="982"/>
                  </a:lnTo>
                  <a:lnTo>
                    <a:pt x="1931" y="1008"/>
                  </a:lnTo>
                  <a:lnTo>
                    <a:pt x="1884" y="1032"/>
                  </a:lnTo>
                  <a:lnTo>
                    <a:pt x="1837" y="1055"/>
                  </a:lnTo>
                  <a:lnTo>
                    <a:pt x="1793" y="1076"/>
                  </a:lnTo>
                  <a:lnTo>
                    <a:pt x="1750" y="1095"/>
                  </a:lnTo>
                  <a:lnTo>
                    <a:pt x="1711" y="1112"/>
                  </a:lnTo>
                  <a:lnTo>
                    <a:pt x="1674" y="1126"/>
                  </a:lnTo>
                  <a:lnTo>
                    <a:pt x="1641" y="1137"/>
                  </a:lnTo>
                  <a:lnTo>
                    <a:pt x="1612" y="1145"/>
                  </a:lnTo>
                  <a:lnTo>
                    <a:pt x="1592" y="1148"/>
                  </a:lnTo>
                  <a:lnTo>
                    <a:pt x="1567" y="1149"/>
                  </a:lnTo>
                  <a:lnTo>
                    <a:pt x="1535" y="1149"/>
                  </a:lnTo>
                  <a:lnTo>
                    <a:pt x="1498" y="1147"/>
                  </a:lnTo>
                  <a:lnTo>
                    <a:pt x="1457" y="1143"/>
                  </a:lnTo>
                  <a:lnTo>
                    <a:pt x="1410" y="1139"/>
                  </a:lnTo>
                  <a:lnTo>
                    <a:pt x="1360" y="1134"/>
                  </a:lnTo>
                  <a:lnTo>
                    <a:pt x="1306" y="1127"/>
                  </a:lnTo>
                  <a:lnTo>
                    <a:pt x="1249" y="1120"/>
                  </a:lnTo>
                  <a:lnTo>
                    <a:pt x="1191" y="1112"/>
                  </a:lnTo>
                  <a:lnTo>
                    <a:pt x="1129" y="1103"/>
                  </a:lnTo>
                  <a:lnTo>
                    <a:pt x="1066" y="1094"/>
                  </a:lnTo>
                  <a:lnTo>
                    <a:pt x="1003" y="1084"/>
                  </a:lnTo>
                  <a:lnTo>
                    <a:pt x="940" y="1075"/>
                  </a:lnTo>
                  <a:lnTo>
                    <a:pt x="875" y="1064"/>
                  </a:lnTo>
                  <a:lnTo>
                    <a:pt x="812" y="1054"/>
                  </a:lnTo>
                  <a:lnTo>
                    <a:pt x="750" y="1043"/>
                  </a:lnTo>
                  <a:lnTo>
                    <a:pt x="690" y="1032"/>
                  </a:lnTo>
                  <a:lnTo>
                    <a:pt x="631" y="1022"/>
                  </a:lnTo>
                  <a:lnTo>
                    <a:pt x="575" y="1012"/>
                  </a:lnTo>
                  <a:lnTo>
                    <a:pt x="523" y="1003"/>
                  </a:lnTo>
                  <a:lnTo>
                    <a:pt x="474" y="994"/>
                  </a:lnTo>
                  <a:lnTo>
                    <a:pt x="429" y="985"/>
                  </a:lnTo>
                  <a:lnTo>
                    <a:pt x="389" y="977"/>
                  </a:lnTo>
                  <a:lnTo>
                    <a:pt x="354" y="971"/>
                  </a:lnTo>
                  <a:lnTo>
                    <a:pt x="324" y="965"/>
                  </a:lnTo>
                  <a:lnTo>
                    <a:pt x="301" y="961"/>
                  </a:lnTo>
                  <a:lnTo>
                    <a:pt x="285" y="957"/>
                  </a:lnTo>
                  <a:lnTo>
                    <a:pt x="256" y="953"/>
                  </a:lnTo>
                  <a:lnTo>
                    <a:pt x="225" y="957"/>
                  </a:lnTo>
                  <a:lnTo>
                    <a:pt x="196" y="964"/>
                  </a:lnTo>
                  <a:lnTo>
                    <a:pt x="167" y="976"/>
                  </a:lnTo>
                  <a:lnTo>
                    <a:pt x="139" y="992"/>
                  </a:lnTo>
                  <a:lnTo>
                    <a:pt x="112" y="1009"/>
                  </a:lnTo>
                  <a:lnTo>
                    <a:pt x="85" y="1028"/>
                  </a:lnTo>
                  <a:lnTo>
                    <a:pt x="63" y="1047"/>
                  </a:lnTo>
                  <a:lnTo>
                    <a:pt x="48" y="1057"/>
                  </a:lnTo>
                  <a:lnTo>
                    <a:pt x="36" y="1063"/>
                  </a:lnTo>
                  <a:lnTo>
                    <a:pt x="28" y="1064"/>
                  </a:lnTo>
                  <a:lnTo>
                    <a:pt x="20" y="1062"/>
                  </a:lnTo>
                  <a:lnTo>
                    <a:pt x="13" y="1057"/>
                  </a:lnTo>
                  <a:lnTo>
                    <a:pt x="9" y="1052"/>
                  </a:lnTo>
                  <a:lnTo>
                    <a:pt x="6" y="1044"/>
                  </a:lnTo>
                  <a:lnTo>
                    <a:pt x="3" y="1037"/>
                  </a:lnTo>
                  <a:lnTo>
                    <a:pt x="1" y="1031"/>
                  </a:lnTo>
                  <a:lnTo>
                    <a:pt x="1" y="1025"/>
                  </a:lnTo>
                  <a:lnTo>
                    <a:pt x="0" y="1023"/>
                  </a:lnTo>
                  <a:lnTo>
                    <a:pt x="5" y="965"/>
                  </a:lnTo>
                  <a:lnTo>
                    <a:pt x="9" y="901"/>
                  </a:lnTo>
                  <a:lnTo>
                    <a:pt x="13" y="832"/>
                  </a:lnTo>
                  <a:lnTo>
                    <a:pt x="18" y="758"/>
                  </a:lnTo>
                  <a:lnTo>
                    <a:pt x="23" y="682"/>
                  </a:lnTo>
                  <a:lnTo>
                    <a:pt x="28" y="605"/>
                  </a:lnTo>
                  <a:lnTo>
                    <a:pt x="33" y="526"/>
                  </a:lnTo>
                  <a:lnTo>
                    <a:pt x="37" y="450"/>
                  </a:lnTo>
                  <a:lnTo>
                    <a:pt x="43" y="374"/>
                  </a:lnTo>
                  <a:lnTo>
                    <a:pt x="47" y="303"/>
                  </a:lnTo>
                  <a:lnTo>
                    <a:pt x="52" y="236"/>
                  </a:lnTo>
                  <a:lnTo>
                    <a:pt x="55" y="175"/>
                  </a:lnTo>
                  <a:lnTo>
                    <a:pt x="59" y="120"/>
                  </a:lnTo>
                  <a:lnTo>
                    <a:pt x="61" y="105"/>
                  </a:lnTo>
                  <a:lnTo>
                    <a:pt x="66" y="93"/>
                  </a:lnTo>
                  <a:lnTo>
                    <a:pt x="73" y="84"/>
                  </a:lnTo>
                  <a:lnTo>
                    <a:pt x="83" y="78"/>
                  </a:lnTo>
                  <a:lnTo>
                    <a:pt x="95" y="74"/>
                  </a:lnTo>
                  <a:lnTo>
                    <a:pt x="108" y="71"/>
                  </a:lnTo>
                  <a:lnTo>
                    <a:pt x="125" y="69"/>
                  </a:lnTo>
                  <a:lnTo>
                    <a:pt x="142" y="65"/>
                  </a:lnTo>
                  <a:lnTo>
                    <a:pt x="178" y="60"/>
                  </a:lnTo>
                  <a:lnTo>
                    <a:pt x="219" y="53"/>
                  </a:lnTo>
                  <a:lnTo>
                    <a:pt x="262" y="47"/>
                  </a:lnTo>
                  <a:lnTo>
                    <a:pt x="309" y="39"/>
                  </a:lnTo>
                  <a:lnTo>
                    <a:pt x="357" y="33"/>
                  </a:lnTo>
                  <a:lnTo>
                    <a:pt x="407" y="26"/>
                  </a:lnTo>
                  <a:lnTo>
                    <a:pt x="456" y="19"/>
                  </a:lnTo>
                  <a:lnTo>
                    <a:pt x="505" y="14"/>
                  </a:lnTo>
                  <a:lnTo>
                    <a:pt x="552" y="9"/>
                  </a:lnTo>
                  <a:lnTo>
                    <a:pt x="596" y="4"/>
                  </a:lnTo>
                  <a:lnTo>
                    <a:pt x="636" y="2"/>
                  </a:lnTo>
                  <a:lnTo>
                    <a:pt x="673" y="0"/>
                  </a:lnTo>
                  <a:lnTo>
                    <a:pt x="704"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sp>
          <p:nvSpPr>
            <p:cNvPr id="164" name="Freeform 56"/>
            <p:cNvSpPr>
              <a:spLocks noEditPoints="1"/>
            </p:cNvSpPr>
            <p:nvPr/>
          </p:nvSpPr>
          <p:spPr bwMode="auto">
            <a:xfrm>
              <a:off x="1247775" y="3725863"/>
              <a:ext cx="131763" cy="168275"/>
            </a:xfrm>
            <a:custGeom>
              <a:avLst/>
              <a:gdLst>
                <a:gd name="T0" fmla="*/ 429 w 827"/>
                <a:gd name="T1" fmla="*/ 639 h 1067"/>
                <a:gd name="T2" fmla="*/ 397 w 827"/>
                <a:gd name="T3" fmla="*/ 643 h 1067"/>
                <a:gd name="T4" fmla="*/ 369 w 827"/>
                <a:gd name="T5" fmla="*/ 651 h 1067"/>
                <a:gd name="T6" fmla="*/ 343 w 827"/>
                <a:gd name="T7" fmla="*/ 665 h 1067"/>
                <a:gd name="T8" fmla="*/ 320 w 827"/>
                <a:gd name="T9" fmla="*/ 684 h 1067"/>
                <a:gd name="T10" fmla="*/ 301 w 827"/>
                <a:gd name="T11" fmla="*/ 707 h 1067"/>
                <a:gd name="T12" fmla="*/ 287 w 827"/>
                <a:gd name="T13" fmla="*/ 732 h 1067"/>
                <a:gd name="T14" fmla="*/ 278 w 827"/>
                <a:gd name="T15" fmla="*/ 762 h 1067"/>
                <a:gd name="T16" fmla="*/ 275 w 827"/>
                <a:gd name="T17" fmla="*/ 792 h 1067"/>
                <a:gd name="T18" fmla="*/ 278 w 827"/>
                <a:gd name="T19" fmla="*/ 823 h 1067"/>
                <a:gd name="T20" fmla="*/ 287 w 827"/>
                <a:gd name="T21" fmla="*/ 852 h 1067"/>
                <a:gd name="T22" fmla="*/ 301 w 827"/>
                <a:gd name="T23" fmla="*/ 878 h 1067"/>
                <a:gd name="T24" fmla="*/ 320 w 827"/>
                <a:gd name="T25" fmla="*/ 901 h 1067"/>
                <a:gd name="T26" fmla="*/ 343 w 827"/>
                <a:gd name="T27" fmla="*/ 920 h 1067"/>
                <a:gd name="T28" fmla="*/ 369 w 827"/>
                <a:gd name="T29" fmla="*/ 934 h 1067"/>
                <a:gd name="T30" fmla="*/ 397 w 827"/>
                <a:gd name="T31" fmla="*/ 943 h 1067"/>
                <a:gd name="T32" fmla="*/ 429 w 827"/>
                <a:gd name="T33" fmla="*/ 946 h 1067"/>
                <a:gd name="T34" fmla="*/ 459 w 827"/>
                <a:gd name="T35" fmla="*/ 943 h 1067"/>
                <a:gd name="T36" fmla="*/ 488 w 827"/>
                <a:gd name="T37" fmla="*/ 934 h 1067"/>
                <a:gd name="T38" fmla="*/ 514 w 827"/>
                <a:gd name="T39" fmla="*/ 920 h 1067"/>
                <a:gd name="T40" fmla="*/ 537 w 827"/>
                <a:gd name="T41" fmla="*/ 901 h 1067"/>
                <a:gd name="T42" fmla="*/ 555 w 827"/>
                <a:gd name="T43" fmla="*/ 878 h 1067"/>
                <a:gd name="T44" fmla="*/ 569 w 827"/>
                <a:gd name="T45" fmla="*/ 852 h 1067"/>
                <a:gd name="T46" fmla="*/ 578 w 827"/>
                <a:gd name="T47" fmla="*/ 823 h 1067"/>
                <a:gd name="T48" fmla="*/ 581 w 827"/>
                <a:gd name="T49" fmla="*/ 792 h 1067"/>
                <a:gd name="T50" fmla="*/ 578 w 827"/>
                <a:gd name="T51" fmla="*/ 762 h 1067"/>
                <a:gd name="T52" fmla="*/ 569 w 827"/>
                <a:gd name="T53" fmla="*/ 732 h 1067"/>
                <a:gd name="T54" fmla="*/ 555 w 827"/>
                <a:gd name="T55" fmla="*/ 707 h 1067"/>
                <a:gd name="T56" fmla="*/ 537 w 827"/>
                <a:gd name="T57" fmla="*/ 684 h 1067"/>
                <a:gd name="T58" fmla="*/ 514 w 827"/>
                <a:gd name="T59" fmla="*/ 665 h 1067"/>
                <a:gd name="T60" fmla="*/ 488 w 827"/>
                <a:gd name="T61" fmla="*/ 651 h 1067"/>
                <a:gd name="T62" fmla="*/ 459 w 827"/>
                <a:gd name="T63" fmla="*/ 643 h 1067"/>
                <a:gd name="T64" fmla="*/ 429 w 827"/>
                <a:gd name="T65" fmla="*/ 639 h 1067"/>
                <a:gd name="T66" fmla="*/ 201 w 827"/>
                <a:gd name="T67" fmla="*/ 0 h 1067"/>
                <a:gd name="T68" fmla="*/ 755 w 827"/>
                <a:gd name="T69" fmla="*/ 28 h 1067"/>
                <a:gd name="T70" fmla="*/ 776 w 827"/>
                <a:gd name="T71" fmla="*/ 32 h 1067"/>
                <a:gd name="T72" fmla="*/ 793 w 827"/>
                <a:gd name="T73" fmla="*/ 41 h 1067"/>
                <a:gd name="T74" fmla="*/ 808 w 827"/>
                <a:gd name="T75" fmla="*/ 54 h 1067"/>
                <a:gd name="T76" fmla="*/ 819 w 827"/>
                <a:gd name="T77" fmla="*/ 70 h 1067"/>
                <a:gd name="T78" fmla="*/ 826 w 827"/>
                <a:gd name="T79" fmla="*/ 89 h 1067"/>
                <a:gd name="T80" fmla="*/ 827 w 827"/>
                <a:gd name="T81" fmla="*/ 110 h 1067"/>
                <a:gd name="T82" fmla="*/ 759 w 827"/>
                <a:gd name="T83" fmla="*/ 992 h 1067"/>
                <a:gd name="T84" fmla="*/ 755 w 827"/>
                <a:gd name="T85" fmla="*/ 1013 h 1067"/>
                <a:gd name="T86" fmla="*/ 745 w 827"/>
                <a:gd name="T87" fmla="*/ 1031 h 1067"/>
                <a:gd name="T88" fmla="*/ 732 w 827"/>
                <a:gd name="T89" fmla="*/ 1047 h 1067"/>
                <a:gd name="T90" fmla="*/ 716 w 827"/>
                <a:gd name="T91" fmla="*/ 1058 h 1067"/>
                <a:gd name="T92" fmla="*/ 696 w 827"/>
                <a:gd name="T93" fmla="*/ 1065 h 1067"/>
                <a:gd name="T94" fmla="*/ 675 w 827"/>
                <a:gd name="T95" fmla="*/ 1067 h 1067"/>
                <a:gd name="T96" fmla="*/ 61 w 827"/>
                <a:gd name="T97" fmla="*/ 1067 h 1067"/>
                <a:gd name="T98" fmla="*/ 41 w 827"/>
                <a:gd name="T99" fmla="*/ 1064 h 1067"/>
                <a:gd name="T100" fmla="*/ 24 w 827"/>
                <a:gd name="T101" fmla="*/ 1055 h 1067"/>
                <a:gd name="T102" fmla="*/ 12 w 827"/>
                <a:gd name="T103" fmla="*/ 1043 h 1067"/>
                <a:gd name="T104" fmla="*/ 3 w 827"/>
                <a:gd name="T105" fmla="*/ 1027 h 1067"/>
                <a:gd name="T106" fmla="*/ 0 w 827"/>
                <a:gd name="T107" fmla="*/ 1008 h 1067"/>
                <a:gd name="T108" fmla="*/ 2 w 827"/>
                <a:gd name="T109" fmla="*/ 989 h 1067"/>
                <a:gd name="T110" fmla="*/ 104 w 827"/>
                <a:gd name="T111" fmla="*/ 72 h 1067"/>
                <a:gd name="T112" fmla="*/ 111 w 827"/>
                <a:gd name="T113" fmla="*/ 53 h 1067"/>
                <a:gd name="T114" fmla="*/ 123 w 827"/>
                <a:gd name="T115" fmla="*/ 35 h 1067"/>
                <a:gd name="T116" fmla="*/ 140 w 827"/>
                <a:gd name="T117" fmla="*/ 20 h 1067"/>
                <a:gd name="T118" fmla="*/ 158 w 827"/>
                <a:gd name="T119" fmla="*/ 9 h 1067"/>
                <a:gd name="T120" fmla="*/ 179 w 827"/>
                <a:gd name="T121" fmla="*/ 2 h 1067"/>
                <a:gd name="T122" fmla="*/ 201 w 827"/>
                <a:gd name="T123"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7" h="1067">
                  <a:moveTo>
                    <a:pt x="429" y="639"/>
                  </a:moveTo>
                  <a:lnTo>
                    <a:pt x="397" y="643"/>
                  </a:lnTo>
                  <a:lnTo>
                    <a:pt x="369" y="651"/>
                  </a:lnTo>
                  <a:lnTo>
                    <a:pt x="343" y="665"/>
                  </a:lnTo>
                  <a:lnTo>
                    <a:pt x="320" y="684"/>
                  </a:lnTo>
                  <a:lnTo>
                    <a:pt x="301" y="707"/>
                  </a:lnTo>
                  <a:lnTo>
                    <a:pt x="287" y="732"/>
                  </a:lnTo>
                  <a:lnTo>
                    <a:pt x="278" y="762"/>
                  </a:lnTo>
                  <a:lnTo>
                    <a:pt x="275" y="792"/>
                  </a:lnTo>
                  <a:lnTo>
                    <a:pt x="278" y="823"/>
                  </a:lnTo>
                  <a:lnTo>
                    <a:pt x="287" y="852"/>
                  </a:lnTo>
                  <a:lnTo>
                    <a:pt x="301" y="878"/>
                  </a:lnTo>
                  <a:lnTo>
                    <a:pt x="320" y="901"/>
                  </a:lnTo>
                  <a:lnTo>
                    <a:pt x="343" y="920"/>
                  </a:lnTo>
                  <a:lnTo>
                    <a:pt x="369" y="934"/>
                  </a:lnTo>
                  <a:lnTo>
                    <a:pt x="397" y="943"/>
                  </a:lnTo>
                  <a:lnTo>
                    <a:pt x="429" y="946"/>
                  </a:lnTo>
                  <a:lnTo>
                    <a:pt x="459" y="943"/>
                  </a:lnTo>
                  <a:lnTo>
                    <a:pt x="488" y="934"/>
                  </a:lnTo>
                  <a:lnTo>
                    <a:pt x="514" y="920"/>
                  </a:lnTo>
                  <a:lnTo>
                    <a:pt x="537" y="901"/>
                  </a:lnTo>
                  <a:lnTo>
                    <a:pt x="555" y="878"/>
                  </a:lnTo>
                  <a:lnTo>
                    <a:pt x="569" y="852"/>
                  </a:lnTo>
                  <a:lnTo>
                    <a:pt x="578" y="823"/>
                  </a:lnTo>
                  <a:lnTo>
                    <a:pt x="581" y="792"/>
                  </a:lnTo>
                  <a:lnTo>
                    <a:pt x="578" y="762"/>
                  </a:lnTo>
                  <a:lnTo>
                    <a:pt x="569" y="732"/>
                  </a:lnTo>
                  <a:lnTo>
                    <a:pt x="555" y="707"/>
                  </a:lnTo>
                  <a:lnTo>
                    <a:pt x="537" y="684"/>
                  </a:lnTo>
                  <a:lnTo>
                    <a:pt x="514" y="665"/>
                  </a:lnTo>
                  <a:lnTo>
                    <a:pt x="488" y="651"/>
                  </a:lnTo>
                  <a:lnTo>
                    <a:pt x="459" y="643"/>
                  </a:lnTo>
                  <a:lnTo>
                    <a:pt x="429" y="639"/>
                  </a:lnTo>
                  <a:close/>
                  <a:moveTo>
                    <a:pt x="201" y="0"/>
                  </a:moveTo>
                  <a:lnTo>
                    <a:pt x="755" y="28"/>
                  </a:lnTo>
                  <a:lnTo>
                    <a:pt x="776" y="32"/>
                  </a:lnTo>
                  <a:lnTo>
                    <a:pt x="793" y="41"/>
                  </a:lnTo>
                  <a:lnTo>
                    <a:pt x="808" y="54"/>
                  </a:lnTo>
                  <a:lnTo>
                    <a:pt x="819" y="70"/>
                  </a:lnTo>
                  <a:lnTo>
                    <a:pt x="826" y="89"/>
                  </a:lnTo>
                  <a:lnTo>
                    <a:pt x="827" y="110"/>
                  </a:lnTo>
                  <a:lnTo>
                    <a:pt x="759" y="992"/>
                  </a:lnTo>
                  <a:lnTo>
                    <a:pt x="755" y="1013"/>
                  </a:lnTo>
                  <a:lnTo>
                    <a:pt x="745" y="1031"/>
                  </a:lnTo>
                  <a:lnTo>
                    <a:pt x="732" y="1047"/>
                  </a:lnTo>
                  <a:lnTo>
                    <a:pt x="716" y="1058"/>
                  </a:lnTo>
                  <a:lnTo>
                    <a:pt x="696" y="1065"/>
                  </a:lnTo>
                  <a:lnTo>
                    <a:pt x="675" y="1067"/>
                  </a:lnTo>
                  <a:lnTo>
                    <a:pt x="61" y="1067"/>
                  </a:lnTo>
                  <a:lnTo>
                    <a:pt x="41" y="1064"/>
                  </a:lnTo>
                  <a:lnTo>
                    <a:pt x="24" y="1055"/>
                  </a:lnTo>
                  <a:lnTo>
                    <a:pt x="12" y="1043"/>
                  </a:lnTo>
                  <a:lnTo>
                    <a:pt x="3" y="1027"/>
                  </a:lnTo>
                  <a:lnTo>
                    <a:pt x="0" y="1008"/>
                  </a:lnTo>
                  <a:lnTo>
                    <a:pt x="2" y="989"/>
                  </a:lnTo>
                  <a:lnTo>
                    <a:pt x="104" y="72"/>
                  </a:lnTo>
                  <a:lnTo>
                    <a:pt x="111" y="53"/>
                  </a:lnTo>
                  <a:lnTo>
                    <a:pt x="123" y="35"/>
                  </a:lnTo>
                  <a:lnTo>
                    <a:pt x="140" y="20"/>
                  </a:lnTo>
                  <a:lnTo>
                    <a:pt x="158" y="9"/>
                  </a:lnTo>
                  <a:lnTo>
                    <a:pt x="179" y="2"/>
                  </a:lnTo>
                  <a:lnTo>
                    <a:pt x="201" y="0"/>
                  </a:lnTo>
                  <a:close/>
                </a:path>
              </a:pathLst>
            </a:custGeom>
            <a:grpFill/>
            <a:ln w="0">
              <a:noFill/>
              <a:prstDash val="solid"/>
              <a:round/>
              <a:headEnd/>
              <a:tailEnd/>
            </a:ln>
          </p:spPr>
          <p:txBody>
            <a:bodyPr/>
            <a:lstStyle/>
            <a:p>
              <a:pPr defTabSz="1828481" fontAlgn="auto">
                <a:spcBef>
                  <a:spcPts val="0"/>
                </a:spcBef>
                <a:spcAft>
                  <a:spcPts val="0"/>
                </a:spcAft>
                <a:defRPr/>
              </a:pPr>
              <a:endParaRPr lang="en-US" sz="3600" kern="0">
                <a:solidFill>
                  <a:srgbClr val="000000"/>
                </a:solidFill>
              </a:endParaRPr>
            </a:p>
          </p:txBody>
        </p:sp>
      </p:grpSp>
      <p:sp>
        <p:nvSpPr>
          <p:cNvPr id="88100" name="TextBox 95"/>
          <p:cNvSpPr txBox="1">
            <a:spLocks noChangeArrowheads="1"/>
          </p:cNvSpPr>
          <p:nvPr/>
        </p:nvSpPr>
        <p:spPr bwMode="auto">
          <a:xfrm>
            <a:off x="9472613" y="2928938"/>
            <a:ext cx="398621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200">
                <a:solidFill>
                  <a:srgbClr val="404040"/>
                </a:solidFill>
                <a:latin typeface="Times New Roman" panose="02020603050405020304" pitchFamily="18" charset="0"/>
              </a:defRPr>
            </a:lvl1pPr>
            <a:lvl2pPr marL="742950" indent="-285750" defTabSz="1217613">
              <a:spcBef>
                <a:spcPct val="20000"/>
              </a:spcBef>
              <a:buChar char="–"/>
              <a:defRPr sz="2800">
                <a:solidFill>
                  <a:srgbClr val="404040"/>
                </a:solidFill>
                <a:latin typeface="Times New Roman" panose="02020603050405020304" pitchFamily="18" charset="0"/>
              </a:defRPr>
            </a:lvl2pPr>
            <a:lvl3pPr marL="1143000" indent="-228600" defTabSz="1217613">
              <a:spcBef>
                <a:spcPct val="20000"/>
              </a:spcBef>
              <a:buChar char="•"/>
              <a:defRPr sz="2400">
                <a:solidFill>
                  <a:srgbClr val="404040"/>
                </a:solidFill>
                <a:latin typeface="Times New Roman" panose="02020603050405020304" pitchFamily="18" charset="0"/>
              </a:defRPr>
            </a:lvl3pPr>
            <a:lvl4pPr marL="1600200" indent="-228600" defTabSz="1217613">
              <a:spcBef>
                <a:spcPct val="20000"/>
              </a:spcBef>
              <a:buChar char="–"/>
              <a:defRPr sz="2000">
                <a:solidFill>
                  <a:srgbClr val="404040"/>
                </a:solidFill>
                <a:latin typeface="Times New Roman" panose="02020603050405020304" pitchFamily="18" charset="0"/>
              </a:defRPr>
            </a:lvl4pPr>
            <a:lvl5pPr marL="2057400" indent="-228600" defTabSz="1217613">
              <a:spcBef>
                <a:spcPct val="20000"/>
              </a:spcBef>
              <a:buChar char="»"/>
              <a:defRPr sz="2000">
                <a:solidFill>
                  <a:srgbClr val="404040"/>
                </a:solidFill>
                <a:latin typeface="Times New Roman" panose="02020603050405020304" pitchFamily="18" charset="0"/>
              </a:defRPr>
            </a:lvl5pPr>
            <a:lvl6pPr marL="25146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r>
              <a:rPr lang="pt-BR" altLang="pt-BR" sz="2100">
                <a:solidFill>
                  <a:srgbClr val="FFFFFF"/>
                </a:solidFill>
                <a:latin typeface="Calibri" panose="020F0502020204030204" pitchFamily="34" charset="0"/>
              </a:rPr>
              <a:t>Quais projetos (oportunidades) devem ser concretizados? E estão alinhados com planejamento estratégico da empresa?</a:t>
            </a:r>
          </a:p>
        </p:txBody>
      </p:sp>
      <p:sp>
        <p:nvSpPr>
          <p:cNvPr id="88101" name="TextBox 97"/>
          <p:cNvSpPr txBox="1">
            <a:spLocks noChangeArrowheads="1"/>
          </p:cNvSpPr>
          <p:nvPr/>
        </p:nvSpPr>
        <p:spPr bwMode="auto">
          <a:xfrm>
            <a:off x="8998745" y="5274470"/>
            <a:ext cx="39862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200">
                <a:solidFill>
                  <a:srgbClr val="404040"/>
                </a:solidFill>
                <a:latin typeface="Times New Roman" panose="02020603050405020304" pitchFamily="18" charset="0"/>
              </a:defRPr>
            </a:lvl1pPr>
            <a:lvl2pPr marL="742950" indent="-285750" defTabSz="1217613">
              <a:spcBef>
                <a:spcPct val="20000"/>
              </a:spcBef>
              <a:buChar char="–"/>
              <a:defRPr sz="2800">
                <a:solidFill>
                  <a:srgbClr val="404040"/>
                </a:solidFill>
                <a:latin typeface="Times New Roman" panose="02020603050405020304" pitchFamily="18" charset="0"/>
              </a:defRPr>
            </a:lvl2pPr>
            <a:lvl3pPr marL="1143000" indent="-228600" defTabSz="1217613">
              <a:spcBef>
                <a:spcPct val="20000"/>
              </a:spcBef>
              <a:buChar char="•"/>
              <a:defRPr sz="2400">
                <a:solidFill>
                  <a:srgbClr val="404040"/>
                </a:solidFill>
                <a:latin typeface="Times New Roman" panose="02020603050405020304" pitchFamily="18" charset="0"/>
              </a:defRPr>
            </a:lvl3pPr>
            <a:lvl4pPr marL="1600200" indent="-228600" defTabSz="1217613">
              <a:spcBef>
                <a:spcPct val="20000"/>
              </a:spcBef>
              <a:buChar char="–"/>
              <a:defRPr sz="2000">
                <a:solidFill>
                  <a:srgbClr val="404040"/>
                </a:solidFill>
                <a:latin typeface="Times New Roman" panose="02020603050405020304" pitchFamily="18" charset="0"/>
              </a:defRPr>
            </a:lvl4pPr>
            <a:lvl5pPr marL="2057400" indent="-228600" defTabSz="1217613">
              <a:spcBef>
                <a:spcPct val="20000"/>
              </a:spcBef>
              <a:buChar char="»"/>
              <a:defRPr sz="2000">
                <a:solidFill>
                  <a:srgbClr val="404040"/>
                </a:solidFill>
                <a:latin typeface="Times New Roman" panose="02020603050405020304" pitchFamily="18" charset="0"/>
              </a:defRPr>
            </a:lvl5pPr>
            <a:lvl6pPr marL="25146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r>
              <a:rPr lang="pt-BR" altLang="pt-BR" sz="2400">
                <a:solidFill>
                  <a:srgbClr val="FFFFFF"/>
                </a:solidFill>
                <a:latin typeface="Arial" panose="020B0604020202020204" pitchFamily="34" charset="0"/>
                <a:ea typeface="MS PGothic" panose="020B0600070205080204" pitchFamily="34" charset="-128"/>
              </a:rPr>
              <a:t>Que projetos devem ser priorizados? Porque ? </a:t>
            </a:r>
          </a:p>
        </p:txBody>
      </p:sp>
      <p:sp>
        <p:nvSpPr>
          <p:cNvPr id="88102" name="TextBox 98"/>
          <p:cNvSpPr txBox="1">
            <a:spLocks noChangeArrowheads="1"/>
          </p:cNvSpPr>
          <p:nvPr/>
        </p:nvSpPr>
        <p:spPr bwMode="auto">
          <a:xfrm>
            <a:off x="1893094" y="6352954"/>
            <a:ext cx="4317206"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200">
                <a:solidFill>
                  <a:srgbClr val="404040"/>
                </a:solidFill>
                <a:latin typeface="Times New Roman" panose="02020603050405020304" pitchFamily="18" charset="0"/>
              </a:defRPr>
            </a:lvl1pPr>
            <a:lvl2pPr marL="742950" indent="-285750" defTabSz="1217613">
              <a:spcBef>
                <a:spcPct val="20000"/>
              </a:spcBef>
              <a:buChar char="–"/>
              <a:defRPr sz="2800">
                <a:solidFill>
                  <a:srgbClr val="404040"/>
                </a:solidFill>
                <a:latin typeface="Times New Roman" panose="02020603050405020304" pitchFamily="18" charset="0"/>
              </a:defRPr>
            </a:lvl2pPr>
            <a:lvl3pPr marL="1143000" indent="-228600" defTabSz="1217613">
              <a:spcBef>
                <a:spcPct val="20000"/>
              </a:spcBef>
              <a:buChar char="•"/>
              <a:defRPr sz="2400">
                <a:solidFill>
                  <a:srgbClr val="404040"/>
                </a:solidFill>
                <a:latin typeface="Times New Roman" panose="02020603050405020304" pitchFamily="18" charset="0"/>
              </a:defRPr>
            </a:lvl3pPr>
            <a:lvl4pPr marL="1600200" indent="-228600" defTabSz="1217613">
              <a:spcBef>
                <a:spcPct val="20000"/>
              </a:spcBef>
              <a:buChar char="–"/>
              <a:defRPr sz="2000">
                <a:solidFill>
                  <a:srgbClr val="404040"/>
                </a:solidFill>
                <a:latin typeface="Times New Roman" panose="02020603050405020304" pitchFamily="18" charset="0"/>
              </a:defRPr>
            </a:lvl4pPr>
            <a:lvl5pPr marL="2057400" indent="-228600" defTabSz="1217613">
              <a:spcBef>
                <a:spcPct val="20000"/>
              </a:spcBef>
              <a:buChar char="»"/>
              <a:defRPr sz="2000">
                <a:solidFill>
                  <a:srgbClr val="404040"/>
                </a:solidFill>
                <a:latin typeface="Times New Roman" panose="02020603050405020304" pitchFamily="18" charset="0"/>
              </a:defRPr>
            </a:lvl5pPr>
            <a:lvl6pPr marL="25146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r>
              <a:rPr lang="pt-BR" altLang="pt-BR" sz="2100" dirty="0">
                <a:solidFill>
                  <a:srgbClr val="FFFFFF"/>
                </a:solidFill>
                <a:latin typeface="Calibri" panose="020F0502020204030204" pitchFamily="34" charset="0"/>
              </a:rPr>
              <a:t>Que projetos devem ser continuados, que projetos devem ser postergados, que projetos devem ser cancelados. </a:t>
            </a:r>
          </a:p>
        </p:txBody>
      </p:sp>
      <p:sp>
        <p:nvSpPr>
          <p:cNvPr id="88103" name="TextBox 99"/>
          <p:cNvSpPr txBox="1">
            <a:spLocks noChangeArrowheads="1"/>
          </p:cNvSpPr>
          <p:nvPr/>
        </p:nvSpPr>
        <p:spPr bwMode="auto">
          <a:xfrm>
            <a:off x="902495" y="3812383"/>
            <a:ext cx="414813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200">
                <a:solidFill>
                  <a:srgbClr val="404040"/>
                </a:solidFill>
                <a:latin typeface="Times New Roman" panose="02020603050405020304" pitchFamily="18" charset="0"/>
              </a:defRPr>
            </a:lvl1pPr>
            <a:lvl2pPr marL="742950" indent="-285750" defTabSz="1217613">
              <a:spcBef>
                <a:spcPct val="20000"/>
              </a:spcBef>
              <a:buChar char="–"/>
              <a:defRPr sz="2800">
                <a:solidFill>
                  <a:srgbClr val="404040"/>
                </a:solidFill>
                <a:latin typeface="Times New Roman" panose="02020603050405020304" pitchFamily="18" charset="0"/>
              </a:defRPr>
            </a:lvl2pPr>
            <a:lvl3pPr marL="1143000" indent="-228600" defTabSz="1217613">
              <a:spcBef>
                <a:spcPct val="20000"/>
              </a:spcBef>
              <a:buChar char="•"/>
              <a:defRPr sz="2400">
                <a:solidFill>
                  <a:srgbClr val="404040"/>
                </a:solidFill>
                <a:latin typeface="Times New Roman" panose="02020603050405020304" pitchFamily="18" charset="0"/>
              </a:defRPr>
            </a:lvl3pPr>
            <a:lvl4pPr marL="1600200" indent="-228600" defTabSz="1217613">
              <a:spcBef>
                <a:spcPct val="20000"/>
              </a:spcBef>
              <a:buChar char="–"/>
              <a:defRPr sz="2000">
                <a:solidFill>
                  <a:srgbClr val="404040"/>
                </a:solidFill>
                <a:latin typeface="Times New Roman" panose="02020603050405020304" pitchFamily="18" charset="0"/>
              </a:defRPr>
            </a:lvl4pPr>
            <a:lvl5pPr marL="2057400" indent="-228600" defTabSz="1217613">
              <a:spcBef>
                <a:spcPct val="20000"/>
              </a:spcBef>
              <a:buChar char="»"/>
              <a:defRPr sz="2000">
                <a:solidFill>
                  <a:srgbClr val="404040"/>
                </a:solidFill>
                <a:latin typeface="Times New Roman" panose="02020603050405020304" pitchFamily="18" charset="0"/>
              </a:defRPr>
            </a:lvl5pPr>
            <a:lvl6pPr marL="25146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defTabSz="1217613"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r>
              <a:rPr lang="pt-BR" altLang="pt-BR" sz="2100">
                <a:solidFill>
                  <a:srgbClr val="FFFFFF"/>
                </a:solidFill>
                <a:latin typeface="Calibri" panose="020F0502020204030204" pitchFamily="34" charset="0"/>
              </a:rPr>
              <a:t>Como fazer, (internamente, externamente, existe capital no momento para fazer, qual o tempo para retorno do investimento)</a:t>
            </a:r>
          </a:p>
        </p:txBody>
      </p:sp>
      <p:sp>
        <p:nvSpPr>
          <p:cNvPr id="169" name="TextBox 100"/>
          <p:cNvSpPr txBox="1"/>
          <p:nvPr/>
        </p:nvSpPr>
        <p:spPr>
          <a:xfrm>
            <a:off x="1212058" y="1702595"/>
            <a:ext cx="4450556" cy="1569660"/>
          </a:xfrm>
          <a:prstGeom prst="rect">
            <a:avLst/>
          </a:prstGeom>
          <a:noFill/>
        </p:spPr>
        <p:txBody>
          <a:bodyPr>
            <a:spAutoFit/>
          </a:bodyPr>
          <a:lstStyle/>
          <a:p>
            <a:pPr algn="ctr" defTabSz="1828481" fontAlgn="auto">
              <a:spcBef>
                <a:spcPts val="0"/>
              </a:spcBef>
              <a:spcAft>
                <a:spcPts val="0"/>
              </a:spcAft>
              <a:defRPr/>
            </a:pPr>
            <a:r>
              <a:rPr lang="pt-BR" sz="2400" kern="0" dirty="0">
                <a:solidFill>
                  <a:srgbClr val="000000"/>
                </a:solidFill>
                <a:latin typeface="Calibri"/>
                <a:cs typeface="Arial" charset="0"/>
              </a:rPr>
              <a:t>O que é possível fazer no ano fiscal(nós temos capacidade). Agrega valor aos negócios? </a:t>
            </a:r>
          </a:p>
          <a:p>
            <a:pPr algn="r" defTabSz="1828481" fontAlgn="auto">
              <a:spcBef>
                <a:spcPts val="0"/>
              </a:spcBef>
              <a:spcAft>
                <a:spcPts val="0"/>
              </a:spcAft>
              <a:defRPr/>
            </a:pPr>
            <a:r>
              <a:rPr lang="en-US" sz="2400" kern="0" dirty="0">
                <a:solidFill>
                  <a:prstClr val="white"/>
                </a:solidFill>
              </a:rPr>
              <a:t>.</a:t>
            </a:r>
          </a:p>
        </p:txBody>
      </p:sp>
    </p:spTree>
    <p:custDataLst>
      <p:tags r:id="rId1"/>
    </p:custDataLst>
    <p:extLst>
      <p:ext uri="{BB962C8B-B14F-4D97-AF65-F5344CB8AC3E}">
        <p14:creationId xmlns:p14="http://schemas.microsoft.com/office/powerpoint/2010/main" val="1609165087"/>
      </p:ext>
    </p:extLst>
  </p:cSld>
  <p:clrMapOvr>
    <a:masterClrMapping/>
  </p:clrMapOvr>
  <p:transition>
    <p:strips dir="rd"/>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23813" y="444663"/>
            <a:ext cx="12687300" cy="691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spcBef>
                <a:spcPct val="50000"/>
              </a:spcBef>
            </a:pPr>
            <a:r>
              <a:rPr lang="pt-BR" altLang="pt-BR" sz="3600" dirty="0">
                <a:solidFill>
                  <a:schemeClr val="tx1"/>
                </a:solidFill>
              </a:rPr>
              <a:t>Tipos de PMO: Escritório de Suporte a Projetos</a:t>
            </a:r>
          </a:p>
        </p:txBody>
      </p:sp>
      <p:sp>
        <p:nvSpPr>
          <p:cNvPr id="17411" name="Rectangle 3"/>
          <p:cNvSpPr>
            <a:spLocks noGrp="1" noChangeArrowheads="1"/>
          </p:cNvSpPr>
          <p:nvPr>
            <p:ph type="body" idx="4294967295"/>
          </p:nvPr>
        </p:nvSpPr>
        <p:spPr>
          <a:xfrm>
            <a:off x="376238" y="1283495"/>
            <a:ext cx="12287249" cy="6110288"/>
          </a:xfrm>
          <a:prstGeom prst="rect">
            <a:avLst/>
          </a:prstGeom>
        </p:spPr>
        <p:txBody>
          <a:bodyPr/>
          <a:lstStyle/>
          <a:p>
            <a:r>
              <a:rPr lang="pt-BR" altLang="pt-BR" dirty="0"/>
              <a:t>Desenhado e concebido para um programa, projeto ou iniciativa única;</a:t>
            </a:r>
          </a:p>
          <a:p>
            <a:r>
              <a:rPr lang="pt-BR" altLang="pt-BR" dirty="0"/>
              <a:t>É montada uma estrutura específica para gestão e controle. Fornece suporte, ferramentas e serviços de planejamento, controle de prazos, custos, qualidade (apoio administrativo), metodologia de gerenciamento de projetos, base de conhecimento, viabiliza comunicação entre diversas empresas;</a:t>
            </a:r>
          </a:p>
          <a:p>
            <a:r>
              <a:rPr lang="pt-BR" altLang="pt-BR" b="1" dirty="0">
                <a:solidFill>
                  <a:srgbClr val="FF0000"/>
                </a:solidFill>
              </a:rPr>
              <a:t>Utilizado para projetos complexos, onde envolve diversas empresas. Comum em empresas com estruturas </a:t>
            </a:r>
            <a:r>
              <a:rPr lang="pt-BR" altLang="pt-BR" b="1" dirty="0" err="1">
                <a:solidFill>
                  <a:srgbClr val="FF0000"/>
                </a:solidFill>
              </a:rPr>
              <a:t>projetizadas</a:t>
            </a:r>
            <a:r>
              <a:rPr lang="pt-BR" altLang="pt-BR" b="1" dirty="0">
                <a:solidFill>
                  <a:srgbClr val="FF0000"/>
                </a:solidFill>
              </a:rPr>
              <a:t>;</a:t>
            </a:r>
          </a:p>
          <a:p>
            <a:pPr>
              <a:lnSpc>
                <a:spcPct val="90000"/>
              </a:lnSpc>
            </a:pPr>
            <a:r>
              <a:rPr lang="pt-BR" altLang="pt-BR" dirty="0"/>
              <a:t>Separado, então, temporariamente das operações da empresa;</a:t>
            </a:r>
          </a:p>
          <a:p>
            <a:endParaRPr lang="en-US" altLang="pt-BR" b="1" dirty="0"/>
          </a:p>
        </p:txBody>
      </p:sp>
      <p:sp>
        <p:nvSpPr>
          <p:cNvPr id="17412" name="AutoShape 8" descr="data:image/jpeg;base64,/9j/4AAQSkZJRgABAQAAAQABAAD/2wCEAAkGBxQSERUUEhQVFRQUFxYaGBgXFxQUFRgXFxQWFxUUGBgYHCggGB0lHBcUITEhJSkrLi4uFx8zODMsNygtLiwBCgoKDg0OGhAQFy4cHCQsLCwsLCwsLCwsLCwsLCwsLCwsLCwsLCwsLCwsLCwsLCwsLCwsLCwsLCwsLCwsLCwsLP/AABEIAMIBAwMBIgACEQEDEQH/xAAcAAABBQEBAQAAAAAAAAAAAAADAAECBAYFBwj/xABFEAABAwIDBAcFBQcCBQUBAAABAAIRAyEEEjEFQVFxBiJhgZGhsRMyQsHwB1Ji0eEUcoKSorLxwtIVM0NUYyMkg7PiFv/EABkBAQEBAQEBAAAAAAAAAAAAAAABAgMEBf/EACIRAQEBAAEEAwEAAwAAAAAAAAABEQIDEjFBBCFRFBMiMv/aAAwDAQACEQMRAD8AzdItDX5mknL1YMAHieKlTai0y0MfLcxIGUyRF7ntTtavqT/qvBb/AKmDUoU4ShdGEITQiQmhVEITQiQmhBCE0IkJoQQhKFOEoREITQiQmhUDhKESE0IBwlCJCaEUOEoRITQgHCUIkJoQDhNCLCbKgHCaEWE0IBwmyokJQgFCUIkJoUAi1CcxWYUXNUVTLElYLUlMXXUDVMN1+tydzbKQCntfSEJQiQmhaZQhKFOEoVQOEoRITQgHCUIkJQqBwmyosJoQDhKETKmyoBwlCJlSyogUJQiZUsqAUJQi5U2VAOE0IuVNlQDhNCLlSyoBQmhFypoQDypsqJCUIBZU2VFypsqihZUxajZU76cCeAJKxy6nHj5rXHhy5eIq5UkbKktI6BHy9U4br9bgpOFu8eoUmhY9tekIShEypZVpkKEoRcqaFdA4SyouVNlRA8qaEXKllVAoSyouVLKgFCUImVLKgFCWVFypsqoHlShEypZUAsqUIuVNlUAoShFypsqAeVNlRcqcUzwUvKTzVkt8A5U2VTqPa33nNHNzR81WdtCiP+o3ul3oFi9bhPbX+Pl+C5U2VVztaleC50CTDYt3kKjV6UUG/C6eBc0egKxfk9NqdDm62VNlXKwO3vbuLaNNswTcvO+OAnULmnpNWPusbzDGgeLiZWL8rj6jf8991qaI6w5hXsVTOR9vhd6FZDY21cRUxFNryQ0uHxMPKzIXoVUS1w7CvH1+p32fWPT0eHbLNYxu1aJEh48x6hMs1RFrgb9w4lJdv6ef45fz8f16Lkgd49VINXlLcY6S5r3MO8tc5voVbpdI67Xh3tXOA3OuCN4K1Pkz3Gb0L+vTISyrI0emhME0hG8h2nCxHJHo9M2SQ9hbpEGTG+3FdZ1+H65/4uX40+VNC5GG6UYd4JLgxwJGV3VkTZwJtor+F2pRqOysqNcYmxHly+a3Opxvis3hZ6WQEoTyJiRPCe/8lOFvWcChLKiQol4G8KXnxnmrOFviI5Usqi/EsHxN7iEKptGmBObTsK535HTntudHnfQ+VMSJib8N9tVWG02n3WuJ4R+RKo9KqtSiKFRnVcQ43E2LWyCCL671z5fLkv1G58e5912ITimToCsXs/a+LrVWNzwxzgDlAFpv7oCo4t1R1VzPaPLQSBLpm9vekdyX5V8SL/PPNrfVHtb7zmt5uA9Sq79oUR/1Wn92Xf2hZTaWCFPD0gQRVHtM8kZwMwIzQBFjKlsTZrGn9ocZZTMEkkzmbFg4yfeG5c78nnfDU6HCO1V6SYdvxEiNwAM8nEEIZ6RsNP2jKbnMzZSS4AAwDeAeKzNGkDUd1SXG7YANtTc6LvbZa2lRGHkmSKhd25SIFuX5LN63U/Wp0+H4FU6WuPuUf6Xn1IT7Y2viKLwwZZcARAaIB7XAqPRym2q5oc1sXFs5MgTcmWiVz9t7RNSqXkAOBhuhhoJ42JiFi8uVv3WpJJ4Xdn43EVazGvqdUkyGufOhMCAAufjGVXVKjA90Mc4E5c5gOIEkrRbHcW06znOdIpgtksESDfK1xjnAKzlMOq1mtDHOJJJAa95Mm7oYCSs5Na9Ov0c2Yc7zVJc0MIIJYACSIkC4+LzWfoYZr59oQL/E5wtoIDd3ctTisO+jg6ohzAdOrUpyMzQffubLK7OxP/qy6YEiQGG2737BJZpZcabo3hadJlaoMmQ03NtmmZaQeuJK4GBptHVLXOdrDYFucG/dvC0VCnnwr8od1oyzlJPWA0a0QCee9S6MdAsVWcajgxrPhNRjnZ+QDhYcZUlm0suQ2wg1maqWvaaYNiZlsTPuiNDxWTwjgDAyGZMvJaBc2s4cF6Ptnoq7B4dznOb1w5oDWBlgwmdST3leY4MVGFtQdUHMW6TwOqd01e241/RhgdWGYU7SW5RJDmzfMZkd602wtoe3Y8nVtR7TyDjl/phZfonXc55fUc85R1ZcYGaZMaTbzUeh+0w2tUY42fLu8H5g+QWeV1qTIzjqrQSJFnO/uKS0lPo0x0udJLi51pjrOJA14EBJO6HbWBDk7ipNZexHondSid0dqrKLSP8ACnE6IYCIxhQTa697eV9yk9o1t5eijkI/NMBzQW6GIcDLXlscCReI3HsCPTx9Ua1aoHZUqCO6VTc3l3fWqTWzuJTR027ZrgCK74BBgls2IN4E6hdbFdJWYh9D2zC0MkVMh97NF26kaaFZsAC0d6C+x0+ai69vw3RzCdV2UEWMue49ugKuPwuEa0gNoyRA6rSZIgXIleV9GtruMUXuLpPVOp5HzutjQpwFi66TGubtKgwf8yw+60DTdZeWdKNqurvLnDqy7K25sSCTc9guI0C721sRkpHLdzuq0DWTYQtX9nXQlmUYjEND/uAjqkttmg7gbAdhKvH9Z5/jy3B0alHB1HPY6majm5HOaWvLRclpImPrnztkPJxNJxBjO0TYyZ1F7wSLr0/7TKrcTifZC1OiBmi0zmJbO6QWdxXB6K7E/acWJEU6cOcBYBoPUpt4SY7pW+6s9sxzcTsDFYytUGHpudLtTIbExJO4du/cCj9Jtg1cBhBTruaS7K62bSTxJ3g6AL6CwGEbSpgQBvNo3adwsvG+nmNGIxji8FzKbmNA3dSSSBvgvj+FZt+ieXnmy9nv9q2bPdfKWtdlblmXZpAtJiLcyvQcD9n9TaDw9zgynkEGCTEkTFrmLDhfeFT6J7K/aMQ4u0eTmPBgu4AnjYdy9w2RQy0haM144DRo7gArtW5Hnm1+huG2fhc9Oc4LA0uc50uc4AmCYuJ3LyEYCGio+5cSWNIBAbcZnc9Ry7l7F9rGLLnUaIO8vdyYP9xb4Lz79kLzJ+6B3AW8oUu6TwL0F2Sa7nMg+zcIdoOq0HfxJLR3r2fYXRPD4VvUYM7gM7jcn8PY0bgs99n+yRTosEXqOmd5a2D5kFegvV8JXkf2txUeMOwtb1GDt61USe4AnuXm+0MG1stYIa3qjk3eTvJMnvW26VVfabRqv3MAA5w4x/UuBXwJNo3j11WbPtueGm6C4DM+R7tOm1reBc8ZAf7z3r15tAAQBYC3yWJ6DYHJTZ+OpPcxtvUreQkmMW7XmH2wAH2DZIAbU0MXcA0SvKMbTBNNrRZlNoPMT+i9R+1h01WjgF56KYLzyb6SpfLc8DdG2Qx54f5Wf6MD/wB2f3XerQtNsZsUKh+vclZ3og2cU/8Add/e1We0vpuGRAuElKTxTrDbyVgHH0Ucn0EGVILs4jCjwVinTjQlVWmEVrjxPigk5/miezMSL8pULnuRgTH6BQMBO4nvt5qLjB08kQO4+hRIkXi3MIAF4Pu+n5FKq0Hv5qzTfG768FItB3W4SCgl0e6mJpE6Zo/maQPMhemU2rzKkcrmmD1XA9wOkr0d1YNYXWiNx71nk3xPszBHE4pobZrXBre17h1nfwsk/wAQXsONe3D4eB1WsbA7GtF/ILHfZxsyHZ3D3Gz/AB1DJ8G2XQ+0TGRR9mNahDe73n/0iO9akZv3XmdV7qlQvd8cvdzcc2XuEDuXon2f7JDKbXEQ6qc7rXyj3AfX+JY3ZuD9rUaz77oJ/CLvPgCvXNjUYBdECwHdr8h3It/Etu4sUqL3HcCe4CSvFXN6pc7UyT+84yfMlenfaBiYo5Bq6B3Tfyt3rz408xDZsPooRpOg+zclDP8AFUOQcpEnxXo0BrY3Aei4exMFlNNloptk8z+p8l2NovimeSuMvJulhNXF1D91rWDsLjmd5ZFTZh5qBo7B4lXTQLqhcfje9xns6jfJrVZ6M4cVcVfQX8CI9E9tem82LhQx4aNKbYXR2g/LTcTwKHsmmIc7iY7h+pKht8xRd2/NPbLxXEvzYmrvmoT/ACiP9KlRbcc03sYq1HDQB573OH/6V3AUC6oxo3mPBZ9t+npGxcNkdSZ91hPif1WgIsubsmiDUe77oDR2bz8l1KuitjDyL7S6J9s10+8DblafMLFbPpTVvoXgR2ZYW6+0akJpOPxCp4MLY88yxGyx1gf/ACE/1ALN8uk8O27BNAysaADqNx3eiBR2aGZiymxhO9rQDuN4F7rruhO59t3kojm/sx7PAJLoZ+0eSSYPDg1FYEwajhi6MIFWKYsoMoqzTpII5FIUxuRchRBTJQDw9ITcK3kbfqkcJ5qdCkdFdo0X6XhQct9IKbaHYV1v2Cbwuhhtm9iDPDBdi02yQXspMOgJntDSfkjDZi0XRbY81mgjqj0Fz6eaLHpHRnB+xwzZ953Xdzd+kLBdOcUX1wOAtzcf0C9HrVuoY5LzXHYb2td1TdNuQs0eEKkXehmAmoX/AHWho5u1I7rL0mkzK0Dh9FZ3orgvZ0wTrcnmbD5rtYitAQrFdOK2ao0W3u7hYeebwXL6PYH2ldodYXnuuupttgfWdaQIb3DXzzeK6WwMAM2bTd4oemk2ayGl33j5DT5qrtl/V7PkLnyBXQzgCNy4u3fddyAHaXGPSURjsV1WOMyYt4forXQrBxmedcsDmSo7RoudAAWh6N4QspiePkEi1pMNTDWgDd9FcrpKZpG8QCfAEq+2suZtlocx062jvcB80R5vtCgxrYbN3AXEWFyrvRDC567T90z6qO2qTnOa209Y27bBdroVs9zHPJ+7HfOqk8t3w2WzGQwn7znH5fJHxB6pU6bIAHAKttCnmpvbJbLXCRqLajtVYedfapSA9g3WKdXneF59smlZnMn+r9Ftto7ML7vqueY1LJPqvLNtsdTxFRorVQGugZXFgjkNNVmfdb3I9PxOEgA5hc/JU6jCO1eajF1AM3t6+ZslpdVc4SDwNit1sem/EUm1BiD1tRlFiPeGvFSxNXbpJf8ACH/9w7wCSivHQEam1d9tPDjRh01IH0fqyKzE091I/wAv5Fa1zcihg3nRjj/CfyXUwWyKnxU3juj1Vg48TamRws4T2+8VcoYxxklruVm8tVdNCbsZ50YfEfmrLOj9X7n9TfzURjKt8rbA3j9CFKni6zos4DsLgOQuoa6WH6PPi+Uc3BWqewt2emP4v0XHc94Nw48i4kqFQVBqCB2698aIa1FLYrQJNRiv4fZ9Mavb4hYU1iD7zR4H0RG4k3JJHIfrZU16HTwlIXkd5C6GFeymZaW+IXmtLHN3l2g3A/qp08S68EAG3HX0Q16pU2k0ggvaJEa8QqlI0R8bT3hedMe7UOJ3WJ+SQYdbu0469/qoa9Vp7XYBGZscx5JztVmudtvxBeU1C6SZdO+8+KLRe4XEFu+35BU16I2rSknO079QrmH2qxtmuaeRBXmrsY5vC/Yw6c0MbWePdPgQNOVkNeqf8aBtB81DF4n2jQ2wgz9eK84G1H5ZdMC8lxDfEiD4pDbTxdrv6i4Edmqaa9CZRbOoMK/SrwLLy53Savx+vBCb0jrH4yO8hNNerjFEINepmELzZvSKuPiN+3imrberffva0iE1dbxmzhnzucCe4LoYZwZpvXk7ukNYGQ+SO8eim3pHiHGC68THVHyCmmvXxtgcRPMSh19sNg2FwRqvKKe1qrtXExz/AEhO/a7wevEHjYptNa2vStviPrcvEumJjF1h2j5LfVOlBDA0O0EX62/tusFtmkK1Z1Rzic0TFgbfos8djXLlHBrVSWgDWDK0PQ+tiaYdFN7qZvILQAYubkaiPBBw2AY24E8103YkmJ3cAB6BarHc1zNpW9zxdRB/+xJYw1RxPgUlMXvHe+lfKKjgOQE8jMjkk+uxsEMI0JBAA/NcJrp+Md5P5qYbJgGT2BxVxjXXbig53VpmeAP6yijaoDYbSAPFzi49w8Fxg+N0nkD/AHFIvPB0cCYHkFcNdYbQqkagD9z5wonGVJ9+e6B6KhTxEG2ccnX9ApuxJm4dPa4q4mr1etVnrOk9hzfogmqS7r9Y75knx1VTrOuGnuk+ZRKUkxI+t1t/YmGr0g+41zTv1I7obbvJRDQc2Jjjv8yqBrFvVNt5BB80Y1mQDYE6gA5o49aw5DgmGr4rFoLTa0xBv5J2vJHvWEWJHKwGq5jqn3ZPCSCfAaKyyu8xmMxxkHQDXuCYa6ecNALiQPwga8LiQmBBPVkdz/WQgMeRaGlxvOR5d/NYKRa4i73EcJyj+/5JijmnItx/CfMknzUnGmIBc8E36rXHzkBUaJAmSwxvzT3QulhquUznoCdxdlvbQZSD3pghWePhBMaEiCeUuKA2o4GTBHiPNXMXiw9sF1MBugDmOHmAuJiMQJBtG4TZMHcpYoN47tx/06jRKrjCZ6hNhobnhZxtuXNo1m2Lg9o7CYPYLx5FXKjabGSAWzvLDm4+8YamAFTFkmGskHlNt15+ioYYE2LQYvBc1p77THYqVd9+q4x+9fwBT4MnNo182IjKfEBBoMJhYF3UxwPtBv3dced5SxbSBBf1Ykj2oJPZoJ7kHDsAb1WuG+GtdUj+IPEeC6FQsLQcjiT90VGjvBBKKzFSvIgZtTaxHimbVJIA04Q2fHL80XG1GuzFwfYkCMw83v8AkqNBwF8ubk5v+1EdP2VVwsHX5egCs09i13t0DY3kRbWZO/kr+xtqiAKgyvGkGn1uBJy6jwXUr4hj2guIfG7NRYO2YZJHeouMdiMC8alvPOL9sSuFXrQ+MpPafr5rQbSxALzam0aQ1hgc73PJZ/EROs/XBD6GY7jv7PyRG5Dr8yVWoqw0xaPrwUVaGTgP5UlVLxw9PySUFWkfh9o3mQ2f5ihPa0G1Rx/mVWU8rpjGjZWfiJ7bJZxNgPVDa/sHf/mEX2UCTI7I/VMQVmJPBs8SJ9bJnYl0zIB/CA30AQAAnHNVBTiHnVzjzcVNlRvxBzj+8AP7SeG9V0pQECmSN0jv/QIUpweSCxTdxPqrdGsBqbdq5YqcvVFp1DNrdxUXWjo7SY0EmBbUCT4jL801THtIAJEbrvt3Brj5rnUGujce59/AXUnh5+Fv8tQ+oCLolJ0kjKXD/wCRo77eq7eEdTpizGtLrHOI7pAPjZZY5tPMMk91lPDxM53EjUFjneiYa0W0ccG9UtaI0hwdbssPMrlVMUCYDQeZaO7q/moiscxApNk6k+1HkbhDzOggW5ZnC2sSAouuphKx0DGibXNS8/uugq+6k53vUaGZtwCHC3H/AJYWdYy8ktFvip04VhrXuEAZwTMWyi3wxJAHNUWdpYp43U2E7m5RPjc+CoUa1WS3ObjcWz4hwIUsRTqCxZlb+GzZ53JPegyWnMYEz93wvJUNaLAU21GtJxNQnc0e0tFjoZB7O1WatMg9VznW+JzgY7Qdd403Lh0qYMGMoN5EkH5Dmjf8NkEtLxvlz4ZziboKW1Wycw36khoEiIA/x3qs8jdOmoDfKFcxIAdGebSS0QSN/WcJI8VzW1wZ4DiSRwuJA1+aiupgqzQBLXG86t10kdTMO4rqtdScbsjgXVQ3XfFyeVln8LiQP+3I7WZrcJf32XSZi6ZBPs2zEAAEAecHfxVQTE4ikKmWWC1rPqHuAas9iK2aYB/egCY0gWAHiVYx+KBEBkburlB5aT3ELnlxygHcIi8a7oETqpi6k1/aEUO5KoOSQB4eCYauBo+ikqmc/RKSmCkCpZkOD2J5K2yJKk1xG8+KEJ4BTaT2eCInKRKjP1okYVEpUgfqyFKcFEEzKYKGE4aEBe435FFpVQP8KuGjh5qYd2u+u9B1KRbw8JJ/lj5oNZtMm7XdzC0eMlUwWn4j3iB4ynDm8TzzellFW216egaR2yX+WYI1OvOuUDiWuE7vvdbkqX7Ubhtgec95CI3FP0MkcC90eBKos1KjIuZHBpd/qHogvrssGU4O85wZ8rItad7ASRB6wETwhxkdpQ8h+7lt+GI5mQf1UUzYBBaQDwjN/qIKu08Ud/sSdw9lLvKIVBzQJhzGneYd/sjwUoMAe2BB3ZiPQGB4oEWyZc6O50DucQAhAs3untIJ+cKVQtFjUieBzDs0AieKDTqQeq+CJuC71iyC80sHu1PmOUE28VYe8g3zC09X2rh4SGjxKosLh1g/xkAnmCJSq1nb2tPGzifAOjyQNVY4+9OW8Tc94ERuTYZoEGZExEC436goVfFTAiAOd+Z3qAeCTfKOZPqbqDp0jRMCKgnXKB+nkpuGHAs8a/8AkDuybWXJLWxAAJ5+J1TwwGDB7BJ+aC1VfTbdpaSJ3vG63eqtTGTwGgta3NKqyQYEcB1h6yFTe0A6/LyRRHPHH1+abP2oRjin9qO3yQT9o5JBdiD2eSSAYKkCgtRADuVROU4UYslPaiJJ5TApyCEDhSDuxQBSlUEnsUmiUMOUs1vr0UBG1VPNP1+qCH3UhUHb28UFoVNxa0j+Aeim2oYiGD+UKi543X8kxrj6J+SC77UAe63+mfRSGKA+Bv1wIIVBtTgPn6BTJJ+HLyt80Fl2KPwy3+Nx3KLqn4Y7TJv48lXkfiPKPrySFRvaPAn+1AXO46CeQc0+QUDU0sJHaT6lRztH3jw+H5lIVxNmkjgboCOf+Fndm/wm9p2NHj6qDcSR8I8L+GiY1XO0HhA9FAambWc0cZJHgRCUSYzjtnh2EgSota9wgzb8raFM1rgbujy+SKm6xkZbdlz23JQZnU3B4fOVJwH3vn80IxvPkPzQFcw9pHd8goDhEHldMwtm4d2QQPNE/aWaCm483214BqB8o3ujx9IQqr2wAJUamIuYaG9lj5uEqBzEA7tJsLouFKgT2IzMK93u3HZJ9FfGxoZnklul+oSZGgO65v2LPdGpxrkzy8kloP8A+eabj2hB0hpSU7412VmUX4QkktuRM95ESSSFRabqR+vBJJVDhSP5JJIGdqohOkgnSOv1wUTokkoJhHoX1umSRRnMHAeCZ7BlNgkkqimXH65o7RLTP1dJJABvu96jKSSqL4sGxblyQ8Y4gW4BJJZaVj8vmmc0WtuSSVA3KQHokkooRUXFJJCLmBaCRPELUGmP2mkIEde0CN6SS53y68fDp7XOSkcvV6w0tudw5BcrB1nOpUi5xJLZMkmTOpSSRtfyA6geCZJJIr//2Q=="/>
          <p:cNvSpPr>
            <a:spLocks noChangeAspect="1" noChangeArrowheads="1"/>
          </p:cNvSpPr>
          <p:nvPr/>
        </p:nvSpPr>
        <p:spPr bwMode="auto">
          <a:xfrm>
            <a:off x="0" y="-20478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pic>
        <p:nvPicPr>
          <p:cNvPr id="1741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9568" y="7393783"/>
            <a:ext cx="3700463"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pic>
        <p:nvPicPr>
          <p:cNvPr id="17414" name="Imagem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48624" y="7688561"/>
            <a:ext cx="4614863"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175428273"/>
      </p:ext>
    </p:extLst>
  </p:cSld>
  <p:clrMapOvr>
    <a:masterClrMapping/>
  </p:clrMapOvr>
  <p:transition>
    <p:strips dir="rd"/>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aixaDeTexto 16"/>
          <p:cNvSpPr txBox="1">
            <a:spLocks noChangeArrowheads="1"/>
          </p:cNvSpPr>
          <p:nvPr/>
        </p:nvSpPr>
        <p:spPr bwMode="auto">
          <a:xfrm>
            <a:off x="-21432" y="123825"/>
            <a:ext cx="12420602" cy="69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r>
              <a:rPr lang="pt-BR" altLang="pt-BR" sz="3600" dirty="0">
                <a:solidFill>
                  <a:schemeClr val="tx1"/>
                </a:solidFill>
                <a:latin typeface="Arial" panose="020B0604020202020204" pitchFamily="34" charset="0"/>
              </a:rPr>
              <a:t>A Sistemática da Gestão: Portfólio x Projetos</a:t>
            </a:r>
          </a:p>
        </p:txBody>
      </p:sp>
      <p:pic>
        <p:nvPicPr>
          <p:cNvPr id="89091" name="Picture 2" descr="K:\15.Cupom Negócios\Imagens Compradas\A serem usadas\Fotolia_9668081_X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27627" y="3816881"/>
            <a:ext cx="2367846" cy="3157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9092" name="Group 332"/>
          <p:cNvGrpSpPr>
            <a:grpSpLocks/>
          </p:cNvGrpSpPr>
          <p:nvPr/>
        </p:nvGrpSpPr>
        <p:grpSpPr bwMode="auto">
          <a:xfrm>
            <a:off x="2600325" y="3524250"/>
            <a:ext cx="869157" cy="869157"/>
            <a:chOff x="1806" y="1304"/>
            <a:chExt cx="365" cy="365"/>
          </a:xfrm>
        </p:grpSpPr>
        <p:sp>
          <p:nvSpPr>
            <p:cNvPr id="89134" name="Freeform 145"/>
            <p:cNvSpPr>
              <a:spLocks/>
            </p:cNvSpPr>
            <p:nvPr/>
          </p:nvSpPr>
          <p:spPr bwMode="gray">
            <a:xfrm>
              <a:off x="1806" y="1304"/>
              <a:ext cx="365" cy="365"/>
            </a:xfrm>
            <a:custGeom>
              <a:avLst/>
              <a:gdLst>
                <a:gd name="T0" fmla="*/ 0 w 485"/>
                <a:gd name="T1" fmla="*/ 2 h 482"/>
                <a:gd name="T2" fmla="*/ 2 w 485"/>
                <a:gd name="T3" fmla="*/ 0 h 482"/>
                <a:gd name="T4" fmla="*/ 2 w 485"/>
                <a:gd name="T5" fmla="*/ 2 h 482"/>
                <a:gd name="T6" fmla="*/ 2 w 485"/>
                <a:gd name="T7" fmla="*/ 2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4C7013"/>
            </a:solidFill>
            <a:ln w="12700" cap="flat" cmpd="sng">
              <a:solidFill>
                <a:srgbClr val="DDDDDD"/>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35" name="Freeform 146"/>
            <p:cNvSpPr>
              <a:spLocks/>
            </p:cNvSpPr>
            <p:nvPr/>
          </p:nvSpPr>
          <p:spPr bwMode="gray">
            <a:xfrm>
              <a:off x="1821"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8FA56B"/>
                </a:gs>
                <a:gs pos="100000">
                  <a:srgbClr val="4C701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grpSp>
        <p:nvGrpSpPr>
          <p:cNvPr id="89093" name="Group 331"/>
          <p:cNvGrpSpPr>
            <a:grpSpLocks/>
          </p:cNvGrpSpPr>
          <p:nvPr/>
        </p:nvGrpSpPr>
        <p:grpSpPr bwMode="auto">
          <a:xfrm>
            <a:off x="4264820" y="3543300"/>
            <a:ext cx="869156" cy="869157"/>
            <a:chOff x="2246" y="1304"/>
            <a:chExt cx="365" cy="365"/>
          </a:xfrm>
        </p:grpSpPr>
        <p:sp>
          <p:nvSpPr>
            <p:cNvPr id="89132" name="Freeform 157"/>
            <p:cNvSpPr>
              <a:spLocks/>
            </p:cNvSpPr>
            <p:nvPr/>
          </p:nvSpPr>
          <p:spPr bwMode="gray">
            <a:xfrm>
              <a:off x="2246" y="1304"/>
              <a:ext cx="365" cy="365"/>
            </a:xfrm>
            <a:custGeom>
              <a:avLst/>
              <a:gdLst>
                <a:gd name="T0" fmla="*/ 0 w 485"/>
                <a:gd name="T1" fmla="*/ 2 h 482"/>
                <a:gd name="T2" fmla="*/ 2 w 485"/>
                <a:gd name="T3" fmla="*/ 0 h 482"/>
                <a:gd name="T4" fmla="*/ 2 w 485"/>
                <a:gd name="T5" fmla="*/ 2 h 482"/>
                <a:gd name="T6" fmla="*/ 2 w 485"/>
                <a:gd name="T7" fmla="*/ 2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C40505"/>
            </a:solidFill>
            <a:ln w="12700" cap="flat" cmpd="sng">
              <a:solidFill>
                <a:srgbClr val="DDDDDD"/>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33" name="Freeform 158"/>
            <p:cNvSpPr>
              <a:spLocks/>
            </p:cNvSpPr>
            <p:nvPr/>
          </p:nvSpPr>
          <p:spPr bwMode="gray">
            <a:xfrm>
              <a:off x="2261"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E28585"/>
                </a:gs>
                <a:gs pos="100000">
                  <a:srgbClr val="C40505"/>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grpSp>
        <p:nvGrpSpPr>
          <p:cNvPr id="89094" name="Group 330"/>
          <p:cNvGrpSpPr>
            <a:grpSpLocks/>
          </p:cNvGrpSpPr>
          <p:nvPr/>
        </p:nvGrpSpPr>
        <p:grpSpPr bwMode="auto">
          <a:xfrm>
            <a:off x="5919788" y="3581400"/>
            <a:ext cx="869157" cy="869157"/>
            <a:chOff x="2686" y="1304"/>
            <a:chExt cx="365" cy="365"/>
          </a:xfrm>
        </p:grpSpPr>
        <p:sp>
          <p:nvSpPr>
            <p:cNvPr id="89130" name="Freeform 160"/>
            <p:cNvSpPr>
              <a:spLocks/>
            </p:cNvSpPr>
            <p:nvPr/>
          </p:nvSpPr>
          <p:spPr bwMode="gray">
            <a:xfrm>
              <a:off x="2686" y="1304"/>
              <a:ext cx="365" cy="365"/>
            </a:xfrm>
            <a:custGeom>
              <a:avLst/>
              <a:gdLst>
                <a:gd name="T0" fmla="*/ 0 w 485"/>
                <a:gd name="T1" fmla="*/ 2 h 482"/>
                <a:gd name="T2" fmla="*/ 2 w 485"/>
                <a:gd name="T3" fmla="*/ 0 h 482"/>
                <a:gd name="T4" fmla="*/ 2 w 485"/>
                <a:gd name="T5" fmla="*/ 2 h 482"/>
                <a:gd name="T6" fmla="*/ 2 w 485"/>
                <a:gd name="T7" fmla="*/ 2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FEA501"/>
            </a:solidFill>
            <a:ln w="12700" cap="flat" cmpd="sng">
              <a:solidFill>
                <a:srgbClr val="DDDDDD"/>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31" name="Freeform 161"/>
            <p:cNvSpPr>
              <a:spLocks/>
            </p:cNvSpPr>
            <p:nvPr/>
          </p:nvSpPr>
          <p:spPr bwMode="gray">
            <a:xfrm>
              <a:off x="2701"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FFD589"/>
                </a:gs>
                <a:gs pos="100000">
                  <a:srgbClr val="FEA50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grpSp>
        <p:nvGrpSpPr>
          <p:cNvPr id="5" name="Group 329"/>
          <p:cNvGrpSpPr>
            <a:grpSpLocks/>
          </p:cNvGrpSpPr>
          <p:nvPr/>
        </p:nvGrpSpPr>
        <p:grpSpPr bwMode="auto">
          <a:xfrm>
            <a:off x="7524750" y="3569495"/>
            <a:ext cx="869157" cy="869156"/>
            <a:chOff x="3126" y="1304"/>
            <a:chExt cx="365" cy="365"/>
          </a:xfrm>
          <a:effectLst>
            <a:outerShdw blurRad="50800" dist="50800" dir="5400000" algn="ctr" rotWithShape="0">
              <a:srgbClr val="808080">
                <a:lumMod val="50000"/>
              </a:srgbClr>
            </a:outerShdw>
          </a:effectLst>
        </p:grpSpPr>
        <p:sp>
          <p:nvSpPr>
            <p:cNvPr id="65" name="Freeform 163"/>
            <p:cNvSpPr>
              <a:spLocks/>
            </p:cNvSpPr>
            <p:nvPr/>
          </p:nvSpPr>
          <p:spPr bwMode="gray">
            <a:xfrm>
              <a:off x="3126" y="1304"/>
              <a:ext cx="365" cy="365"/>
            </a:xfrm>
            <a:custGeom>
              <a:avLst/>
              <a:gdLst>
                <a:gd name="T0" fmla="*/ 0 w 485"/>
                <a:gd name="T1" fmla="*/ 2 h 482"/>
                <a:gd name="T2" fmla="*/ 2 w 485"/>
                <a:gd name="T3" fmla="*/ 0 h 482"/>
                <a:gd name="T4" fmla="*/ 5 w 485"/>
                <a:gd name="T5" fmla="*/ 2 h 482"/>
                <a:gd name="T6" fmla="*/ 2 w 485"/>
                <a:gd name="T7" fmla="*/ 5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808080">
                <a:lumMod val="60000"/>
                <a:lumOff val="40000"/>
              </a:srgbClr>
            </a:solidFill>
            <a:ln w="12700" cap="flat" cmpd="sng">
              <a:solidFill>
                <a:srgbClr val="EAEAEA"/>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pPr algn="ctr" fontAlgn="auto">
                <a:spcBef>
                  <a:spcPts val="0"/>
                </a:spcBef>
                <a:spcAft>
                  <a:spcPts val="0"/>
                </a:spcAft>
                <a:defRPr/>
              </a:pPr>
              <a:endParaRPr lang="pt-BR" i="1" kern="0">
                <a:solidFill>
                  <a:srgbClr val="808080"/>
                </a:solidFill>
                <a:latin typeface="Arial" charset="0"/>
                <a:cs typeface="Arial"/>
              </a:endParaRPr>
            </a:p>
          </p:txBody>
        </p:sp>
        <p:sp>
          <p:nvSpPr>
            <p:cNvPr id="66" name="Freeform 164"/>
            <p:cNvSpPr>
              <a:spLocks/>
            </p:cNvSpPr>
            <p:nvPr/>
          </p:nvSpPr>
          <p:spPr bwMode="gray">
            <a:xfrm>
              <a:off x="3141"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5400000" scaled="0"/>
            </a:gradFill>
            <a:ln>
              <a:noFill/>
            </a:ln>
          </p:spPr>
          <p:txBody>
            <a:bodyPr/>
            <a:lstStyle/>
            <a:p>
              <a:pPr algn="ctr" fontAlgn="auto">
                <a:spcBef>
                  <a:spcPts val="0"/>
                </a:spcBef>
                <a:spcAft>
                  <a:spcPts val="0"/>
                </a:spcAft>
                <a:defRPr/>
              </a:pPr>
              <a:endParaRPr lang="pt-BR" i="1" kern="0">
                <a:solidFill>
                  <a:srgbClr val="808080"/>
                </a:solidFill>
                <a:cs typeface="Arial"/>
              </a:endParaRPr>
            </a:p>
          </p:txBody>
        </p:sp>
      </p:grpSp>
      <p:grpSp>
        <p:nvGrpSpPr>
          <p:cNvPr id="89096" name="Group 328"/>
          <p:cNvGrpSpPr>
            <a:grpSpLocks/>
          </p:cNvGrpSpPr>
          <p:nvPr/>
        </p:nvGrpSpPr>
        <p:grpSpPr bwMode="auto">
          <a:xfrm>
            <a:off x="976313" y="3543300"/>
            <a:ext cx="869157" cy="869157"/>
            <a:chOff x="1367" y="1304"/>
            <a:chExt cx="365" cy="365"/>
          </a:xfrm>
        </p:grpSpPr>
        <p:sp>
          <p:nvSpPr>
            <p:cNvPr id="89128" name="Freeform 240"/>
            <p:cNvSpPr>
              <a:spLocks/>
            </p:cNvSpPr>
            <p:nvPr/>
          </p:nvSpPr>
          <p:spPr bwMode="gray">
            <a:xfrm>
              <a:off x="1367" y="1304"/>
              <a:ext cx="365" cy="365"/>
            </a:xfrm>
            <a:custGeom>
              <a:avLst/>
              <a:gdLst>
                <a:gd name="T0" fmla="*/ 0 w 485"/>
                <a:gd name="T1" fmla="*/ 2 h 482"/>
                <a:gd name="T2" fmla="*/ 2 w 485"/>
                <a:gd name="T3" fmla="*/ 0 h 482"/>
                <a:gd name="T4" fmla="*/ 2 w 485"/>
                <a:gd name="T5" fmla="*/ 2 h 482"/>
                <a:gd name="T6" fmla="*/ 2 w 485"/>
                <a:gd name="T7" fmla="*/ 2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0061B2"/>
            </a:solidFill>
            <a:ln w="12700" cap="flat" cmpd="sng">
              <a:solidFill>
                <a:srgbClr val="DDDDDD"/>
              </a:solidFill>
              <a:prstDash val="solid"/>
              <a:round/>
              <a:headEnd/>
              <a:tailEnd/>
            </a:ln>
            <a:effectLst>
              <a:outerShdw dist="53882" dir="2700000" algn="ctr" rotWithShape="0">
                <a:srgbClr val="808080">
                  <a:alpha val="50000"/>
                </a:srgbClr>
              </a:outerShdw>
            </a:effectLst>
          </p:spPr>
          <p:txBody>
            <a:bodyPr lIns="432000" tIns="0" rIns="0" bIns="0" anchor="ctr"/>
            <a:lstStyle/>
            <a:p>
              <a:endParaRPr lang="pt-BR"/>
            </a:p>
          </p:txBody>
        </p:sp>
        <p:sp>
          <p:nvSpPr>
            <p:cNvPr id="89129" name="Freeform 241"/>
            <p:cNvSpPr>
              <a:spLocks/>
            </p:cNvSpPr>
            <p:nvPr/>
          </p:nvSpPr>
          <p:spPr bwMode="gray">
            <a:xfrm>
              <a:off x="1382"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5A99CD"/>
                </a:gs>
                <a:gs pos="100000">
                  <a:srgbClr val="0061B2"/>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sp>
        <p:nvSpPr>
          <p:cNvPr id="89097" name="CaixaDeTexto 17"/>
          <p:cNvSpPr txBox="1">
            <a:spLocks noChangeArrowheads="1"/>
          </p:cNvSpPr>
          <p:nvPr/>
        </p:nvSpPr>
        <p:spPr bwMode="auto">
          <a:xfrm rot="-2708802">
            <a:off x="938213" y="2229796"/>
            <a:ext cx="3278982"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É interessante?</a:t>
            </a:r>
          </a:p>
        </p:txBody>
      </p:sp>
      <p:sp>
        <p:nvSpPr>
          <p:cNvPr id="89098" name="CaixaDeTexto 18"/>
          <p:cNvSpPr txBox="1">
            <a:spLocks noChangeArrowheads="1"/>
          </p:cNvSpPr>
          <p:nvPr/>
        </p:nvSpPr>
        <p:spPr bwMode="auto">
          <a:xfrm rot="-2708802">
            <a:off x="2557463" y="2229796"/>
            <a:ext cx="3278982"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É viável?</a:t>
            </a:r>
          </a:p>
        </p:txBody>
      </p:sp>
      <p:sp>
        <p:nvSpPr>
          <p:cNvPr id="89099" name="CaixaDeTexto 19"/>
          <p:cNvSpPr txBox="1">
            <a:spLocks noChangeArrowheads="1"/>
          </p:cNvSpPr>
          <p:nvPr/>
        </p:nvSpPr>
        <p:spPr bwMode="auto">
          <a:xfrm rot="-2708802">
            <a:off x="4179095" y="2211936"/>
            <a:ext cx="3276600"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Vamos fazer?</a:t>
            </a:r>
          </a:p>
        </p:txBody>
      </p:sp>
      <p:sp>
        <p:nvSpPr>
          <p:cNvPr id="89100" name="CaixaDeTexto 20"/>
          <p:cNvSpPr txBox="1">
            <a:spLocks noChangeArrowheads="1"/>
          </p:cNvSpPr>
          <p:nvPr/>
        </p:nvSpPr>
        <p:spPr bwMode="auto">
          <a:xfrm rot="-2708802">
            <a:off x="5935266" y="2211936"/>
            <a:ext cx="3276600"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Vamos iniciar?</a:t>
            </a:r>
          </a:p>
        </p:txBody>
      </p:sp>
      <p:sp>
        <p:nvSpPr>
          <p:cNvPr id="89101" name="CaixaDeTexto 21"/>
          <p:cNvSpPr txBox="1">
            <a:spLocks noChangeArrowheads="1"/>
          </p:cNvSpPr>
          <p:nvPr/>
        </p:nvSpPr>
        <p:spPr bwMode="auto">
          <a:xfrm rot="-2708802">
            <a:off x="7446170" y="2229794"/>
            <a:ext cx="3278982"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Está Pronto?</a:t>
            </a:r>
          </a:p>
        </p:txBody>
      </p:sp>
      <p:grpSp>
        <p:nvGrpSpPr>
          <p:cNvPr id="89102" name="Group 332"/>
          <p:cNvGrpSpPr>
            <a:grpSpLocks/>
          </p:cNvGrpSpPr>
          <p:nvPr/>
        </p:nvGrpSpPr>
        <p:grpSpPr bwMode="auto">
          <a:xfrm>
            <a:off x="9101138" y="3548063"/>
            <a:ext cx="869157" cy="869157"/>
            <a:chOff x="1806" y="1304"/>
            <a:chExt cx="365" cy="365"/>
          </a:xfrm>
        </p:grpSpPr>
        <p:sp>
          <p:nvSpPr>
            <p:cNvPr id="89126" name="Freeform 145"/>
            <p:cNvSpPr>
              <a:spLocks/>
            </p:cNvSpPr>
            <p:nvPr/>
          </p:nvSpPr>
          <p:spPr bwMode="gray">
            <a:xfrm>
              <a:off x="1806" y="1304"/>
              <a:ext cx="365" cy="365"/>
            </a:xfrm>
            <a:custGeom>
              <a:avLst/>
              <a:gdLst>
                <a:gd name="T0" fmla="*/ 0 w 485"/>
                <a:gd name="T1" fmla="*/ 2 h 482"/>
                <a:gd name="T2" fmla="*/ 2 w 485"/>
                <a:gd name="T3" fmla="*/ 0 h 482"/>
                <a:gd name="T4" fmla="*/ 2 w 485"/>
                <a:gd name="T5" fmla="*/ 2 h 482"/>
                <a:gd name="T6" fmla="*/ 2 w 485"/>
                <a:gd name="T7" fmla="*/ 2 h 482"/>
                <a:gd name="T8" fmla="*/ 0 w 485"/>
                <a:gd name="T9" fmla="*/ 2 h 482"/>
                <a:gd name="T10" fmla="*/ 0 w 485"/>
                <a:gd name="T11" fmla="*/ 2 h 4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5" h="482">
                  <a:moveTo>
                    <a:pt x="0" y="241"/>
                  </a:moveTo>
                  <a:lnTo>
                    <a:pt x="244" y="0"/>
                  </a:lnTo>
                  <a:lnTo>
                    <a:pt x="485" y="241"/>
                  </a:lnTo>
                  <a:lnTo>
                    <a:pt x="244" y="482"/>
                  </a:lnTo>
                  <a:lnTo>
                    <a:pt x="0" y="241"/>
                  </a:lnTo>
                  <a:close/>
                </a:path>
              </a:pathLst>
            </a:custGeom>
            <a:solidFill>
              <a:srgbClr val="4C7013"/>
            </a:solidFill>
            <a:ln w="12700" cap="flat" cmpd="sng">
              <a:solidFill>
                <a:srgbClr val="DDDDDD"/>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27" name="Freeform 146"/>
            <p:cNvSpPr>
              <a:spLocks/>
            </p:cNvSpPr>
            <p:nvPr/>
          </p:nvSpPr>
          <p:spPr bwMode="gray">
            <a:xfrm>
              <a:off x="1821" y="1323"/>
              <a:ext cx="332" cy="166"/>
            </a:xfrm>
            <a:custGeom>
              <a:avLst/>
              <a:gdLst>
                <a:gd name="T0" fmla="*/ 0 w 540"/>
                <a:gd name="T1" fmla="*/ 1 h 270"/>
                <a:gd name="T2" fmla="*/ 1 w 540"/>
                <a:gd name="T3" fmla="*/ 0 h 270"/>
                <a:gd name="T4" fmla="*/ 1 w 540"/>
                <a:gd name="T5" fmla="*/ 1 h 270"/>
                <a:gd name="T6" fmla="*/ 0 w 540"/>
                <a:gd name="T7" fmla="*/ 1 h 270"/>
                <a:gd name="T8" fmla="*/ 0 w 540"/>
                <a:gd name="T9" fmla="*/ 1 h 270"/>
                <a:gd name="T10" fmla="*/ 0 60000 65536"/>
                <a:gd name="T11" fmla="*/ 0 60000 65536"/>
                <a:gd name="T12" fmla="*/ 0 60000 65536"/>
                <a:gd name="T13" fmla="*/ 0 60000 65536"/>
                <a:gd name="T14" fmla="*/ 0 60000 65536"/>
                <a:gd name="T15" fmla="*/ 0 w 540"/>
                <a:gd name="T16" fmla="*/ 0 h 270"/>
                <a:gd name="T17" fmla="*/ 540 w 540"/>
                <a:gd name="T18" fmla="*/ 270 h 270"/>
              </a:gdLst>
              <a:ahLst/>
              <a:cxnLst>
                <a:cxn ang="T10">
                  <a:pos x="T0" y="T1"/>
                </a:cxn>
                <a:cxn ang="T11">
                  <a:pos x="T2" y="T3"/>
                </a:cxn>
                <a:cxn ang="T12">
                  <a:pos x="T4" y="T5"/>
                </a:cxn>
                <a:cxn ang="T13">
                  <a:pos x="T6" y="T7"/>
                </a:cxn>
                <a:cxn ang="T14">
                  <a:pos x="T8" y="T9"/>
                </a:cxn>
              </a:cxnLst>
              <a:rect l="T15" t="T16" r="T17" b="T18"/>
              <a:pathLst>
                <a:path w="540" h="270">
                  <a:moveTo>
                    <a:pt x="0" y="270"/>
                  </a:moveTo>
                  <a:lnTo>
                    <a:pt x="272" y="0"/>
                  </a:lnTo>
                  <a:lnTo>
                    <a:pt x="540" y="270"/>
                  </a:lnTo>
                  <a:lnTo>
                    <a:pt x="0" y="270"/>
                  </a:lnTo>
                  <a:close/>
                </a:path>
              </a:pathLst>
            </a:custGeom>
            <a:gradFill rotWithShape="1">
              <a:gsLst>
                <a:gs pos="0">
                  <a:srgbClr val="8FA56B"/>
                </a:gs>
                <a:gs pos="100000">
                  <a:srgbClr val="4C701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sp>
        <p:nvSpPr>
          <p:cNvPr id="89103" name="CaixaDeTexto 25"/>
          <p:cNvSpPr txBox="1">
            <a:spLocks noChangeArrowheads="1"/>
          </p:cNvSpPr>
          <p:nvPr/>
        </p:nvSpPr>
        <p:spPr bwMode="auto">
          <a:xfrm rot="-2708802">
            <a:off x="9272588" y="2120258"/>
            <a:ext cx="3278982" cy="55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2700">
                <a:solidFill>
                  <a:srgbClr val="000000"/>
                </a:solidFill>
                <a:latin typeface="Arial" panose="020B0604020202020204" pitchFamily="34" charset="0"/>
              </a:rPr>
              <a:t>Deu resultado?</a:t>
            </a:r>
          </a:p>
        </p:txBody>
      </p:sp>
      <p:grpSp>
        <p:nvGrpSpPr>
          <p:cNvPr id="89104" name="Group 79"/>
          <p:cNvGrpSpPr>
            <a:grpSpLocks/>
          </p:cNvGrpSpPr>
          <p:nvPr/>
        </p:nvGrpSpPr>
        <p:grpSpPr bwMode="auto">
          <a:xfrm>
            <a:off x="3248025" y="7155659"/>
            <a:ext cx="3107532" cy="1402556"/>
            <a:chOff x="421" y="1186"/>
            <a:chExt cx="612" cy="272"/>
          </a:xfrm>
        </p:grpSpPr>
        <p:grpSp>
          <p:nvGrpSpPr>
            <p:cNvPr id="89122" name="Group 43"/>
            <p:cNvGrpSpPr>
              <a:grpSpLocks/>
            </p:cNvGrpSpPr>
            <p:nvPr/>
          </p:nvGrpSpPr>
          <p:grpSpPr bwMode="auto">
            <a:xfrm>
              <a:off x="421" y="1186"/>
              <a:ext cx="612" cy="272"/>
              <a:chOff x="416" y="1186"/>
              <a:chExt cx="788" cy="350"/>
            </a:xfrm>
          </p:grpSpPr>
          <p:sp>
            <p:nvSpPr>
              <p:cNvPr id="89124" name="Freeform 44"/>
              <p:cNvSpPr>
                <a:spLocks/>
              </p:cNvSpPr>
              <p:nvPr/>
            </p:nvSpPr>
            <p:spPr bwMode="gray">
              <a:xfrm>
                <a:off x="416" y="1186"/>
                <a:ext cx="788" cy="350"/>
              </a:xfrm>
              <a:custGeom>
                <a:avLst/>
                <a:gdLst>
                  <a:gd name="T0" fmla="*/ 2147483646 w 306"/>
                  <a:gd name="T1" fmla="*/ 2147483646 h 136"/>
                  <a:gd name="T2" fmla="*/ 2147483646 w 306"/>
                  <a:gd name="T3" fmla="*/ 2147483646 h 136"/>
                  <a:gd name="T4" fmla="*/ 2147483646 w 306"/>
                  <a:gd name="T5" fmla="*/ 2147483646 h 136"/>
                  <a:gd name="T6" fmla="*/ 2147483646 w 306"/>
                  <a:gd name="T7" fmla="*/ 2147483646 h 136"/>
                  <a:gd name="T8" fmla="*/ 2147483646 w 306"/>
                  <a:gd name="T9" fmla="*/ 0 h 136"/>
                  <a:gd name="T10" fmla="*/ 2147483646 w 306"/>
                  <a:gd name="T11" fmla="*/ 0 h 136"/>
                  <a:gd name="T12" fmla="*/ 2147483646 w 306"/>
                  <a:gd name="T13" fmla="*/ 0 h 136"/>
                  <a:gd name="T14" fmla="*/ 2147483646 w 306"/>
                  <a:gd name="T15" fmla="*/ 0 h 136"/>
                  <a:gd name="T16" fmla="*/ 2147483646 w 306"/>
                  <a:gd name="T17" fmla="*/ 0 h 136"/>
                  <a:gd name="T18" fmla="*/ 0 w 306"/>
                  <a:gd name="T19" fmla="*/ 2147483646 h 136"/>
                  <a:gd name="T20" fmla="*/ 2147483646 w 306"/>
                  <a:gd name="T21" fmla="*/ 2147483646 h 1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6" h="136">
                    <a:moveTo>
                      <a:pt x="61" y="136"/>
                    </a:moveTo>
                    <a:cubicBezTo>
                      <a:pt x="153" y="136"/>
                      <a:pt x="153" y="136"/>
                      <a:pt x="153" y="136"/>
                    </a:cubicBezTo>
                    <a:cubicBezTo>
                      <a:pt x="245" y="136"/>
                      <a:pt x="245" y="136"/>
                      <a:pt x="245" y="136"/>
                    </a:cubicBezTo>
                    <a:cubicBezTo>
                      <a:pt x="279" y="136"/>
                      <a:pt x="306" y="105"/>
                      <a:pt x="306" y="68"/>
                    </a:cubicBezTo>
                    <a:cubicBezTo>
                      <a:pt x="306" y="30"/>
                      <a:pt x="279" y="0"/>
                      <a:pt x="245" y="0"/>
                    </a:cubicBezTo>
                    <a:cubicBezTo>
                      <a:pt x="245" y="0"/>
                      <a:pt x="245" y="0"/>
                      <a:pt x="245" y="0"/>
                    </a:cubicBezTo>
                    <a:cubicBezTo>
                      <a:pt x="245" y="0"/>
                      <a:pt x="245" y="0"/>
                      <a:pt x="245" y="0"/>
                    </a:cubicBezTo>
                    <a:cubicBezTo>
                      <a:pt x="153" y="0"/>
                      <a:pt x="153" y="0"/>
                      <a:pt x="153" y="0"/>
                    </a:cubicBezTo>
                    <a:cubicBezTo>
                      <a:pt x="61" y="0"/>
                      <a:pt x="61" y="0"/>
                      <a:pt x="61" y="0"/>
                    </a:cubicBezTo>
                    <a:cubicBezTo>
                      <a:pt x="27" y="0"/>
                      <a:pt x="0" y="30"/>
                      <a:pt x="0" y="68"/>
                    </a:cubicBezTo>
                    <a:cubicBezTo>
                      <a:pt x="0" y="105"/>
                      <a:pt x="27" y="136"/>
                      <a:pt x="61" y="136"/>
                    </a:cubicBezTo>
                    <a:close/>
                  </a:path>
                </a:pathLst>
              </a:custGeom>
              <a:solidFill>
                <a:srgbClr val="5F5F5F"/>
              </a:solidFill>
              <a:ln w="12700" cap="flat" cmpd="sng">
                <a:solidFill>
                  <a:srgbClr val="EAEAEA"/>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25" name="Freeform 45"/>
              <p:cNvSpPr>
                <a:spLocks/>
              </p:cNvSpPr>
              <p:nvPr/>
            </p:nvSpPr>
            <p:spPr bwMode="gray">
              <a:xfrm>
                <a:off x="444" y="1207"/>
                <a:ext cx="732" cy="110"/>
              </a:xfrm>
              <a:custGeom>
                <a:avLst/>
                <a:gdLst>
                  <a:gd name="T0" fmla="*/ 2147483646 w 284"/>
                  <a:gd name="T1" fmla="*/ 0 h 43"/>
                  <a:gd name="T2" fmla="*/ 2147483646 w 284"/>
                  <a:gd name="T3" fmla="*/ 0 h 43"/>
                  <a:gd name="T4" fmla="*/ 0 w 284"/>
                  <a:gd name="T5" fmla="*/ 2147483646 h 43"/>
                  <a:gd name="T6" fmla="*/ 2147483646 w 284"/>
                  <a:gd name="T7" fmla="*/ 2147483646 h 43"/>
                  <a:gd name="T8" fmla="*/ 2147483646 w 284"/>
                  <a:gd name="T9" fmla="*/ 0 h 43"/>
                  <a:gd name="T10" fmla="*/ 0 60000 65536"/>
                  <a:gd name="T11" fmla="*/ 0 60000 65536"/>
                  <a:gd name="T12" fmla="*/ 0 60000 65536"/>
                  <a:gd name="T13" fmla="*/ 0 60000 65536"/>
                  <a:gd name="T14" fmla="*/ 0 60000 65536"/>
                  <a:gd name="T15" fmla="*/ 0 w 284"/>
                  <a:gd name="T16" fmla="*/ 0 h 43"/>
                  <a:gd name="T17" fmla="*/ 284 w 284"/>
                  <a:gd name="T18" fmla="*/ 43 h 43"/>
                </a:gdLst>
                <a:ahLst/>
                <a:cxnLst>
                  <a:cxn ang="T10">
                    <a:pos x="T0" y="T1"/>
                  </a:cxn>
                  <a:cxn ang="T11">
                    <a:pos x="T2" y="T3"/>
                  </a:cxn>
                  <a:cxn ang="T12">
                    <a:pos x="T4" y="T5"/>
                  </a:cxn>
                  <a:cxn ang="T13">
                    <a:pos x="T6" y="T7"/>
                  </a:cxn>
                  <a:cxn ang="T14">
                    <a:pos x="T8" y="T9"/>
                  </a:cxn>
                </a:cxnLst>
                <a:rect l="T15" t="T16" r="T17" b="T18"/>
                <a:pathLst>
                  <a:path w="284" h="43">
                    <a:moveTo>
                      <a:pt x="229" y="0"/>
                    </a:moveTo>
                    <a:cubicBezTo>
                      <a:pt x="55" y="0"/>
                      <a:pt x="55" y="0"/>
                      <a:pt x="55" y="0"/>
                    </a:cubicBezTo>
                    <a:cubicBezTo>
                      <a:pt x="29" y="0"/>
                      <a:pt x="7" y="18"/>
                      <a:pt x="0" y="43"/>
                    </a:cubicBezTo>
                    <a:cubicBezTo>
                      <a:pt x="284" y="43"/>
                      <a:pt x="284" y="43"/>
                      <a:pt x="284" y="43"/>
                    </a:cubicBezTo>
                    <a:cubicBezTo>
                      <a:pt x="277" y="18"/>
                      <a:pt x="255" y="0"/>
                      <a:pt x="229" y="0"/>
                    </a:cubicBezTo>
                    <a:close/>
                  </a:path>
                </a:pathLst>
              </a:custGeom>
              <a:gradFill rotWithShape="1">
                <a:gsLst>
                  <a:gs pos="0">
                    <a:srgbClr val="AEAEAE"/>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sp>
          <p:nvSpPr>
            <p:cNvPr id="89123" name="Text Box 46"/>
            <p:cNvSpPr txBox="1">
              <a:spLocks noChangeArrowheads="1"/>
            </p:cNvSpPr>
            <p:nvPr/>
          </p:nvSpPr>
          <p:spPr bwMode="gray">
            <a:xfrm>
              <a:off x="432" y="1247"/>
              <a:ext cx="58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50000"/>
                </a:spcBef>
                <a:buFontTx/>
                <a:buNone/>
              </a:pPr>
              <a:r>
                <a:rPr lang="de-DE" altLang="pt-BR" sz="2700">
                  <a:solidFill>
                    <a:srgbClr val="FFFFFF"/>
                  </a:solidFill>
                  <a:latin typeface="Arial" panose="020B0604020202020204" pitchFamily="34" charset="0"/>
                </a:rPr>
                <a:t>Gestão de Portfólio</a:t>
              </a:r>
            </a:p>
          </p:txBody>
        </p:sp>
      </p:grpSp>
      <p:cxnSp>
        <p:nvCxnSpPr>
          <p:cNvPr id="89105" name="Conector em curva 87"/>
          <p:cNvCxnSpPr>
            <a:cxnSpLocks noChangeShapeType="1"/>
            <a:stCxn id="89128" idx="3"/>
            <a:endCxn id="89124" idx="7"/>
          </p:cNvCxnSpPr>
          <p:nvPr/>
        </p:nvCxnSpPr>
        <p:spPr bwMode="auto">
          <a:xfrm>
            <a:off x="1414463" y="4412457"/>
            <a:ext cx="3388520" cy="2743200"/>
          </a:xfrm>
          <a:prstGeom prst="curvedConnector3">
            <a:avLst>
              <a:gd name="adj1" fmla="val 13958"/>
            </a:avLst>
          </a:prstGeom>
          <a:noFill/>
          <a:ln w="9525" algn="ctr">
            <a:solidFill>
              <a:srgbClr val="222268"/>
            </a:solidFill>
            <a:round/>
            <a:headEnd type="arrow" w="med" len="med"/>
            <a:tailEnd type="arrow" w="med" len="med"/>
          </a:ln>
          <a:extLst>
            <a:ext uri="{909E8E84-426E-40DD-AFC4-6F175D3DCCD1}">
              <a14:hiddenFill xmlns:a14="http://schemas.microsoft.com/office/drawing/2010/main">
                <a:noFill/>
              </a14:hiddenFill>
            </a:ext>
          </a:extLst>
        </p:spPr>
      </p:cxnSp>
      <p:cxnSp>
        <p:nvCxnSpPr>
          <p:cNvPr id="89106" name="Conector em curva 88"/>
          <p:cNvCxnSpPr>
            <a:cxnSpLocks noChangeShapeType="1"/>
            <a:stCxn id="89134" idx="3"/>
            <a:endCxn id="89124" idx="7"/>
          </p:cNvCxnSpPr>
          <p:nvPr/>
        </p:nvCxnSpPr>
        <p:spPr bwMode="auto">
          <a:xfrm>
            <a:off x="3038475" y="4393407"/>
            <a:ext cx="1764507" cy="2762250"/>
          </a:xfrm>
          <a:prstGeom prst="curvedConnector3">
            <a:avLst>
              <a:gd name="adj1" fmla="val 26431"/>
            </a:avLst>
          </a:prstGeom>
          <a:noFill/>
          <a:ln w="9525" algn="ctr">
            <a:solidFill>
              <a:srgbClr val="2D2D8A"/>
            </a:solidFill>
            <a:round/>
            <a:headEnd type="arrow" w="med" len="med"/>
            <a:tailEnd type="arrow" w="med" len="med"/>
          </a:ln>
          <a:extLst>
            <a:ext uri="{909E8E84-426E-40DD-AFC4-6F175D3DCCD1}">
              <a14:hiddenFill xmlns:a14="http://schemas.microsoft.com/office/drawing/2010/main">
                <a:noFill/>
              </a14:hiddenFill>
            </a:ext>
          </a:extLst>
        </p:spPr>
      </p:cxnSp>
      <p:cxnSp>
        <p:nvCxnSpPr>
          <p:cNvPr id="89107" name="Conector em curva 89"/>
          <p:cNvCxnSpPr>
            <a:cxnSpLocks noChangeShapeType="1"/>
            <a:stCxn id="89132" idx="3"/>
            <a:endCxn id="89124" idx="7"/>
          </p:cNvCxnSpPr>
          <p:nvPr/>
        </p:nvCxnSpPr>
        <p:spPr bwMode="auto">
          <a:xfrm>
            <a:off x="4702970" y="4412457"/>
            <a:ext cx="100013" cy="2743200"/>
          </a:xfrm>
          <a:prstGeom prst="curvedConnector3">
            <a:avLst>
              <a:gd name="adj1" fmla="val 339324"/>
            </a:avLst>
          </a:prstGeom>
          <a:noFill/>
          <a:ln w="9525" algn="ctr">
            <a:solidFill>
              <a:srgbClr val="2D2D8A"/>
            </a:solidFill>
            <a:round/>
            <a:headEnd type="arrow" w="med" len="med"/>
            <a:tailEnd type="arrow" w="med" len="med"/>
          </a:ln>
          <a:extLst>
            <a:ext uri="{909E8E84-426E-40DD-AFC4-6F175D3DCCD1}">
              <a14:hiddenFill xmlns:a14="http://schemas.microsoft.com/office/drawing/2010/main">
                <a:noFill/>
              </a14:hiddenFill>
            </a:ext>
          </a:extLst>
        </p:spPr>
      </p:cxnSp>
      <p:cxnSp>
        <p:nvCxnSpPr>
          <p:cNvPr id="89108" name="Conector em curva 90"/>
          <p:cNvCxnSpPr>
            <a:cxnSpLocks noChangeShapeType="1"/>
            <a:stCxn id="89126" idx="3"/>
            <a:endCxn id="89124" idx="7"/>
          </p:cNvCxnSpPr>
          <p:nvPr/>
        </p:nvCxnSpPr>
        <p:spPr bwMode="auto">
          <a:xfrm flipH="1">
            <a:off x="4802983" y="4417220"/>
            <a:ext cx="4736306" cy="2738438"/>
          </a:xfrm>
          <a:prstGeom prst="curvedConnector3">
            <a:avLst>
              <a:gd name="adj1" fmla="val 43727"/>
            </a:avLst>
          </a:prstGeom>
          <a:noFill/>
          <a:ln w="9525" algn="ctr">
            <a:solidFill>
              <a:srgbClr val="2D2D8A"/>
            </a:solidFill>
            <a:round/>
            <a:headEnd type="arrow" w="med" len="med"/>
            <a:tailEnd type="arrow" w="med" len="med"/>
          </a:ln>
          <a:extLst>
            <a:ext uri="{909E8E84-426E-40DD-AFC4-6F175D3DCCD1}">
              <a14:hiddenFill xmlns:a14="http://schemas.microsoft.com/office/drawing/2010/main">
                <a:noFill/>
              </a14:hiddenFill>
            </a:ext>
          </a:extLst>
        </p:spPr>
      </p:cxnSp>
      <p:grpSp>
        <p:nvGrpSpPr>
          <p:cNvPr id="89109" name="Group 79"/>
          <p:cNvGrpSpPr>
            <a:grpSpLocks/>
          </p:cNvGrpSpPr>
          <p:nvPr/>
        </p:nvGrpSpPr>
        <p:grpSpPr bwMode="auto">
          <a:xfrm>
            <a:off x="7743825" y="7188996"/>
            <a:ext cx="3107532" cy="1404938"/>
            <a:chOff x="421" y="1186"/>
            <a:chExt cx="612" cy="272"/>
          </a:xfrm>
        </p:grpSpPr>
        <p:grpSp>
          <p:nvGrpSpPr>
            <p:cNvPr id="89118" name="Group 43"/>
            <p:cNvGrpSpPr>
              <a:grpSpLocks/>
            </p:cNvGrpSpPr>
            <p:nvPr/>
          </p:nvGrpSpPr>
          <p:grpSpPr bwMode="auto">
            <a:xfrm>
              <a:off x="421" y="1186"/>
              <a:ext cx="612" cy="272"/>
              <a:chOff x="416" y="1186"/>
              <a:chExt cx="788" cy="350"/>
            </a:xfrm>
          </p:grpSpPr>
          <p:sp>
            <p:nvSpPr>
              <p:cNvPr id="89120" name="Freeform 44"/>
              <p:cNvSpPr>
                <a:spLocks/>
              </p:cNvSpPr>
              <p:nvPr/>
            </p:nvSpPr>
            <p:spPr bwMode="gray">
              <a:xfrm>
                <a:off x="416" y="1186"/>
                <a:ext cx="788" cy="350"/>
              </a:xfrm>
              <a:custGeom>
                <a:avLst/>
                <a:gdLst>
                  <a:gd name="T0" fmla="*/ 2147483646 w 306"/>
                  <a:gd name="T1" fmla="*/ 2147483646 h 136"/>
                  <a:gd name="T2" fmla="*/ 2147483646 w 306"/>
                  <a:gd name="T3" fmla="*/ 2147483646 h 136"/>
                  <a:gd name="T4" fmla="*/ 2147483646 w 306"/>
                  <a:gd name="T5" fmla="*/ 2147483646 h 136"/>
                  <a:gd name="T6" fmla="*/ 2147483646 w 306"/>
                  <a:gd name="T7" fmla="*/ 2147483646 h 136"/>
                  <a:gd name="T8" fmla="*/ 2147483646 w 306"/>
                  <a:gd name="T9" fmla="*/ 0 h 136"/>
                  <a:gd name="T10" fmla="*/ 2147483646 w 306"/>
                  <a:gd name="T11" fmla="*/ 0 h 136"/>
                  <a:gd name="T12" fmla="*/ 2147483646 w 306"/>
                  <a:gd name="T13" fmla="*/ 0 h 136"/>
                  <a:gd name="T14" fmla="*/ 2147483646 w 306"/>
                  <a:gd name="T15" fmla="*/ 0 h 136"/>
                  <a:gd name="T16" fmla="*/ 2147483646 w 306"/>
                  <a:gd name="T17" fmla="*/ 0 h 136"/>
                  <a:gd name="T18" fmla="*/ 0 w 306"/>
                  <a:gd name="T19" fmla="*/ 2147483646 h 136"/>
                  <a:gd name="T20" fmla="*/ 2147483646 w 306"/>
                  <a:gd name="T21" fmla="*/ 2147483646 h 1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6" h="136">
                    <a:moveTo>
                      <a:pt x="61" y="136"/>
                    </a:moveTo>
                    <a:cubicBezTo>
                      <a:pt x="153" y="136"/>
                      <a:pt x="153" y="136"/>
                      <a:pt x="153" y="136"/>
                    </a:cubicBezTo>
                    <a:cubicBezTo>
                      <a:pt x="245" y="136"/>
                      <a:pt x="245" y="136"/>
                      <a:pt x="245" y="136"/>
                    </a:cubicBezTo>
                    <a:cubicBezTo>
                      <a:pt x="279" y="136"/>
                      <a:pt x="306" y="105"/>
                      <a:pt x="306" y="68"/>
                    </a:cubicBezTo>
                    <a:cubicBezTo>
                      <a:pt x="306" y="30"/>
                      <a:pt x="279" y="0"/>
                      <a:pt x="245" y="0"/>
                    </a:cubicBezTo>
                    <a:cubicBezTo>
                      <a:pt x="245" y="0"/>
                      <a:pt x="245" y="0"/>
                      <a:pt x="245" y="0"/>
                    </a:cubicBezTo>
                    <a:cubicBezTo>
                      <a:pt x="245" y="0"/>
                      <a:pt x="245" y="0"/>
                      <a:pt x="245" y="0"/>
                    </a:cubicBezTo>
                    <a:cubicBezTo>
                      <a:pt x="153" y="0"/>
                      <a:pt x="153" y="0"/>
                      <a:pt x="153" y="0"/>
                    </a:cubicBezTo>
                    <a:cubicBezTo>
                      <a:pt x="61" y="0"/>
                      <a:pt x="61" y="0"/>
                      <a:pt x="61" y="0"/>
                    </a:cubicBezTo>
                    <a:cubicBezTo>
                      <a:pt x="27" y="0"/>
                      <a:pt x="0" y="30"/>
                      <a:pt x="0" y="68"/>
                    </a:cubicBezTo>
                    <a:cubicBezTo>
                      <a:pt x="0" y="105"/>
                      <a:pt x="27" y="136"/>
                      <a:pt x="61" y="136"/>
                    </a:cubicBezTo>
                    <a:close/>
                  </a:path>
                </a:pathLst>
              </a:custGeom>
              <a:solidFill>
                <a:srgbClr val="5F5F5F"/>
              </a:solidFill>
              <a:ln w="12700" cap="flat" cmpd="sng">
                <a:solidFill>
                  <a:srgbClr val="EAEAEA"/>
                </a:solidFill>
                <a:prstDash val="solid"/>
                <a:round/>
                <a:headEnd type="none" w="med" len="med"/>
                <a:tailEnd type="none" w="med" len="med"/>
              </a:ln>
              <a:effectLst>
                <a:outerShdw dist="53882" dir="2700000" algn="ctr" rotWithShape="0">
                  <a:srgbClr val="808080">
                    <a:alpha val="50000"/>
                  </a:srgbClr>
                </a:outerShdw>
              </a:effectLst>
            </p:spPr>
            <p:txBody>
              <a:bodyPr lIns="432000" tIns="0" rIns="0" bIns="0" anchor="ctr"/>
              <a:lstStyle/>
              <a:p>
                <a:endParaRPr lang="pt-BR"/>
              </a:p>
            </p:txBody>
          </p:sp>
          <p:sp>
            <p:nvSpPr>
              <p:cNvPr id="89121" name="Freeform 45"/>
              <p:cNvSpPr>
                <a:spLocks/>
              </p:cNvSpPr>
              <p:nvPr/>
            </p:nvSpPr>
            <p:spPr bwMode="gray">
              <a:xfrm>
                <a:off x="444" y="1207"/>
                <a:ext cx="732" cy="110"/>
              </a:xfrm>
              <a:custGeom>
                <a:avLst/>
                <a:gdLst>
                  <a:gd name="T0" fmla="*/ 2147483646 w 284"/>
                  <a:gd name="T1" fmla="*/ 0 h 43"/>
                  <a:gd name="T2" fmla="*/ 2147483646 w 284"/>
                  <a:gd name="T3" fmla="*/ 0 h 43"/>
                  <a:gd name="T4" fmla="*/ 0 w 284"/>
                  <a:gd name="T5" fmla="*/ 2147483646 h 43"/>
                  <a:gd name="T6" fmla="*/ 2147483646 w 284"/>
                  <a:gd name="T7" fmla="*/ 2147483646 h 43"/>
                  <a:gd name="T8" fmla="*/ 2147483646 w 284"/>
                  <a:gd name="T9" fmla="*/ 0 h 43"/>
                  <a:gd name="T10" fmla="*/ 0 60000 65536"/>
                  <a:gd name="T11" fmla="*/ 0 60000 65536"/>
                  <a:gd name="T12" fmla="*/ 0 60000 65536"/>
                  <a:gd name="T13" fmla="*/ 0 60000 65536"/>
                  <a:gd name="T14" fmla="*/ 0 60000 65536"/>
                  <a:gd name="T15" fmla="*/ 0 w 284"/>
                  <a:gd name="T16" fmla="*/ 0 h 43"/>
                  <a:gd name="T17" fmla="*/ 284 w 284"/>
                  <a:gd name="T18" fmla="*/ 43 h 43"/>
                </a:gdLst>
                <a:ahLst/>
                <a:cxnLst>
                  <a:cxn ang="T10">
                    <a:pos x="T0" y="T1"/>
                  </a:cxn>
                  <a:cxn ang="T11">
                    <a:pos x="T2" y="T3"/>
                  </a:cxn>
                  <a:cxn ang="T12">
                    <a:pos x="T4" y="T5"/>
                  </a:cxn>
                  <a:cxn ang="T13">
                    <a:pos x="T6" y="T7"/>
                  </a:cxn>
                  <a:cxn ang="T14">
                    <a:pos x="T8" y="T9"/>
                  </a:cxn>
                </a:cxnLst>
                <a:rect l="T15" t="T16" r="T17" b="T18"/>
                <a:pathLst>
                  <a:path w="284" h="43">
                    <a:moveTo>
                      <a:pt x="229" y="0"/>
                    </a:moveTo>
                    <a:cubicBezTo>
                      <a:pt x="55" y="0"/>
                      <a:pt x="55" y="0"/>
                      <a:pt x="55" y="0"/>
                    </a:cubicBezTo>
                    <a:cubicBezTo>
                      <a:pt x="29" y="0"/>
                      <a:pt x="7" y="18"/>
                      <a:pt x="0" y="43"/>
                    </a:cubicBezTo>
                    <a:cubicBezTo>
                      <a:pt x="284" y="43"/>
                      <a:pt x="284" y="43"/>
                      <a:pt x="284" y="43"/>
                    </a:cubicBezTo>
                    <a:cubicBezTo>
                      <a:pt x="277" y="18"/>
                      <a:pt x="255" y="0"/>
                      <a:pt x="229" y="0"/>
                    </a:cubicBezTo>
                    <a:close/>
                  </a:path>
                </a:pathLst>
              </a:custGeom>
              <a:gradFill rotWithShape="1">
                <a:gsLst>
                  <a:gs pos="0">
                    <a:srgbClr val="AEAEAE"/>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pt-BR"/>
              </a:p>
            </p:txBody>
          </p:sp>
        </p:grpSp>
        <p:sp>
          <p:nvSpPr>
            <p:cNvPr id="89119" name="Text Box 46"/>
            <p:cNvSpPr txBox="1">
              <a:spLocks noChangeArrowheads="1"/>
            </p:cNvSpPr>
            <p:nvPr/>
          </p:nvSpPr>
          <p:spPr bwMode="gray">
            <a:xfrm>
              <a:off x="432" y="1247"/>
              <a:ext cx="58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50000"/>
                </a:spcBef>
                <a:buFontTx/>
                <a:buNone/>
              </a:pPr>
              <a:r>
                <a:rPr lang="de-DE" altLang="pt-BR" sz="2700">
                  <a:solidFill>
                    <a:srgbClr val="FFFFFF"/>
                  </a:solidFill>
                  <a:latin typeface="Arial" panose="020B0604020202020204" pitchFamily="34" charset="0"/>
                </a:rPr>
                <a:t>Gestão de Projetos</a:t>
              </a:r>
            </a:p>
          </p:txBody>
        </p:sp>
      </p:grpSp>
      <p:cxnSp>
        <p:nvCxnSpPr>
          <p:cNvPr id="89110" name="Conector em curva 96"/>
          <p:cNvCxnSpPr>
            <a:cxnSpLocks noChangeShapeType="1"/>
            <a:endCxn id="89120" idx="7"/>
          </p:cNvCxnSpPr>
          <p:nvPr/>
        </p:nvCxnSpPr>
        <p:spPr bwMode="auto">
          <a:xfrm>
            <a:off x="6357938" y="4450558"/>
            <a:ext cx="2940845" cy="2738438"/>
          </a:xfrm>
          <a:prstGeom prst="curvedConnector3">
            <a:avLst>
              <a:gd name="adj1" fmla="val 9204"/>
            </a:avLst>
          </a:prstGeom>
          <a:noFill/>
          <a:ln w="9525" algn="ctr">
            <a:solidFill>
              <a:srgbClr val="2D2D8A"/>
            </a:solidFill>
            <a:round/>
            <a:headEnd type="arrow" w="med" len="med"/>
            <a:tailEnd type="arrow" w="med" len="med"/>
          </a:ln>
          <a:extLst>
            <a:ext uri="{909E8E84-426E-40DD-AFC4-6F175D3DCCD1}">
              <a14:hiddenFill xmlns:a14="http://schemas.microsoft.com/office/drawing/2010/main">
                <a:noFill/>
              </a14:hiddenFill>
            </a:ext>
          </a:extLst>
        </p:spPr>
      </p:cxnSp>
      <p:cxnSp>
        <p:nvCxnSpPr>
          <p:cNvPr id="89111" name="Conector em curva 97"/>
          <p:cNvCxnSpPr>
            <a:cxnSpLocks noChangeShapeType="1"/>
            <a:endCxn id="89120" idx="7"/>
          </p:cNvCxnSpPr>
          <p:nvPr/>
        </p:nvCxnSpPr>
        <p:spPr bwMode="auto">
          <a:xfrm>
            <a:off x="7960520" y="4438651"/>
            <a:ext cx="1338263" cy="2750345"/>
          </a:xfrm>
          <a:prstGeom prst="curvedConnector3">
            <a:avLst>
              <a:gd name="adj1" fmla="val 10574"/>
            </a:avLst>
          </a:prstGeom>
          <a:noFill/>
          <a:ln w="9525" algn="ctr">
            <a:solidFill>
              <a:srgbClr val="2D2D8A"/>
            </a:solidFill>
            <a:round/>
            <a:headEnd type="arrow" w="med" len="med"/>
            <a:tailEnd type="arrow" w="med" len="med"/>
          </a:ln>
          <a:extLst>
            <a:ext uri="{909E8E84-426E-40DD-AFC4-6F175D3DCCD1}">
              <a14:hiddenFill xmlns:a14="http://schemas.microsoft.com/office/drawing/2010/main">
                <a:noFill/>
              </a14:hiddenFill>
            </a:ext>
          </a:extLst>
        </p:spPr>
      </p:cxnSp>
      <p:cxnSp>
        <p:nvCxnSpPr>
          <p:cNvPr id="89112" name="Conector de seta reta 98"/>
          <p:cNvCxnSpPr>
            <a:cxnSpLocks noChangeShapeType="1"/>
            <a:stCxn id="89128" idx="2"/>
          </p:cNvCxnSpPr>
          <p:nvPr/>
        </p:nvCxnSpPr>
        <p:spPr bwMode="auto">
          <a:xfrm>
            <a:off x="1845470" y="3979070"/>
            <a:ext cx="800100" cy="4763"/>
          </a:xfrm>
          <a:prstGeom prst="straightConnector1">
            <a:avLst/>
          </a:prstGeom>
          <a:noFill/>
          <a:ln w="9525" algn="ctr">
            <a:solidFill>
              <a:srgbClr val="B6DCDF"/>
            </a:solidFill>
            <a:round/>
            <a:headEnd/>
            <a:tailEnd type="arrow" w="med" len="med"/>
          </a:ln>
          <a:extLst>
            <a:ext uri="{909E8E84-426E-40DD-AFC4-6F175D3DCCD1}">
              <a14:hiddenFill xmlns:a14="http://schemas.microsoft.com/office/drawing/2010/main">
                <a:noFill/>
              </a14:hiddenFill>
            </a:ext>
          </a:extLst>
        </p:spPr>
      </p:cxnSp>
      <p:cxnSp>
        <p:nvCxnSpPr>
          <p:cNvPr id="89113" name="Conector de seta reta 99"/>
          <p:cNvCxnSpPr>
            <a:cxnSpLocks noChangeShapeType="1"/>
          </p:cNvCxnSpPr>
          <p:nvPr/>
        </p:nvCxnSpPr>
        <p:spPr bwMode="auto">
          <a:xfrm>
            <a:off x="3467101" y="3969545"/>
            <a:ext cx="797720" cy="7143"/>
          </a:xfrm>
          <a:prstGeom prst="straightConnector1">
            <a:avLst/>
          </a:prstGeom>
          <a:noFill/>
          <a:ln w="9525" algn="ctr">
            <a:solidFill>
              <a:srgbClr val="B6DCDF"/>
            </a:solidFill>
            <a:round/>
            <a:headEnd/>
            <a:tailEnd type="arrow" w="med" len="med"/>
          </a:ln>
          <a:extLst>
            <a:ext uri="{909E8E84-426E-40DD-AFC4-6F175D3DCCD1}">
              <a14:hiddenFill xmlns:a14="http://schemas.microsoft.com/office/drawing/2010/main">
                <a:noFill/>
              </a14:hiddenFill>
            </a:ext>
          </a:extLst>
        </p:spPr>
      </p:cxnSp>
      <p:cxnSp>
        <p:nvCxnSpPr>
          <p:cNvPr id="89114" name="Conector de seta reta 100"/>
          <p:cNvCxnSpPr>
            <a:cxnSpLocks noChangeShapeType="1"/>
          </p:cNvCxnSpPr>
          <p:nvPr/>
        </p:nvCxnSpPr>
        <p:spPr bwMode="auto">
          <a:xfrm>
            <a:off x="5129213" y="3976688"/>
            <a:ext cx="800100" cy="4763"/>
          </a:xfrm>
          <a:prstGeom prst="straightConnector1">
            <a:avLst/>
          </a:prstGeom>
          <a:noFill/>
          <a:ln w="9525" algn="ctr">
            <a:solidFill>
              <a:srgbClr val="B6DCDF"/>
            </a:solidFill>
            <a:round/>
            <a:headEnd/>
            <a:tailEnd type="arrow" w="med" len="med"/>
          </a:ln>
          <a:extLst>
            <a:ext uri="{909E8E84-426E-40DD-AFC4-6F175D3DCCD1}">
              <a14:hiddenFill xmlns:a14="http://schemas.microsoft.com/office/drawing/2010/main">
                <a:noFill/>
              </a14:hiddenFill>
            </a:ext>
          </a:extLst>
        </p:spPr>
      </p:cxnSp>
      <p:cxnSp>
        <p:nvCxnSpPr>
          <p:cNvPr id="89115" name="Conector de seta reta 101"/>
          <p:cNvCxnSpPr>
            <a:cxnSpLocks noChangeShapeType="1"/>
          </p:cNvCxnSpPr>
          <p:nvPr/>
        </p:nvCxnSpPr>
        <p:spPr bwMode="auto">
          <a:xfrm>
            <a:off x="6779420" y="3981451"/>
            <a:ext cx="800100" cy="7145"/>
          </a:xfrm>
          <a:prstGeom prst="straightConnector1">
            <a:avLst/>
          </a:prstGeom>
          <a:noFill/>
          <a:ln w="9525" algn="ctr">
            <a:solidFill>
              <a:srgbClr val="B6DCDF"/>
            </a:solidFill>
            <a:round/>
            <a:headEnd/>
            <a:tailEnd type="arrow" w="med" len="med"/>
          </a:ln>
          <a:extLst>
            <a:ext uri="{909E8E84-426E-40DD-AFC4-6F175D3DCCD1}">
              <a14:hiddenFill xmlns:a14="http://schemas.microsoft.com/office/drawing/2010/main">
                <a:noFill/>
              </a14:hiddenFill>
            </a:ext>
          </a:extLst>
        </p:spPr>
      </p:cxnSp>
      <p:cxnSp>
        <p:nvCxnSpPr>
          <p:cNvPr id="89116" name="Conector de seta reta 102"/>
          <p:cNvCxnSpPr>
            <a:cxnSpLocks noChangeShapeType="1"/>
          </p:cNvCxnSpPr>
          <p:nvPr/>
        </p:nvCxnSpPr>
        <p:spPr bwMode="auto">
          <a:xfrm>
            <a:off x="8351045" y="3998120"/>
            <a:ext cx="797718" cy="7143"/>
          </a:xfrm>
          <a:prstGeom prst="straightConnector1">
            <a:avLst/>
          </a:prstGeom>
          <a:noFill/>
          <a:ln w="9525" algn="ctr">
            <a:solidFill>
              <a:srgbClr val="B6DCDF"/>
            </a:solidFill>
            <a:round/>
            <a:headEnd/>
            <a:tailEnd type="arrow" w="med" len="med"/>
          </a:ln>
          <a:extLst>
            <a:ext uri="{909E8E84-426E-40DD-AFC4-6F175D3DCCD1}">
              <a14:hiddenFill xmlns:a14="http://schemas.microsoft.com/office/drawing/2010/main">
                <a:noFill/>
              </a14:hiddenFill>
            </a:ext>
          </a:extLst>
        </p:spPr>
      </p:cxnSp>
      <p:pic>
        <p:nvPicPr>
          <p:cNvPr id="891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974683"/>
            <a:ext cx="3133725" cy="216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180093513"/>
      </p:ext>
    </p:extLst>
  </p:cSld>
  <p:clrMapOvr>
    <a:masterClrMapping/>
  </p:clrMapOvr>
  <p:transition spd="med">
    <p:strips dir="rd"/>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txBox="1">
            <a:spLocks noChangeArrowheads="1"/>
          </p:cNvSpPr>
          <p:nvPr/>
        </p:nvSpPr>
        <p:spPr bwMode="auto">
          <a:xfrm>
            <a:off x="419100" y="335758"/>
            <a:ext cx="908685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3600">
                <a:solidFill>
                  <a:schemeClr val="tx1"/>
                </a:solidFill>
                <a:latin typeface="Arial" panose="020B0604020202020204" pitchFamily="34" charset="0"/>
                <a:ea typeface="MS PGothic" panose="020B0600070205080204" pitchFamily="34" charset="-128"/>
              </a:rPr>
              <a:t>Processo simplificado de portfólio  </a:t>
            </a:r>
          </a:p>
        </p:txBody>
      </p:sp>
      <p:sp>
        <p:nvSpPr>
          <p:cNvPr id="31748" name="AutoShape 38"/>
          <p:cNvSpPr>
            <a:spLocks noChangeArrowheads="1"/>
          </p:cNvSpPr>
          <p:nvPr/>
        </p:nvSpPr>
        <p:spPr bwMode="auto">
          <a:xfrm>
            <a:off x="740570" y="4720919"/>
            <a:ext cx="3238500" cy="485775"/>
          </a:xfrm>
          <a:prstGeom prst="homePlate">
            <a:avLst>
              <a:gd name="adj" fmla="val 12308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4 Selecionar</a:t>
            </a:r>
          </a:p>
        </p:txBody>
      </p:sp>
      <p:sp>
        <p:nvSpPr>
          <p:cNvPr id="31751" name="AutoShape 41"/>
          <p:cNvSpPr>
            <a:spLocks noChangeArrowheads="1"/>
          </p:cNvSpPr>
          <p:nvPr/>
        </p:nvSpPr>
        <p:spPr bwMode="auto">
          <a:xfrm>
            <a:off x="740570" y="6400589"/>
            <a:ext cx="3238500" cy="485775"/>
          </a:xfrm>
          <a:prstGeom prst="homePlate">
            <a:avLst>
              <a:gd name="adj" fmla="val 12308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6 Balancear</a:t>
            </a:r>
          </a:p>
        </p:txBody>
      </p:sp>
      <p:sp>
        <p:nvSpPr>
          <p:cNvPr id="31752" name="AutoShape 41"/>
          <p:cNvSpPr>
            <a:spLocks noChangeArrowheads="1"/>
          </p:cNvSpPr>
          <p:nvPr/>
        </p:nvSpPr>
        <p:spPr bwMode="auto">
          <a:xfrm>
            <a:off x="740570" y="7240422"/>
            <a:ext cx="3238500" cy="485775"/>
          </a:xfrm>
          <a:prstGeom prst="homePlate">
            <a:avLst>
              <a:gd name="adj" fmla="val 12308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7 Autorizar</a:t>
            </a:r>
          </a:p>
        </p:txBody>
      </p:sp>
      <p:sp>
        <p:nvSpPr>
          <p:cNvPr id="91148" name="TextBox 10"/>
          <p:cNvSpPr txBox="1">
            <a:spLocks noChangeArrowheads="1"/>
          </p:cNvSpPr>
          <p:nvPr/>
        </p:nvSpPr>
        <p:spPr bwMode="auto">
          <a:xfrm>
            <a:off x="4017170" y="2221708"/>
            <a:ext cx="9105900"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em andamento/novas iniciativas são identificados/inventariados</a:t>
            </a:r>
          </a:p>
        </p:txBody>
      </p:sp>
      <p:sp>
        <p:nvSpPr>
          <p:cNvPr id="91149" name="TextBox 12"/>
          <p:cNvSpPr txBox="1">
            <a:spLocks noChangeArrowheads="1"/>
          </p:cNvSpPr>
          <p:nvPr/>
        </p:nvSpPr>
        <p:spPr bwMode="auto">
          <a:xfrm>
            <a:off x="3971926" y="3840958"/>
            <a:ext cx="8429599"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são avaliados por alinhamento estratégico e valor agregado</a:t>
            </a:r>
          </a:p>
        </p:txBody>
      </p:sp>
      <p:sp>
        <p:nvSpPr>
          <p:cNvPr id="91150" name="TextBox 14"/>
          <p:cNvSpPr txBox="1">
            <a:spLocks noChangeArrowheads="1"/>
          </p:cNvSpPr>
          <p:nvPr/>
        </p:nvSpPr>
        <p:spPr bwMode="auto">
          <a:xfrm>
            <a:off x="3971926" y="4681538"/>
            <a:ext cx="8986838"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Dada limitação de recursos, são escolhidos os programas do período</a:t>
            </a:r>
          </a:p>
        </p:txBody>
      </p:sp>
      <p:sp>
        <p:nvSpPr>
          <p:cNvPr id="91151" name="TextBox 16"/>
          <p:cNvSpPr txBox="1">
            <a:spLocks noChangeArrowheads="1"/>
          </p:cNvSpPr>
          <p:nvPr/>
        </p:nvSpPr>
        <p:spPr bwMode="auto">
          <a:xfrm>
            <a:off x="3971925" y="6248401"/>
            <a:ext cx="8768666"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Valida se o portfólio está equilibrado, confere suficiência e necessidade</a:t>
            </a:r>
          </a:p>
        </p:txBody>
      </p:sp>
      <p:sp>
        <p:nvSpPr>
          <p:cNvPr id="91152" name="TextBox 17"/>
          <p:cNvSpPr txBox="1">
            <a:spLocks noChangeArrowheads="1"/>
          </p:cNvSpPr>
          <p:nvPr/>
        </p:nvSpPr>
        <p:spPr bwMode="auto">
          <a:xfrm>
            <a:off x="4067175" y="7234238"/>
            <a:ext cx="2843134" cy="47178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Liberação para iniciar</a:t>
            </a:r>
          </a:p>
        </p:txBody>
      </p:sp>
      <p:sp>
        <p:nvSpPr>
          <p:cNvPr id="31759" name="AutoShape 41"/>
          <p:cNvSpPr>
            <a:spLocks noChangeArrowheads="1"/>
          </p:cNvSpPr>
          <p:nvPr/>
        </p:nvSpPr>
        <p:spPr bwMode="auto">
          <a:xfrm>
            <a:off x="778670" y="8927307"/>
            <a:ext cx="7908131" cy="485775"/>
          </a:xfrm>
          <a:prstGeom prst="homePlate">
            <a:avLst>
              <a:gd name="adj" fmla="val 123075"/>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8 Reportar/Acompanhar e prestar contas</a:t>
            </a:r>
          </a:p>
        </p:txBody>
      </p:sp>
      <p:sp>
        <p:nvSpPr>
          <p:cNvPr id="91156" name="TextBox 17"/>
          <p:cNvSpPr txBox="1">
            <a:spLocks noChangeArrowheads="1"/>
          </p:cNvSpPr>
          <p:nvPr/>
        </p:nvSpPr>
        <p:spPr bwMode="auto">
          <a:xfrm>
            <a:off x="8601076" y="8798720"/>
            <a:ext cx="3099615" cy="805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Reporte de progresso e</a:t>
            </a:r>
          </a:p>
          <a:p>
            <a:pPr>
              <a:lnSpc>
                <a:spcPts val="2550"/>
              </a:lnSpc>
              <a:spcBef>
                <a:spcPct val="0"/>
              </a:spcBef>
              <a:buNone/>
            </a:pPr>
            <a:r>
              <a:rPr lang="pt-BR" altLang="pt-BR" sz="2100">
                <a:solidFill>
                  <a:schemeClr val="tx1"/>
                </a:solidFill>
                <a:latin typeface="Arial" panose="020B0604020202020204" pitchFamily="34" charset="0"/>
              </a:rPr>
              <a:t> visibilidade executiva</a:t>
            </a:r>
            <a:endParaRPr lang="en-US" altLang="pt-BR" sz="2100">
              <a:solidFill>
                <a:schemeClr val="tx1"/>
              </a:solidFill>
              <a:latin typeface="Arial" panose="020B0604020202020204" pitchFamily="34" charset="0"/>
            </a:endParaRPr>
          </a:p>
        </p:txBody>
      </p:sp>
      <p:sp>
        <p:nvSpPr>
          <p:cNvPr id="91157" name="Rectangle 18"/>
          <p:cNvSpPr>
            <a:spLocks noChangeArrowheads="1"/>
          </p:cNvSpPr>
          <p:nvPr/>
        </p:nvSpPr>
        <p:spPr bwMode="auto">
          <a:xfrm>
            <a:off x="419100" y="1905001"/>
            <a:ext cx="12306300" cy="6072188"/>
          </a:xfrm>
          <a:prstGeom prst="rect">
            <a:avLst/>
          </a:prstGeom>
          <a:noFill/>
          <a:ln w="38100"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endParaRPr lang="en-US" altLang="pt-BR" sz="2700">
              <a:solidFill>
                <a:schemeClr val="tx1"/>
              </a:solidFill>
              <a:latin typeface="Arial" panose="020B0604020202020204" pitchFamily="34" charset="0"/>
            </a:endParaRPr>
          </a:p>
        </p:txBody>
      </p:sp>
      <p:sp>
        <p:nvSpPr>
          <p:cNvPr id="91158" name="Rectangle 20"/>
          <p:cNvSpPr>
            <a:spLocks noChangeArrowheads="1"/>
          </p:cNvSpPr>
          <p:nvPr/>
        </p:nvSpPr>
        <p:spPr bwMode="auto">
          <a:xfrm>
            <a:off x="419100" y="8439150"/>
            <a:ext cx="12306300" cy="1438275"/>
          </a:xfrm>
          <a:prstGeom prst="rect">
            <a:avLst/>
          </a:prstGeom>
          <a:noFill/>
          <a:ln w="38100"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endParaRPr lang="en-US" altLang="pt-BR" sz="2700">
              <a:solidFill>
                <a:schemeClr val="tx1"/>
              </a:solidFill>
              <a:latin typeface="Arial" panose="020B0604020202020204" pitchFamily="34" charset="0"/>
            </a:endParaRPr>
          </a:p>
        </p:txBody>
      </p:sp>
      <p:sp>
        <p:nvSpPr>
          <p:cNvPr id="91159" name="TextBox 15"/>
          <p:cNvSpPr txBox="1">
            <a:spLocks noChangeArrowheads="1"/>
          </p:cNvSpPr>
          <p:nvPr/>
        </p:nvSpPr>
        <p:spPr bwMode="auto">
          <a:xfrm>
            <a:off x="9294020" y="1550195"/>
            <a:ext cx="2771127"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700">
                <a:solidFill>
                  <a:schemeClr val="tx1"/>
                </a:solidFill>
                <a:latin typeface="Arial" panose="020B0604020202020204" pitchFamily="34" charset="0"/>
              </a:rPr>
              <a:t>ALINHAMENTO</a:t>
            </a:r>
          </a:p>
        </p:txBody>
      </p:sp>
      <p:sp>
        <p:nvSpPr>
          <p:cNvPr id="91160" name="TextBox 15"/>
          <p:cNvSpPr txBox="1">
            <a:spLocks noChangeArrowheads="1"/>
          </p:cNvSpPr>
          <p:nvPr/>
        </p:nvSpPr>
        <p:spPr bwMode="auto">
          <a:xfrm>
            <a:off x="8943976" y="7977188"/>
            <a:ext cx="3726453"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700">
                <a:solidFill>
                  <a:schemeClr val="tx1"/>
                </a:solidFill>
                <a:latin typeface="Arial" panose="020B0604020202020204" pitchFamily="34" charset="0"/>
              </a:rPr>
              <a:t>ACOMPANHAMENTO</a:t>
            </a:r>
            <a:endParaRPr lang="en-US" altLang="pt-BR" sz="2700">
              <a:solidFill>
                <a:schemeClr val="tx1"/>
              </a:solidFill>
              <a:latin typeface="Arial" panose="020B0604020202020204" pitchFamily="34" charset="0"/>
            </a:endParaRPr>
          </a:p>
        </p:txBody>
      </p:sp>
      <p:sp>
        <p:nvSpPr>
          <p:cNvPr id="19" name="AutoShape 7"/>
          <p:cNvSpPr>
            <a:spLocks noChangeArrowheads="1"/>
          </p:cNvSpPr>
          <p:nvPr/>
        </p:nvSpPr>
        <p:spPr bwMode="auto">
          <a:xfrm>
            <a:off x="729927" y="3069826"/>
            <a:ext cx="3238500" cy="471488"/>
          </a:xfrm>
          <a:prstGeom prst="homePlate">
            <a:avLst>
              <a:gd name="adj" fmla="val 12681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2 Categorizar</a:t>
            </a:r>
          </a:p>
        </p:txBody>
      </p:sp>
      <p:sp>
        <p:nvSpPr>
          <p:cNvPr id="91164" name="TextBox 12"/>
          <p:cNvSpPr txBox="1">
            <a:spLocks noChangeArrowheads="1"/>
          </p:cNvSpPr>
          <p:nvPr/>
        </p:nvSpPr>
        <p:spPr bwMode="auto">
          <a:xfrm>
            <a:off x="3962400" y="3095626"/>
            <a:ext cx="6477142"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são distribuídos em categorias estratégicas</a:t>
            </a:r>
          </a:p>
        </p:txBody>
      </p:sp>
      <p:sp>
        <p:nvSpPr>
          <p:cNvPr id="21" name="AutoShape 41"/>
          <p:cNvSpPr>
            <a:spLocks noChangeArrowheads="1"/>
          </p:cNvSpPr>
          <p:nvPr/>
        </p:nvSpPr>
        <p:spPr bwMode="auto">
          <a:xfrm>
            <a:off x="722783" y="5560754"/>
            <a:ext cx="3238500" cy="485775"/>
          </a:xfrm>
          <a:prstGeom prst="homePlate">
            <a:avLst>
              <a:gd name="adj" fmla="val 12308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5 Priorizar</a:t>
            </a:r>
          </a:p>
        </p:txBody>
      </p:sp>
      <p:sp>
        <p:nvSpPr>
          <p:cNvPr id="91168" name="TextBox 14"/>
          <p:cNvSpPr txBox="1">
            <a:spLocks noChangeArrowheads="1"/>
          </p:cNvSpPr>
          <p:nvPr/>
        </p:nvSpPr>
        <p:spPr bwMode="auto">
          <a:xfrm>
            <a:off x="4024313" y="5517358"/>
            <a:ext cx="8986838"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Determina programação de prioridades e sequência</a:t>
            </a:r>
          </a:p>
        </p:txBody>
      </p:sp>
      <p:sp>
        <p:nvSpPr>
          <p:cNvPr id="23" name="AutoShape 3"/>
          <p:cNvSpPr>
            <a:spLocks noChangeArrowheads="1"/>
          </p:cNvSpPr>
          <p:nvPr/>
        </p:nvSpPr>
        <p:spPr bwMode="auto">
          <a:xfrm>
            <a:off x="740570" y="2244280"/>
            <a:ext cx="3238500" cy="471488"/>
          </a:xfrm>
          <a:prstGeom prst="homePlate">
            <a:avLst>
              <a:gd name="adj" fmla="val 12681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1 </a:t>
            </a:r>
            <a:r>
              <a:rPr lang="pt-BR" sz="1350" dirty="0">
                <a:latin typeface="Verdana" pitchFamily="34" charset="0"/>
              </a:rPr>
              <a:t>Identificar/Inventariar</a:t>
            </a:r>
          </a:p>
        </p:txBody>
      </p:sp>
      <p:sp>
        <p:nvSpPr>
          <p:cNvPr id="24" name="AutoShape 7"/>
          <p:cNvSpPr>
            <a:spLocks noChangeArrowheads="1"/>
          </p:cNvSpPr>
          <p:nvPr/>
        </p:nvSpPr>
        <p:spPr bwMode="auto">
          <a:xfrm>
            <a:off x="740570" y="3895373"/>
            <a:ext cx="3238500" cy="471488"/>
          </a:xfrm>
          <a:prstGeom prst="homePlate">
            <a:avLst>
              <a:gd name="adj" fmla="val 12681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3 Avaliar</a:t>
            </a:r>
          </a:p>
        </p:txBody>
      </p:sp>
    </p:spTree>
    <p:custDataLst>
      <p:tags r:id="rId1"/>
    </p:custDataLst>
    <p:extLst>
      <p:ext uri="{BB962C8B-B14F-4D97-AF65-F5344CB8AC3E}">
        <p14:creationId xmlns:p14="http://schemas.microsoft.com/office/powerpoint/2010/main" val="2756370252"/>
      </p:ext>
    </p:extLst>
  </p:cSld>
  <p:clrMapOvr>
    <a:masterClrMapping/>
  </p:clrMapOvr>
  <p:transition spd="slow">
    <p:strips dir="rd"/>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bwMode="auto">
          <a:xfrm>
            <a:off x="-91727" y="239415"/>
            <a:ext cx="12178280" cy="6810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rPr>
              <a:t>Atividades de Gestão de Portfólio</a:t>
            </a:r>
            <a:endParaRPr lang="en-US" altLang="pt-BR" sz="3600" dirty="0">
              <a:solidFill>
                <a:schemeClr val="tx1"/>
              </a:solidFill>
            </a:endParaRPr>
          </a:p>
        </p:txBody>
      </p:sp>
      <p:sp>
        <p:nvSpPr>
          <p:cNvPr id="93187" name="Rectangle 3"/>
          <p:cNvSpPr>
            <a:spLocks noGrp="1" noChangeArrowheads="1"/>
          </p:cNvSpPr>
          <p:nvPr>
            <p:ph type="body" idx="4294967295"/>
          </p:nvPr>
        </p:nvSpPr>
        <p:spPr>
          <a:xfrm>
            <a:off x="394049" y="1853902"/>
            <a:ext cx="12147741" cy="7560470"/>
          </a:xfrm>
          <a:prstGeom prst="rect">
            <a:avLst/>
          </a:prstGeom>
        </p:spPr>
        <p:txBody>
          <a:bodyPr/>
          <a:lstStyle/>
          <a:p>
            <a:pPr>
              <a:lnSpc>
                <a:spcPct val="80000"/>
              </a:lnSpc>
            </a:pPr>
            <a:endParaRPr lang="pt-BR" altLang="pt-BR" sz="3000"/>
          </a:p>
          <a:p>
            <a:pPr>
              <a:lnSpc>
                <a:spcPct val="80000"/>
              </a:lnSpc>
              <a:buFont typeface="Monotype Sorts" pitchFamily="2" charset="2"/>
              <a:buNone/>
            </a:pPr>
            <a:endParaRPr lang="pt-BR" altLang="pt-BR" sz="3000"/>
          </a:p>
        </p:txBody>
      </p:sp>
      <p:sp>
        <p:nvSpPr>
          <p:cNvPr id="93188" name="Rectangle 4"/>
          <p:cNvSpPr>
            <a:spLocks noChangeArrowheads="1"/>
          </p:cNvSpPr>
          <p:nvPr/>
        </p:nvSpPr>
        <p:spPr bwMode="auto">
          <a:xfrm>
            <a:off x="89248" y="1399084"/>
            <a:ext cx="6089140" cy="800100"/>
          </a:xfrm>
          <a:prstGeom prst="rect">
            <a:avLst/>
          </a:prstGeom>
          <a:solidFill>
            <a:srgbClr val="99CCFF"/>
          </a:solidFill>
          <a:ln w="9525">
            <a:solidFill>
              <a:schemeClr val="tx1"/>
            </a:solidFill>
            <a:miter lim="800000"/>
            <a:headEnd/>
            <a:tailEnd/>
          </a:ln>
          <a:effectLst>
            <a:outerShdw dist="35921" dir="2700000" algn="ctr" rotWithShape="0">
              <a:schemeClr val="bg2"/>
            </a:outerShdw>
          </a:effectLst>
        </p:spPr>
        <p:txBody>
          <a:bodyPr wrap="none" lIns="136145" tIns="68058" rIns="136145" bIns="68058"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a:solidFill>
                  <a:schemeClr val="tx1"/>
                </a:solidFill>
                <a:latin typeface="Arial" panose="020B0604020202020204" pitchFamily="34" charset="0"/>
              </a:rPr>
              <a:t>1. Identificar/Inventariar</a:t>
            </a:r>
          </a:p>
        </p:txBody>
      </p:sp>
      <p:sp>
        <p:nvSpPr>
          <p:cNvPr id="2" name="Text Box 5"/>
          <p:cNvSpPr txBox="1">
            <a:spLocks noChangeArrowheads="1"/>
          </p:cNvSpPr>
          <p:nvPr/>
        </p:nvSpPr>
        <p:spPr bwMode="auto">
          <a:xfrm>
            <a:off x="5687380" y="2261405"/>
            <a:ext cx="7244949" cy="2076438"/>
          </a:xfrm>
          <a:prstGeom prst="rect">
            <a:avLst/>
          </a:prstGeom>
          <a:solidFill>
            <a:schemeClr val="accent6">
              <a:lumMod val="40000"/>
              <a:lumOff val="60000"/>
            </a:schemeClr>
          </a:solidFill>
          <a:ln>
            <a:noFill/>
          </a:ln>
          <a:effectLst>
            <a:innerShdw blurRad="63500" dist="50800" dir="18900000">
              <a:prstClr val="black">
                <a:alpha val="50000"/>
              </a:prstClr>
            </a:innerShdw>
            <a:reflection endPos="3000" dist="50800" dir="5400000" sy="-100000" algn="bl" rotWithShape="0"/>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As ações em andamento e novas iniciativas da organização são consolidados numa única lista, com requisitos claramente identificados. Captação de novas ideias e demandas, podem ser agregados a lista. Classificados como projetos ou programas. Visão integrada da empresa. Evitar iniciativas redundantes.</a:t>
            </a:r>
          </a:p>
        </p:txBody>
      </p:sp>
      <p:sp>
        <p:nvSpPr>
          <p:cNvPr id="112646" name="Rectangle 6"/>
          <p:cNvSpPr>
            <a:spLocks noChangeArrowheads="1"/>
          </p:cNvSpPr>
          <p:nvPr/>
        </p:nvSpPr>
        <p:spPr bwMode="auto">
          <a:xfrm>
            <a:off x="155956" y="4258285"/>
            <a:ext cx="6089140" cy="800100"/>
          </a:xfrm>
          <a:prstGeom prst="rect">
            <a:avLst/>
          </a:prstGeom>
          <a:solidFill>
            <a:srgbClr val="99CCFF"/>
          </a:solidFill>
          <a:ln w="9525">
            <a:solidFill>
              <a:schemeClr val="tx1"/>
            </a:solidFill>
            <a:miter lim="800000"/>
            <a:headEnd/>
            <a:tailEnd/>
          </a:ln>
          <a:effectLst>
            <a:innerShdw blurRad="63500" dist="50800" dir="2700000">
              <a:prstClr val="black">
                <a:alpha val="50000"/>
              </a:prstClr>
            </a:innerShdw>
          </a:effectLst>
        </p:spPr>
        <p:txBody>
          <a:bodyPr wrap="none" lIns="136145" tIns="68058" rIns="136145" bIns="68058" anchor="ctr"/>
          <a:lstStyle/>
          <a:p>
            <a:pPr>
              <a:defRPr/>
            </a:pPr>
            <a:r>
              <a:rPr lang="pt-BR" sz="3600" dirty="0"/>
              <a:t>2.Categorizar</a:t>
            </a:r>
          </a:p>
        </p:txBody>
      </p:sp>
      <p:sp>
        <p:nvSpPr>
          <p:cNvPr id="112647" name="Text Box 7"/>
          <p:cNvSpPr txBox="1">
            <a:spLocks noChangeArrowheads="1"/>
          </p:cNvSpPr>
          <p:nvPr/>
        </p:nvSpPr>
        <p:spPr bwMode="auto">
          <a:xfrm>
            <a:off x="5649468" y="5201939"/>
            <a:ext cx="7244949" cy="1753272"/>
          </a:xfrm>
          <a:prstGeom prst="rect">
            <a:avLst/>
          </a:prstGeom>
          <a:solidFill>
            <a:schemeClr val="accent6">
              <a:lumMod val="40000"/>
              <a:lumOff val="60000"/>
            </a:schemeClr>
          </a:solidFill>
          <a:ln>
            <a:noFill/>
          </a:ln>
          <a:effectLst>
            <a:outerShdw blurRad="50800" dist="38100" dir="18900000" algn="bl" rotWithShape="0">
              <a:prstClr val="black">
                <a:alpha val="40000"/>
              </a:prstClr>
            </a:out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Projetos são categorizados por critérios empresariais relevantes. Ex.: </a:t>
            </a:r>
            <a:r>
              <a:rPr lang="pt-BR" sz="2100" dirty="0">
                <a:solidFill>
                  <a:srgbClr val="FF0000"/>
                </a:solidFill>
              </a:rPr>
              <a:t>Redução de custo, expansão, melhoria de processos, melhoria da qualidade, aumento de margem de lucro, necessidade do negócio, tecnologia emergente necessária.</a:t>
            </a:r>
            <a:r>
              <a:rPr lang="pt-BR" sz="2100" dirty="0">
                <a:solidFill>
                  <a:schemeClr val="tx1"/>
                </a:solidFill>
              </a:rPr>
              <a:t> </a:t>
            </a:r>
          </a:p>
        </p:txBody>
      </p:sp>
      <p:sp>
        <p:nvSpPr>
          <p:cNvPr id="112648" name="Rectangle 8"/>
          <p:cNvSpPr>
            <a:spLocks noChangeArrowheads="1"/>
          </p:cNvSpPr>
          <p:nvPr/>
        </p:nvSpPr>
        <p:spPr bwMode="auto">
          <a:xfrm>
            <a:off x="-129827" y="7092149"/>
            <a:ext cx="6089140" cy="800100"/>
          </a:xfrm>
          <a:prstGeom prst="rect">
            <a:avLst/>
          </a:prstGeom>
          <a:solidFill>
            <a:srgbClr val="99CCFF"/>
          </a:solidFill>
          <a:ln w="9525">
            <a:solidFill>
              <a:schemeClr val="tx1"/>
            </a:solidFill>
            <a:miter lim="800000"/>
            <a:headEnd/>
            <a:tailEnd/>
          </a:ln>
          <a:effectLst>
            <a:innerShdw blurRad="63500" dist="50800" dir="10800000">
              <a:prstClr val="black">
                <a:alpha val="50000"/>
              </a:prstClr>
            </a:innerShdw>
          </a:effectLst>
        </p:spPr>
        <p:txBody>
          <a:bodyPr wrap="none" lIns="136145" tIns="68058" rIns="136145" bIns="68058" anchor="ctr"/>
          <a:lstStyle/>
          <a:p>
            <a:pPr>
              <a:defRPr/>
            </a:pPr>
            <a:r>
              <a:rPr lang="pt-BR" sz="3600" dirty="0"/>
              <a:t>3. Avaliar</a:t>
            </a:r>
          </a:p>
        </p:txBody>
      </p:sp>
      <p:sp>
        <p:nvSpPr>
          <p:cNvPr id="112649" name="Text Box 9"/>
          <p:cNvSpPr txBox="1">
            <a:spLocks noChangeArrowheads="1"/>
          </p:cNvSpPr>
          <p:nvPr/>
        </p:nvSpPr>
        <p:spPr bwMode="auto">
          <a:xfrm>
            <a:off x="5686343" y="8010253"/>
            <a:ext cx="7436354" cy="1753272"/>
          </a:xfrm>
          <a:prstGeom prst="rect">
            <a:avLst/>
          </a:prstGeom>
          <a:solidFill>
            <a:schemeClr val="accent6">
              <a:lumMod val="40000"/>
              <a:lumOff val="60000"/>
            </a:schemeClr>
          </a:solidFill>
          <a:ln>
            <a:noFill/>
          </a:ln>
          <a:effectLst>
            <a:innerShdw blurRad="63500" dist="50800" dir="81000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Levantar informações dos projetos. Projetos são comparados em vários quesitos e recebem avaliações. ROI, custo x benefício, alinhamento estratégico, urgência/necessidade, impacto cultural, impacto ambiental, impacto econômico, complexidade.</a:t>
            </a:r>
          </a:p>
        </p:txBody>
      </p:sp>
      <p:sp>
        <p:nvSpPr>
          <p:cNvPr id="93200" name="Seta para baixo 1"/>
          <p:cNvSpPr>
            <a:spLocks noChangeArrowheads="1"/>
          </p:cNvSpPr>
          <p:nvPr/>
        </p:nvSpPr>
        <p:spPr bwMode="auto">
          <a:xfrm>
            <a:off x="4899373" y="2263477"/>
            <a:ext cx="631937"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93201" name="Seta para baixo 19"/>
          <p:cNvSpPr>
            <a:spLocks noChangeArrowheads="1"/>
          </p:cNvSpPr>
          <p:nvPr/>
        </p:nvSpPr>
        <p:spPr bwMode="auto">
          <a:xfrm>
            <a:off x="5008911" y="5030490"/>
            <a:ext cx="631937"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93202" name="Seta para baixo 20"/>
          <p:cNvSpPr>
            <a:spLocks noChangeArrowheads="1"/>
          </p:cNvSpPr>
          <p:nvPr/>
        </p:nvSpPr>
        <p:spPr bwMode="auto">
          <a:xfrm>
            <a:off x="5008911" y="7902277"/>
            <a:ext cx="631937"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93203" name="CaixaDeTexto 2"/>
          <p:cNvSpPr txBox="1">
            <a:spLocks noChangeArrowheads="1"/>
          </p:cNvSpPr>
          <p:nvPr/>
        </p:nvSpPr>
        <p:spPr bwMode="auto">
          <a:xfrm>
            <a:off x="167830" y="8240414"/>
            <a:ext cx="3692707" cy="876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400" i="1">
                <a:solidFill>
                  <a:schemeClr val="tx1"/>
                </a:solidFill>
                <a:latin typeface="Calibri" panose="020F0502020204030204" pitchFamily="34" charset="0"/>
              </a:rPr>
              <a:t>Obs.: Fazer recomendações </a:t>
            </a:r>
          </a:p>
          <a:p>
            <a:pPr>
              <a:spcBef>
                <a:spcPct val="0"/>
              </a:spcBef>
              <a:buFontTx/>
              <a:buNone/>
            </a:pPr>
            <a:r>
              <a:rPr lang="pt-BR" altLang="pt-BR" sz="2400" i="1">
                <a:solidFill>
                  <a:schemeClr val="tx1"/>
                </a:solidFill>
                <a:latin typeface="Calibri" panose="020F0502020204030204" pitchFamily="34" charset="0"/>
              </a:rPr>
              <a:t>para o processo de seleção</a:t>
            </a:r>
          </a:p>
        </p:txBody>
      </p:sp>
    </p:spTree>
    <p:custDataLst>
      <p:tags r:id="rId1"/>
    </p:custDataLst>
    <p:extLst>
      <p:ext uri="{BB962C8B-B14F-4D97-AF65-F5344CB8AC3E}">
        <p14:creationId xmlns:p14="http://schemas.microsoft.com/office/powerpoint/2010/main" val="3584146606"/>
      </p:ext>
    </p:extLst>
  </p:cSld>
  <p:clrMapOvr>
    <a:masterClrMapping/>
  </p:clrMapOvr>
  <p:transition spd="slow">
    <p:strips dir="rd"/>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2" name="Retângulo 41"/>
          <p:cNvSpPr>
            <a:spLocks noChangeArrowheads="1"/>
          </p:cNvSpPr>
          <p:nvPr/>
        </p:nvSpPr>
        <p:spPr bwMode="auto">
          <a:xfrm>
            <a:off x="1" y="159545"/>
            <a:ext cx="12799220" cy="57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807"/>
              </a:lnSpc>
              <a:spcBef>
                <a:spcPct val="0"/>
              </a:spcBef>
              <a:buNone/>
            </a:pPr>
            <a:r>
              <a:rPr lang="pt-BR" altLang="pt-BR" sz="3600">
                <a:solidFill>
                  <a:schemeClr val="bg1"/>
                </a:solidFill>
                <a:latin typeface="Myriad Pro" pitchFamily="34" charset="0"/>
              </a:rPr>
              <a:t>Identificação e Categorização dos projeto do Portfólio </a:t>
            </a:r>
          </a:p>
        </p:txBody>
      </p:sp>
      <p:pic>
        <p:nvPicPr>
          <p:cNvPr id="3" name="Imagem 2"/>
          <p:cNvPicPr>
            <a:picLocks noChangeAspect="1"/>
          </p:cNvPicPr>
          <p:nvPr/>
        </p:nvPicPr>
        <p:blipFill>
          <a:blip r:embed="rId4"/>
          <a:stretch>
            <a:fillRect/>
          </a:stretch>
        </p:blipFill>
        <p:spPr>
          <a:xfrm>
            <a:off x="233264" y="1543100"/>
            <a:ext cx="11518178" cy="7200800"/>
          </a:xfrm>
          <a:prstGeom prst="rect">
            <a:avLst/>
          </a:prstGeom>
        </p:spPr>
      </p:pic>
      <p:sp>
        <p:nvSpPr>
          <p:cNvPr id="27" name="Retângulo 41"/>
          <p:cNvSpPr>
            <a:spLocks noChangeArrowheads="1"/>
          </p:cNvSpPr>
          <p:nvPr/>
        </p:nvSpPr>
        <p:spPr bwMode="auto">
          <a:xfrm>
            <a:off x="0" y="106363"/>
            <a:ext cx="9954344" cy="412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0" hangingPunct="0">
              <a:lnSpc>
                <a:spcPts val="2538"/>
              </a:lnSpc>
              <a:spcBef>
                <a:spcPct val="0"/>
              </a:spcBef>
              <a:buFontTx/>
              <a:buNone/>
            </a:pPr>
            <a:r>
              <a:rPr lang="pt-BR" altLang="pt-BR" sz="2800" b="1" dirty="0">
                <a:solidFill>
                  <a:schemeClr val="tx1"/>
                </a:solidFill>
                <a:latin typeface="Myriad Pro" pitchFamily="34" charset="0"/>
              </a:rPr>
              <a:t>Identificação e Categorização dos projeto do Portfólio </a:t>
            </a:r>
          </a:p>
        </p:txBody>
      </p:sp>
    </p:spTree>
    <p:custDataLst>
      <p:tags r:id="rId1"/>
    </p:custDataLst>
    <p:extLst>
      <p:ext uri="{BB962C8B-B14F-4D97-AF65-F5344CB8AC3E}">
        <p14:creationId xmlns:p14="http://schemas.microsoft.com/office/powerpoint/2010/main" val="1097147612"/>
      </p:ext>
    </p:extLst>
  </p:cSld>
  <p:clrMapOvr>
    <a:masterClrMapping/>
  </p:clrMapOvr>
  <p:transition spd="slow">
    <p:strips dir="rd"/>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4" descr="pict_20081215PHT445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957" y="1888332"/>
            <a:ext cx="1674018" cy="15144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6259" name="Picture 5" descr="375_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957" y="3821907"/>
            <a:ext cx="1674018" cy="156924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6260" name="Picture 6" descr="OgAAAPYNvSFOgP1I_wYxEnUt8kWokzithFe2tq78hSj_owshCUP70Iz9ffV716xkFA4Qfcgvj2bWYiQF9WtN2Y1MtSgAm1T1UKfDIhPXJnj5VN1n3Sf-p4UME8JW"/>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2957" y="5800726"/>
            <a:ext cx="1674018" cy="15763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6261" name="Picture 7" descr="Cubomagico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2957" y="7805738"/>
            <a:ext cx="1674018" cy="156924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96262" name="Text Box 8"/>
          <p:cNvSpPr txBox="1">
            <a:spLocks noChangeArrowheads="1"/>
          </p:cNvSpPr>
          <p:nvPr/>
        </p:nvSpPr>
        <p:spPr bwMode="auto">
          <a:xfrm>
            <a:off x="2466976" y="1712120"/>
            <a:ext cx="3455195"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100" i="1">
                <a:solidFill>
                  <a:srgbClr val="333333"/>
                </a:solidFill>
                <a:latin typeface="Calibri" panose="020F0502020204030204" pitchFamily="34" charset="0"/>
              </a:rPr>
              <a:t>1. Horas de Trabalho</a:t>
            </a:r>
          </a:p>
        </p:txBody>
      </p:sp>
      <p:sp>
        <p:nvSpPr>
          <p:cNvPr id="96263" name="Text Box 9"/>
          <p:cNvSpPr txBox="1">
            <a:spLocks noChangeArrowheads="1"/>
          </p:cNvSpPr>
          <p:nvPr/>
        </p:nvSpPr>
        <p:spPr bwMode="auto">
          <a:xfrm>
            <a:off x="2466975" y="3655220"/>
            <a:ext cx="3562350" cy="46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100" i="1">
                <a:solidFill>
                  <a:srgbClr val="333333"/>
                </a:solidFill>
                <a:latin typeface="Calibri" panose="020F0502020204030204" pitchFamily="34" charset="0"/>
              </a:rPr>
              <a:t>2. Valor Investido</a:t>
            </a:r>
          </a:p>
        </p:txBody>
      </p:sp>
      <p:sp>
        <p:nvSpPr>
          <p:cNvPr id="96264" name="Text Box 10"/>
          <p:cNvSpPr txBox="1">
            <a:spLocks noChangeArrowheads="1"/>
          </p:cNvSpPr>
          <p:nvPr/>
        </p:nvSpPr>
        <p:spPr bwMode="auto">
          <a:xfrm>
            <a:off x="2466976" y="5643563"/>
            <a:ext cx="3348038" cy="41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i="1">
                <a:solidFill>
                  <a:srgbClr val="333333"/>
                </a:solidFill>
                <a:latin typeface="Calibri" panose="020F0502020204030204" pitchFamily="34" charset="0"/>
              </a:rPr>
              <a:t>3. Peso / Relevância</a:t>
            </a:r>
          </a:p>
        </p:txBody>
      </p:sp>
      <p:sp>
        <p:nvSpPr>
          <p:cNvPr id="96265" name="Text Box 11"/>
          <p:cNvSpPr txBox="1">
            <a:spLocks noChangeArrowheads="1"/>
          </p:cNvSpPr>
          <p:nvPr/>
        </p:nvSpPr>
        <p:spPr bwMode="auto">
          <a:xfrm>
            <a:off x="2466975" y="7650958"/>
            <a:ext cx="3562350" cy="41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i="1">
                <a:solidFill>
                  <a:srgbClr val="333333"/>
                </a:solidFill>
                <a:latin typeface="Calibri" panose="020F0502020204030204" pitchFamily="34" charset="0"/>
              </a:rPr>
              <a:t>4. Grau Complexidade</a:t>
            </a:r>
          </a:p>
        </p:txBody>
      </p:sp>
      <p:sp>
        <p:nvSpPr>
          <p:cNvPr id="96266" name="Text Box 13"/>
          <p:cNvSpPr txBox="1">
            <a:spLocks noChangeArrowheads="1"/>
          </p:cNvSpPr>
          <p:nvPr/>
        </p:nvSpPr>
        <p:spPr bwMode="auto">
          <a:xfrm>
            <a:off x="2466975" y="2152651"/>
            <a:ext cx="3562350" cy="152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A carga horária atribuída ao projeto  representa o grau de esforço e dedicação exigido do Sponsor e dos stakeholders envolvidos.</a:t>
            </a:r>
          </a:p>
        </p:txBody>
      </p:sp>
      <p:sp>
        <p:nvSpPr>
          <p:cNvPr id="96267" name="Text Box 14"/>
          <p:cNvSpPr txBox="1">
            <a:spLocks noChangeArrowheads="1"/>
          </p:cNvSpPr>
          <p:nvPr/>
        </p:nvSpPr>
        <p:spPr bwMode="auto">
          <a:xfrm>
            <a:off x="2466975" y="4098133"/>
            <a:ext cx="3562350" cy="152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Quando maior o investimento maior o risco de um desvio causar estouro de verba significativo  e consequentemente  a não continuidade do projeto.</a:t>
            </a:r>
          </a:p>
        </p:txBody>
      </p:sp>
      <p:sp>
        <p:nvSpPr>
          <p:cNvPr id="96268" name="Text Box 15"/>
          <p:cNvSpPr txBox="1">
            <a:spLocks noChangeArrowheads="1"/>
          </p:cNvSpPr>
          <p:nvPr/>
        </p:nvSpPr>
        <p:spPr bwMode="auto">
          <a:xfrm>
            <a:off x="2466975" y="8086726"/>
            <a:ext cx="3562350" cy="152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De acordo com a quantidade de áreas envolvidas maior será a dificuldade de integrar e orquestrar as ações de forma harmoniosa e sinérgica.</a:t>
            </a:r>
          </a:p>
        </p:txBody>
      </p:sp>
      <p:sp>
        <p:nvSpPr>
          <p:cNvPr id="96269" name="Text Box 16"/>
          <p:cNvSpPr txBox="1">
            <a:spLocks noChangeArrowheads="1"/>
          </p:cNvSpPr>
          <p:nvPr/>
        </p:nvSpPr>
        <p:spPr bwMode="auto">
          <a:xfrm>
            <a:off x="2466975" y="6076950"/>
            <a:ext cx="3562350" cy="152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Projeto com alto alinhamento estratégico e com grande impacto operacional ou financeiro torna-se um grande diferencial competitivo. Pressão e tensão constante.</a:t>
            </a:r>
          </a:p>
        </p:txBody>
      </p:sp>
      <p:grpSp>
        <p:nvGrpSpPr>
          <p:cNvPr id="96270" name="Group 162"/>
          <p:cNvGrpSpPr>
            <a:grpSpLocks/>
          </p:cNvGrpSpPr>
          <p:nvPr/>
        </p:nvGrpSpPr>
        <p:grpSpPr bwMode="auto">
          <a:xfrm>
            <a:off x="5969795" y="1926432"/>
            <a:ext cx="3731418" cy="1466850"/>
            <a:chOff x="2855" y="663"/>
            <a:chExt cx="1688" cy="616"/>
          </a:xfrm>
        </p:grpSpPr>
        <p:sp>
          <p:nvSpPr>
            <p:cNvPr id="96384" name="Rectangle 19"/>
            <p:cNvSpPr>
              <a:spLocks noChangeArrowheads="1"/>
            </p:cNvSpPr>
            <p:nvPr/>
          </p:nvSpPr>
          <p:spPr bwMode="auto">
            <a:xfrm>
              <a:off x="2855" y="663"/>
              <a:ext cx="479"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Categ.</a:t>
              </a:r>
            </a:p>
          </p:txBody>
        </p:sp>
        <p:sp>
          <p:nvSpPr>
            <p:cNvPr id="96385" name="Rectangle 20"/>
            <p:cNvSpPr>
              <a:spLocks noChangeArrowheads="1"/>
            </p:cNvSpPr>
            <p:nvPr/>
          </p:nvSpPr>
          <p:spPr bwMode="auto">
            <a:xfrm>
              <a:off x="3334" y="663"/>
              <a:ext cx="409"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Inicial</a:t>
              </a:r>
            </a:p>
          </p:txBody>
        </p:sp>
        <p:sp>
          <p:nvSpPr>
            <p:cNvPr id="96386" name="Rectangle 21"/>
            <p:cNvSpPr>
              <a:spLocks noChangeArrowheads="1"/>
            </p:cNvSpPr>
            <p:nvPr/>
          </p:nvSpPr>
          <p:spPr bwMode="auto">
            <a:xfrm>
              <a:off x="3743" y="663"/>
              <a:ext cx="401"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Final</a:t>
              </a:r>
            </a:p>
          </p:txBody>
        </p:sp>
        <p:sp>
          <p:nvSpPr>
            <p:cNvPr id="96387" name="Rectangle 22"/>
            <p:cNvSpPr>
              <a:spLocks noChangeArrowheads="1"/>
            </p:cNvSpPr>
            <p:nvPr/>
          </p:nvSpPr>
          <p:spPr bwMode="auto">
            <a:xfrm>
              <a:off x="4144" y="663"/>
              <a:ext cx="399"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Peso</a:t>
              </a:r>
            </a:p>
          </p:txBody>
        </p:sp>
        <p:sp>
          <p:nvSpPr>
            <p:cNvPr id="96388" name="Rectangle 23"/>
            <p:cNvSpPr>
              <a:spLocks noChangeArrowheads="1"/>
            </p:cNvSpPr>
            <p:nvPr/>
          </p:nvSpPr>
          <p:spPr bwMode="auto">
            <a:xfrm>
              <a:off x="2855" y="818"/>
              <a:ext cx="47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Baixa</a:t>
              </a:r>
            </a:p>
          </p:txBody>
        </p:sp>
        <p:sp>
          <p:nvSpPr>
            <p:cNvPr id="96389" name="Rectangle 24"/>
            <p:cNvSpPr>
              <a:spLocks noChangeArrowheads="1"/>
            </p:cNvSpPr>
            <p:nvPr/>
          </p:nvSpPr>
          <p:spPr bwMode="auto">
            <a:xfrm>
              <a:off x="3334" y="818"/>
              <a:ext cx="40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80</a:t>
              </a:r>
            </a:p>
          </p:txBody>
        </p:sp>
        <p:sp>
          <p:nvSpPr>
            <p:cNvPr id="96390" name="Rectangle 25"/>
            <p:cNvSpPr>
              <a:spLocks noChangeArrowheads="1"/>
            </p:cNvSpPr>
            <p:nvPr/>
          </p:nvSpPr>
          <p:spPr bwMode="auto">
            <a:xfrm>
              <a:off x="3743" y="818"/>
              <a:ext cx="40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360</a:t>
              </a:r>
            </a:p>
          </p:txBody>
        </p:sp>
        <p:sp>
          <p:nvSpPr>
            <p:cNvPr id="96391" name="Rectangle 26"/>
            <p:cNvSpPr>
              <a:spLocks noChangeArrowheads="1"/>
            </p:cNvSpPr>
            <p:nvPr/>
          </p:nvSpPr>
          <p:spPr bwMode="auto">
            <a:xfrm>
              <a:off x="4144" y="818"/>
              <a:ext cx="39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392" name="Rectangle 27"/>
            <p:cNvSpPr>
              <a:spLocks noChangeArrowheads="1"/>
            </p:cNvSpPr>
            <p:nvPr/>
          </p:nvSpPr>
          <p:spPr bwMode="auto">
            <a:xfrm>
              <a:off x="2855" y="972"/>
              <a:ext cx="47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Média</a:t>
              </a:r>
            </a:p>
          </p:txBody>
        </p:sp>
        <p:sp>
          <p:nvSpPr>
            <p:cNvPr id="96393" name="Rectangle 28"/>
            <p:cNvSpPr>
              <a:spLocks noChangeArrowheads="1"/>
            </p:cNvSpPr>
            <p:nvPr/>
          </p:nvSpPr>
          <p:spPr bwMode="auto">
            <a:xfrm>
              <a:off x="3334" y="972"/>
              <a:ext cx="40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361</a:t>
              </a:r>
            </a:p>
          </p:txBody>
        </p:sp>
        <p:sp>
          <p:nvSpPr>
            <p:cNvPr id="96394" name="Rectangle 29"/>
            <p:cNvSpPr>
              <a:spLocks noChangeArrowheads="1"/>
            </p:cNvSpPr>
            <p:nvPr/>
          </p:nvSpPr>
          <p:spPr bwMode="auto">
            <a:xfrm>
              <a:off x="3743" y="972"/>
              <a:ext cx="401"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080</a:t>
              </a:r>
            </a:p>
          </p:txBody>
        </p:sp>
        <p:sp>
          <p:nvSpPr>
            <p:cNvPr id="96395" name="Rectangle 30"/>
            <p:cNvSpPr>
              <a:spLocks noChangeArrowheads="1"/>
            </p:cNvSpPr>
            <p:nvPr/>
          </p:nvSpPr>
          <p:spPr bwMode="auto">
            <a:xfrm>
              <a:off x="4144" y="972"/>
              <a:ext cx="39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2</a:t>
              </a:r>
            </a:p>
          </p:txBody>
        </p:sp>
        <p:sp>
          <p:nvSpPr>
            <p:cNvPr id="96396" name="Rectangle 31"/>
            <p:cNvSpPr>
              <a:spLocks noChangeArrowheads="1"/>
            </p:cNvSpPr>
            <p:nvPr/>
          </p:nvSpPr>
          <p:spPr bwMode="auto">
            <a:xfrm>
              <a:off x="2855" y="1125"/>
              <a:ext cx="47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Alta</a:t>
              </a:r>
            </a:p>
          </p:txBody>
        </p:sp>
        <p:sp>
          <p:nvSpPr>
            <p:cNvPr id="96397" name="Rectangle 32"/>
            <p:cNvSpPr>
              <a:spLocks noChangeArrowheads="1"/>
            </p:cNvSpPr>
            <p:nvPr/>
          </p:nvSpPr>
          <p:spPr bwMode="auto">
            <a:xfrm>
              <a:off x="3334" y="1125"/>
              <a:ext cx="81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gt; =  1081</a:t>
              </a:r>
            </a:p>
          </p:txBody>
        </p:sp>
        <p:sp>
          <p:nvSpPr>
            <p:cNvPr id="96398" name="Rectangle 33"/>
            <p:cNvSpPr>
              <a:spLocks noChangeArrowheads="1"/>
            </p:cNvSpPr>
            <p:nvPr/>
          </p:nvSpPr>
          <p:spPr bwMode="auto">
            <a:xfrm>
              <a:off x="4144" y="1125"/>
              <a:ext cx="39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4</a:t>
              </a:r>
            </a:p>
          </p:txBody>
        </p:sp>
        <p:sp>
          <p:nvSpPr>
            <p:cNvPr id="96399" name="Line 34"/>
            <p:cNvSpPr>
              <a:spLocks noChangeShapeType="1"/>
            </p:cNvSpPr>
            <p:nvPr/>
          </p:nvSpPr>
          <p:spPr bwMode="auto">
            <a:xfrm>
              <a:off x="3334" y="66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0" name="Line 35"/>
            <p:cNvSpPr>
              <a:spLocks noChangeShapeType="1"/>
            </p:cNvSpPr>
            <p:nvPr/>
          </p:nvSpPr>
          <p:spPr bwMode="auto">
            <a:xfrm>
              <a:off x="3743" y="663"/>
              <a:ext cx="0" cy="4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1" name="Line 36"/>
            <p:cNvSpPr>
              <a:spLocks noChangeShapeType="1"/>
            </p:cNvSpPr>
            <p:nvPr/>
          </p:nvSpPr>
          <p:spPr bwMode="auto">
            <a:xfrm>
              <a:off x="4144" y="66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2" name="Line 37"/>
            <p:cNvSpPr>
              <a:spLocks noChangeShapeType="1"/>
            </p:cNvSpPr>
            <p:nvPr/>
          </p:nvSpPr>
          <p:spPr bwMode="auto">
            <a:xfrm>
              <a:off x="2855" y="818"/>
              <a:ext cx="168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3" name="Line 38"/>
            <p:cNvSpPr>
              <a:spLocks noChangeShapeType="1"/>
            </p:cNvSpPr>
            <p:nvPr/>
          </p:nvSpPr>
          <p:spPr bwMode="auto">
            <a:xfrm>
              <a:off x="2855" y="972"/>
              <a:ext cx="168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4" name="Line 39"/>
            <p:cNvSpPr>
              <a:spLocks noChangeShapeType="1"/>
            </p:cNvSpPr>
            <p:nvPr/>
          </p:nvSpPr>
          <p:spPr bwMode="auto">
            <a:xfrm>
              <a:off x="2855" y="1125"/>
              <a:ext cx="168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5" name="Line 40"/>
            <p:cNvSpPr>
              <a:spLocks noChangeShapeType="1"/>
            </p:cNvSpPr>
            <p:nvPr/>
          </p:nvSpPr>
          <p:spPr bwMode="auto">
            <a:xfrm>
              <a:off x="2855" y="66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6" name="Line 41"/>
            <p:cNvSpPr>
              <a:spLocks noChangeShapeType="1"/>
            </p:cNvSpPr>
            <p:nvPr/>
          </p:nvSpPr>
          <p:spPr bwMode="auto">
            <a:xfrm>
              <a:off x="4540" y="66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7" name="Line 42"/>
            <p:cNvSpPr>
              <a:spLocks noChangeShapeType="1"/>
            </p:cNvSpPr>
            <p:nvPr/>
          </p:nvSpPr>
          <p:spPr bwMode="auto">
            <a:xfrm>
              <a:off x="2855" y="663"/>
              <a:ext cx="1688"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408" name="Line 43"/>
            <p:cNvSpPr>
              <a:spLocks noChangeShapeType="1"/>
            </p:cNvSpPr>
            <p:nvPr/>
          </p:nvSpPr>
          <p:spPr bwMode="auto">
            <a:xfrm>
              <a:off x="2855" y="1279"/>
              <a:ext cx="1688"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grpSp>
      <p:sp>
        <p:nvSpPr>
          <p:cNvPr id="96271" name="Line 44"/>
          <p:cNvSpPr>
            <a:spLocks noChangeShapeType="1"/>
          </p:cNvSpPr>
          <p:nvPr/>
        </p:nvSpPr>
        <p:spPr bwMode="auto">
          <a:xfrm>
            <a:off x="792957" y="3548063"/>
            <a:ext cx="10046493" cy="0"/>
          </a:xfrm>
          <a:prstGeom prst="line">
            <a:avLst/>
          </a:prstGeom>
          <a:noFill/>
          <a:ln w="9525">
            <a:solidFill>
              <a:srgbClr val="C0C0C0"/>
            </a:solidFill>
            <a:prstDash val="sysDot"/>
            <a:round/>
            <a:headEnd/>
            <a:tailEnd/>
          </a:ln>
          <a:extLst>
            <a:ext uri="{909E8E84-426E-40DD-AFC4-6F175D3DCCD1}">
              <a14:hiddenFill xmlns:a14="http://schemas.microsoft.com/office/drawing/2010/main">
                <a:noFill/>
              </a14:hiddenFill>
            </a:ext>
          </a:extLst>
        </p:spPr>
        <p:txBody>
          <a:bodyPr lIns="136145" tIns="68058" rIns="136145" bIns="68058"/>
          <a:lstStyle/>
          <a:p>
            <a:endParaRPr lang="pt-BR"/>
          </a:p>
        </p:txBody>
      </p:sp>
      <p:sp>
        <p:nvSpPr>
          <p:cNvPr id="96272" name="Line 45"/>
          <p:cNvSpPr>
            <a:spLocks noChangeShapeType="1"/>
          </p:cNvSpPr>
          <p:nvPr/>
        </p:nvSpPr>
        <p:spPr bwMode="auto">
          <a:xfrm>
            <a:off x="792957" y="5600700"/>
            <a:ext cx="10046493" cy="0"/>
          </a:xfrm>
          <a:prstGeom prst="line">
            <a:avLst/>
          </a:prstGeom>
          <a:noFill/>
          <a:ln w="9525">
            <a:solidFill>
              <a:srgbClr val="C0C0C0"/>
            </a:solidFill>
            <a:prstDash val="sysDot"/>
            <a:round/>
            <a:headEnd/>
            <a:tailEnd/>
          </a:ln>
          <a:extLst>
            <a:ext uri="{909E8E84-426E-40DD-AFC4-6F175D3DCCD1}">
              <a14:hiddenFill xmlns:a14="http://schemas.microsoft.com/office/drawing/2010/main">
                <a:noFill/>
              </a14:hiddenFill>
            </a:ext>
          </a:extLst>
        </p:spPr>
        <p:txBody>
          <a:bodyPr lIns="136145" tIns="68058" rIns="136145" bIns="68058"/>
          <a:lstStyle/>
          <a:p>
            <a:endParaRPr lang="pt-BR"/>
          </a:p>
        </p:txBody>
      </p:sp>
      <p:grpSp>
        <p:nvGrpSpPr>
          <p:cNvPr id="96273" name="Group 161"/>
          <p:cNvGrpSpPr>
            <a:grpSpLocks/>
          </p:cNvGrpSpPr>
          <p:nvPr/>
        </p:nvGrpSpPr>
        <p:grpSpPr bwMode="auto">
          <a:xfrm>
            <a:off x="5979320" y="3993357"/>
            <a:ext cx="3712368" cy="1466850"/>
            <a:chOff x="2859" y="1531"/>
            <a:chExt cx="1679" cy="616"/>
          </a:xfrm>
        </p:grpSpPr>
        <p:sp>
          <p:nvSpPr>
            <p:cNvPr id="96359" name="Rectangle 49"/>
            <p:cNvSpPr>
              <a:spLocks noChangeArrowheads="1"/>
            </p:cNvSpPr>
            <p:nvPr/>
          </p:nvSpPr>
          <p:spPr bwMode="auto">
            <a:xfrm>
              <a:off x="2859" y="1531"/>
              <a:ext cx="475"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Categ.</a:t>
              </a:r>
            </a:p>
          </p:txBody>
        </p:sp>
        <p:sp>
          <p:nvSpPr>
            <p:cNvPr id="96360" name="Rectangle 50"/>
            <p:cNvSpPr>
              <a:spLocks noChangeArrowheads="1"/>
            </p:cNvSpPr>
            <p:nvPr/>
          </p:nvSpPr>
          <p:spPr bwMode="auto">
            <a:xfrm>
              <a:off x="3334" y="1531"/>
              <a:ext cx="43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Inicial</a:t>
              </a:r>
            </a:p>
          </p:txBody>
        </p:sp>
        <p:sp>
          <p:nvSpPr>
            <p:cNvPr id="96361" name="Rectangle 51"/>
            <p:cNvSpPr>
              <a:spLocks noChangeArrowheads="1"/>
            </p:cNvSpPr>
            <p:nvPr/>
          </p:nvSpPr>
          <p:spPr bwMode="auto">
            <a:xfrm>
              <a:off x="3767" y="1531"/>
              <a:ext cx="45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Final</a:t>
              </a:r>
            </a:p>
          </p:txBody>
        </p:sp>
        <p:sp>
          <p:nvSpPr>
            <p:cNvPr id="96362" name="Rectangle 52"/>
            <p:cNvSpPr>
              <a:spLocks noChangeArrowheads="1"/>
            </p:cNvSpPr>
            <p:nvPr/>
          </p:nvSpPr>
          <p:spPr bwMode="auto">
            <a:xfrm>
              <a:off x="4220" y="1531"/>
              <a:ext cx="318"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Peso</a:t>
              </a:r>
            </a:p>
          </p:txBody>
        </p:sp>
        <p:sp>
          <p:nvSpPr>
            <p:cNvPr id="96363" name="Rectangle 53"/>
            <p:cNvSpPr>
              <a:spLocks noChangeArrowheads="1"/>
            </p:cNvSpPr>
            <p:nvPr/>
          </p:nvSpPr>
          <p:spPr bwMode="auto">
            <a:xfrm>
              <a:off x="2859" y="1686"/>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Baixo</a:t>
              </a:r>
            </a:p>
          </p:txBody>
        </p:sp>
        <p:sp>
          <p:nvSpPr>
            <p:cNvPr id="96364" name="Rectangle 54"/>
            <p:cNvSpPr>
              <a:spLocks noChangeArrowheads="1"/>
            </p:cNvSpPr>
            <p:nvPr/>
          </p:nvSpPr>
          <p:spPr bwMode="auto">
            <a:xfrm>
              <a:off x="3334" y="1686"/>
              <a:ext cx="43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R$ 0</a:t>
              </a:r>
            </a:p>
          </p:txBody>
        </p:sp>
        <p:sp>
          <p:nvSpPr>
            <p:cNvPr id="96365" name="Rectangle 55"/>
            <p:cNvSpPr>
              <a:spLocks noChangeArrowheads="1"/>
            </p:cNvSpPr>
            <p:nvPr/>
          </p:nvSpPr>
          <p:spPr bwMode="auto">
            <a:xfrm>
              <a:off x="3767" y="1686"/>
              <a:ext cx="45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R$100M</a:t>
              </a:r>
            </a:p>
          </p:txBody>
        </p:sp>
        <p:sp>
          <p:nvSpPr>
            <p:cNvPr id="96366" name="Rectangle 56"/>
            <p:cNvSpPr>
              <a:spLocks noChangeArrowheads="1"/>
            </p:cNvSpPr>
            <p:nvPr/>
          </p:nvSpPr>
          <p:spPr bwMode="auto">
            <a:xfrm>
              <a:off x="4220" y="1686"/>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367" name="Rectangle 57"/>
            <p:cNvSpPr>
              <a:spLocks noChangeArrowheads="1"/>
            </p:cNvSpPr>
            <p:nvPr/>
          </p:nvSpPr>
          <p:spPr bwMode="auto">
            <a:xfrm>
              <a:off x="2859" y="1840"/>
              <a:ext cx="475"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Médio</a:t>
              </a:r>
            </a:p>
          </p:txBody>
        </p:sp>
        <p:sp>
          <p:nvSpPr>
            <p:cNvPr id="96368" name="Rectangle 58"/>
            <p:cNvSpPr>
              <a:spLocks noChangeArrowheads="1"/>
            </p:cNvSpPr>
            <p:nvPr/>
          </p:nvSpPr>
          <p:spPr bwMode="auto">
            <a:xfrm>
              <a:off x="3334" y="1840"/>
              <a:ext cx="433"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R$101</a:t>
              </a:r>
            </a:p>
            <a:p>
              <a:pPr eaLnBrk="1" hangingPunct="1">
                <a:buFontTx/>
                <a:buNone/>
              </a:pPr>
              <a:endParaRPr lang="pt-BR" altLang="pt-BR" sz="1500">
                <a:solidFill>
                  <a:schemeClr val="tx1"/>
                </a:solidFill>
                <a:latin typeface="Calibri" panose="020F0502020204030204" pitchFamily="34" charset="0"/>
              </a:endParaRPr>
            </a:p>
          </p:txBody>
        </p:sp>
        <p:sp>
          <p:nvSpPr>
            <p:cNvPr id="96369" name="Rectangle 59"/>
            <p:cNvSpPr>
              <a:spLocks noChangeArrowheads="1"/>
            </p:cNvSpPr>
            <p:nvPr/>
          </p:nvSpPr>
          <p:spPr bwMode="auto">
            <a:xfrm>
              <a:off x="3767" y="1840"/>
              <a:ext cx="453"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R$300M</a:t>
              </a:r>
            </a:p>
          </p:txBody>
        </p:sp>
        <p:sp>
          <p:nvSpPr>
            <p:cNvPr id="96370" name="Rectangle 60"/>
            <p:cNvSpPr>
              <a:spLocks noChangeArrowheads="1"/>
            </p:cNvSpPr>
            <p:nvPr/>
          </p:nvSpPr>
          <p:spPr bwMode="auto">
            <a:xfrm>
              <a:off x="4220" y="1840"/>
              <a:ext cx="31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3</a:t>
              </a:r>
            </a:p>
          </p:txBody>
        </p:sp>
        <p:sp>
          <p:nvSpPr>
            <p:cNvPr id="96371" name="Rectangle 61"/>
            <p:cNvSpPr>
              <a:spLocks noChangeArrowheads="1"/>
            </p:cNvSpPr>
            <p:nvPr/>
          </p:nvSpPr>
          <p:spPr bwMode="auto">
            <a:xfrm>
              <a:off x="2859" y="1993"/>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Alto</a:t>
              </a:r>
            </a:p>
          </p:txBody>
        </p:sp>
        <p:sp>
          <p:nvSpPr>
            <p:cNvPr id="96372" name="Rectangle 62"/>
            <p:cNvSpPr>
              <a:spLocks noChangeArrowheads="1"/>
            </p:cNvSpPr>
            <p:nvPr/>
          </p:nvSpPr>
          <p:spPr bwMode="auto">
            <a:xfrm>
              <a:off x="3334" y="1993"/>
              <a:ext cx="88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gt; =  R$ 301M</a:t>
              </a:r>
            </a:p>
          </p:txBody>
        </p:sp>
        <p:sp>
          <p:nvSpPr>
            <p:cNvPr id="96373" name="Rectangle 63"/>
            <p:cNvSpPr>
              <a:spLocks noChangeArrowheads="1"/>
            </p:cNvSpPr>
            <p:nvPr/>
          </p:nvSpPr>
          <p:spPr bwMode="auto">
            <a:xfrm>
              <a:off x="4220" y="1993"/>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5</a:t>
              </a:r>
            </a:p>
          </p:txBody>
        </p:sp>
        <p:sp>
          <p:nvSpPr>
            <p:cNvPr id="96374" name="Line 64"/>
            <p:cNvSpPr>
              <a:spLocks noChangeShapeType="1"/>
            </p:cNvSpPr>
            <p:nvPr/>
          </p:nvSpPr>
          <p:spPr bwMode="auto">
            <a:xfrm>
              <a:off x="3334" y="1531"/>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75" name="Line 65"/>
            <p:cNvSpPr>
              <a:spLocks noChangeShapeType="1"/>
            </p:cNvSpPr>
            <p:nvPr/>
          </p:nvSpPr>
          <p:spPr bwMode="auto">
            <a:xfrm>
              <a:off x="3767" y="1531"/>
              <a:ext cx="0" cy="4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76" name="Line 66"/>
            <p:cNvSpPr>
              <a:spLocks noChangeShapeType="1"/>
            </p:cNvSpPr>
            <p:nvPr/>
          </p:nvSpPr>
          <p:spPr bwMode="auto">
            <a:xfrm>
              <a:off x="4220" y="1531"/>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77" name="Line 67"/>
            <p:cNvSpPr>
              <a:spLocks noChangeShapeType="1"/>
            </p:cNvSpPr>
            <p:nvPr/>
          </p:nvSpPr>
          <p:spPr bwMode="auto">
            <a:xfrm>
              <a:off x="2859" y="1686"/>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78" name="Line 68"/>
            <p:cNvSpPr>
              <a:spLocks noChangeShapeType="1"/>
            </p:cNvSpPr>
            <p:nvPr/>
          </p:nvSpPr>
          <p:spPr bwMode="auto">
            <a:xfrm>
              <a:off x="2859" y="1840"/>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79" name="Line 69"/>
            <p:cNvSpPr>
              <a:spLocks noChangeShapeType="1"/>
            </p:cNvSpPr>
            <p:nvPr/>
          </p:nvSpPr>
          <p:spPr bwMode="auto">
            <a:xfrm>
              <a:off x="2859" y="1993"/>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80" name="Line 70"/>
            <p:cNvSpPr>
              <a:spLocks noChangeShapeType="1"/>
            </p:cNvSpPr>
            <p:nvPr/>
          </p:nvSpPr>
          <p:spPr bwMode="auto">
            <a:xfrm>
              <a:off x="2859" y="1531"/>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81" name="Line 71"/>
            <p:cNvSpPr>
              <a:spLocks noChangeShapeType="1"/>
            </p:cNvSpPr>
            <p:nvPr/>
          </p:nvSpPr>
          <p:spPr bwMode="auto">
            <a:xfrm>
              <a:off x="4531" y="1531"/>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82" name="Line 72"/>
            <p:cNvSpPr>
              <a:spLocks noChangeShapeType="1"/>
            </p:cNvSpPr>
            <p:nvPr/>
          </p:nvSpPr>
          <p:spPr bwMode="auto">
            <a:xfrm>
              <a:off x="2859" y="1531"/>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83" name="Line 73"/>
            <p:cNvSpPr>
              <a:spLocks noChangeShapeType="1"/>
            </p:cNvSpPr>
            <p:nvPr/>
          </p:nvSpPr>
          <p:spPr bwMode="auto">
            <a:xfrm>
              <a:off x="2859" y="2147"/>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grpSp>
      <p:grpSp>
        <p:nvGrpSpPr>
          <p:cNvPr id="96274" name="Group 160"/>
          <p:cNvGrpSpPr>
            <a:grpSpLocks/>
          </p:cNvGrpSpPr>
          <p:nvPr/>
        </p:nvGrpSpPr>
        <p:grpSpPr bwMode="auto">
          <a:xfrm>
            <a:off x="5979320" y="7974807"/>
            <a:ext cx="3712368" cy="1466850"/>
            <a:chOff x="2859" y="3203"/>
            <a:chExt cx="1679" cy="616"/>
          </a:xfrm>
        </p:grpSpPr>
        <p:sp>
          <p:nvSpPr>
            <p:cNvPr id="96334" name="Rectangle 75"/>
            <p:cNvSpPr>
              <a:spLocks noChangeArrowheads="1"/>
            </p:cNvSpPr>
            <p:nvPr/>
          </p:nvSpPr>
          <p:spPr bwMode="auto">
            <a:xfrm>
              <a:off x="2859" y="3203"/>
              <a:ext cx="475"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Categ.</a:t>
              </a:r>
            </a:p>
          </p:txBody>
        </p:sp>
        <p:sp>
          <p:nvSpPr>
            <p:cNvPr id="96335" name="Rectangle 76"/>
            <p:cNvSpPr>
              <a:spLocks noChangeArrowheads="1"/>
            </p:cNvSpPr>
            <p:nvPr/>
          </p:nvSpPr>
          <p:spPr bwMode="auto">
            <a:xfrm>
              <a:off x="3334" y="3203"/>
              <a:ext cx="43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Inicial</a:t>
              </a:r>
            </a:p>
          </p:txBody>
        </p:sp>
        <p:sp>
          <p:nvSpPr>
            <p:cNvPr id="96336" name="Rectangle 77"/>
            <p:cNvSpPr>
              <a:spLocks noChangeArrowheads="1"/>
            </p:cNvSpPr>
            <p:nvPr/>
          </p:nvSpPr>
          <p:spPr bwMode="auto">
            <a:xfrm>
              <a:off x="3767" y="3203"/>
              <a:ext cx="45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Final</a:t>
              </a:r>
            </a:p>
          </p:txBody>
        </p:sp>
        <p:sp>
          <p:nvSpPr>
            <p:cNvPr id="96337" name="Rectangle 78"/>
            <p:cNvSpPr>
              <a:spLocks noChangeArrowheads="1"/>
            </p:cNvSpPr>
            <p:nvPr/>
          </p:nvSpPr>
          <p:spPr bwMode="auto">
            <a:xfrm>
              <a:off x="4220" y="3203"/>
              <a:ext cx="318"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Peso</a:t>
              </a:r>
            </a:p>
          </p:txBody>
        </p:sp>
        <p:sp>
          <p:nvSpPr>
            <p:cNvPr id="96338" name="Rectangle 79"/>
            <p:cNvSpPr>
              <a:spLocks noChangeArrowheads="1"/>
            </p:cNvSpPr>
            <p:nvPr/>
          </p:nvSpPr>
          <p:spPr bwMode="auto">
            <a:xfrm>
              <a:off x="2859" y="3358"/>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Baixa</a:t>
              </a:r>
            </a:p>
          </p:txBody>
        </p:sp>
        <p:sp>
          <p:nvSpPr>
            <p:cNvPr id="96339" name="Rectangle 80"/>
            <p:cNvSpPr>
              <a:spLocks noChangeArrowheads="1"/>
            </p:cNvSpPr>
            <p:nvPr/>
          </p:nvSpPr>
          <p:spPr bwMode="auto">
            <a:xfrm>
              <a:off x="3334" y="3358"/>
              <a:ext cx="43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340" name="Rectangle 81"/>
            <p:cNvSpPr>
              <a:spLocks noChangeArrowheads="1"/>
            </p:cNvSpPr>
            <p:nvPr/>
          </p:nvSpPr>
          <p:spPr bwMode="auto">
            <a:xfrm>
              <a:off x="3767" y="3358"/>
              <a:ext cx="45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2</a:t>
              </a:r>
            </a:p>
          </p:txBody>
        </p:sp>
        <p:sp>
          <p:nvSpPr>
            <p:cNvPr id="96341" name="Rectangle 82"/>
            <p:cNvSpPr>
              <a:spLocks noChangeArrowheads="1"/>
            </p:cNvSpPr>
            <p:nvPr/>
          </p:nvSpPr>
          <p:spPr bwMode="auto">
            <a:xfrm>
              <a:off x="4220" y="3358"/>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342" name="Rectangle 83"/>
            <p:cNvSpPr>
              <a:spLocks noChangeArrowheads="1"/>
            </p:cNvSpPr>
            <p:nvPr/>
          </p:nvSpPr>
          <p:spPr bwMode="auto">
            <a:xfrm>
              <a:off x="2859" y="3512"/>
              <a:ext cx="475"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Média</a:t>
              </a:r>
            </a:p>
          </p:txBody>
        </p:sp>
        <p:sp>
          <p:nvSpPr>
            <p:cNvPr id="96343" name="Rectangle 84"/>
            <p:cNvSpPr>
              <a:spLocks noChangeArrowheads="1"/>
            </p:cNvSpPr>
            <p:nvPr/>
          </p:nvSpPr>
          <p:spPr bwMode="auto">
            <a:xfrm>
              <a:off x="3334" y="3512"/>
              <a:ext cx="433"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3</a:t>
              </a:r>
            </a:p>
          </p:txBody>
        </p:sp>
        <p:sp>
          <p:nvSpPr>
            <p:cNvPr id="96344" name="Rectangle 85"/>
            <p:cNvSpPr>
              <a:spLocks noChangeArrowheads="1"/>
            </p:cNvSpPr>
            <p:nvPr/>
          </p:nvSpPr>
          <p:spPr bwMode="auto">
            <a:xfrm>
              <a:off x="3767" y="3512"/>
              <a:ext cx="453"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4</a:t>
              </a:r>
            </a:p>
          </p:txBody>
        </p:sp>
        <p:sp>
          <p:nvSpPr>
            <p:cNvPr id="96345" name="Rectangle 86"/>
            <p:cNvSpPr>
              <a:spLocks noChangeArrowheads="1"/>
            </p:cNvSpPr>
            <p:nvPr/>
          </p:nvSpPr>
          <p:spPr bwMode="auto">
            <a:xfrm>
              <a:off x="4220" y="3512"/>
              <a:ext cx="31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2</a:t>
              </a:r>
            </a:p>
          </p:txBody>
        </p:sp>
        <p:sp>
          <p:nvSpPr>
            <p:cNvPr id="96346" name="Rectangle 87"/>
            <p:cNvSpPr>
              <a:spLocks noChangeArrowheads="1"/>
            </p:cNvSpPr>
            <p:nvPr/>
          </p:nvSpPr>
          <p:spPr bwMode="auto">
            <a:xfrm>
              <a:off x="2859" y="3665"/>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Alta</a:t>
              </a:r>
            </a:p>
          </p:txBody>
        </p:sp>
        <p:sp>
          <p:nvSpPr>
            <p:cNvPr id="96347" name="Rectangle 88"/>
            <p:cNvSpPr>
              <a:spLocks noChangeArrowheads="1"/>
            </p:cNvSpPr>
            <p:nvPr/>
          </p:nvSpPr>
          <p:spPr bwMode="auto">
            <a:xfrm>
              <a:off x="3334" y="3665"/>
              <a:ext cx="88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gt; =  5</a:t>
              </a:r>
            </a:p>
          </p:txBody>
        </p:sp>
        <p:sp>
          <p:nvSpPr>
            <p:cNvPr id="96348" name="Rectangle 89"/>
            <p:cNvSpPr>
              <a:spLocks noChangeArrowheads="1"/>
            </p:cNvSpPr>
            <p:nvPr/>
          </p:nvSpPr>
          <p:spPr bwMode="auto">
            <a:xfrm>
              <a:off x="4220" y="3665"/>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4</a:t>
              </a:r>
            </a:p>
          </p:txBody>
        </p:sp>
        <p:sp>
          <p:nvSpPr>
            <p:cNvPr id="96349" name="Line 90"/>
            <p:cNvSpPr>
              <a:spLocks noChangeShapeType="1"/>
            </p:cNvSpPr>
            <p:nvPr/>
          </p:nvSpPr>
          <p:spPr bwMode="auto">
            <a:xfrm>
              <a:off x="3334" y="320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0" name="Line 91"/>
            <p:cNvSpPr>
              <a:spLocks noChangeShapeType="1"/>
            </p:cNvSpPr>
            <p:nvPr/>
          </p:nvSpPr>
          <p:spPr bwMode="auto">
            <a:xfrm>
              <a:off x="3767" y="3203"/>
              <a:ext cx="0" cy="4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1" name="Line 92"/>
            <p:cNvSpPr>
              <a:spLocks noChangeShapeType="1"/>
            </p:cNvSpPr>
            <p:nvPr/>
          </p:nvSpPr>
          <p:spPr bwMode="auto">
            <a:xfrm>
              <a:off x="4220" y="320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2" name="Line 93"/>
            <p:cNvSpPr>
              <a:spLocks noChangeShapeType="1"/>
            </p:cNvSpPr>
            <p:nvPr/>
          </p:nvSpPr>
          <p:spPr bwMode="auto">
            <a:xfrm>
              <a:off x="2859" y="3358"/>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3" name="Line 94"/>
            <p:cNvSpPr>
              <a:spLocks noChangeShapeType="1"/>
            </p:cNvSpPr>
            <p:nvPr/>
          </p:nvSpPr>
          <p:spPr bwMode="auto">
            <a:xfrm>
              <a:off x="2859" y="3512"/>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4" name="Line 95"/>
            <p:cNvSpPr>
              <a:spLocks noChangeShapeType="1"/>
            </p:cNvSpPr>
            <p:nvPr/>
          </p:nvSpPr>
          <p:spPr bwMode="auto">
            <a:xfrm>
              <a:off x="2859" y="3665"/>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5" name="Line 96"/>
            <p:cNvSpPr>
              <a:spLocks noChangeShapeType="1"/>
            </p:cNvSpPr>
            <p:nvPr/>
          </p:nvSpPr>
          <p:spPr bwMode="auto">
            <a:xfrm>
              <a:off x="2859" y="320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6" name="Line 97"/>
            <p:cNvSpPr>
              <a:spLocks noChangeShapeType="1"/>
            </p:cNvSpPr>
            <p:nvPr/>
          </p:nvSpPr>
          <p:spPr bwMode="auto">
            <a:xfrm>
              <a:off x="4538" y="320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7" name="Line 98"/>
            <p:cNvSpPr>
              <a:spLocks noChangeShapeType="1"/>
            </p:cNvSpPr>
            <p:nvPr/>
          </p:nvSpPr>
          <p:spPr bwMode="auto">
            <a:xfrm>
              <a:off x="2859" y="3203"/>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58" name="Line 99"/>
            <p:cNvSpPr>
              <a:spLocks noChangeShapeType="1"/>
            </p:cNvSpPr>
            <p:nvPr/>
          </p:nvSpPr>
          <p:spPr bwMode="auto">
            <a:xfrm>
              <a:off x="2859" y="3819"/>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grpSp>
      <p:grpSp>
        <p:nvGrpSpPr>
          <p:cNvPr id="96275" name="Group 159"/>
          <p:cNvGrpSpPr>
            <a:grpSpLocks/>
          </p:cNvGrpSpPr>
          <p:nvPr/>
        </p:nvGrpSpPr>
        <p:grpSpPr bwMode="auto">
          <a:xfrm>
            <a:off x="5960270" y="5993607"/>
            <a:ext cx="3712368" cy="1466850"/>
            <a:chOff x="2851" y="2643"/>
            <a:chExt cx="1679" cy="616"/>
          </a:xfrm>
        </p:grpSpPr>
        <p:sp>
          <p:nvSpPr>
            <p:cNvPr id="96311" name="Rectangle 101"/>
            <p:cNvSpPr>
              <a:spLocks noChangeArrowheads="1"/>
            </p:cNvSpPr>
            <p:nvPr/>
          </p:nvSpPr>
          <p:spPr bwMode="auto">
            <a:xfrm>
              <a:off x="2851" y="2643"/>
              <a:ext cx="475"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Categ.</a:t>
              </a:r>
            </a:p>
          </p:txBody>
        </p:sp>
        <p:sp>
          <p:nvSpPr>
            <p:cNvPr id="96312" name="Rectangle 102"/>
            <p:cNvSpPr>
              <a:spLocks noChangeArrowheads="1"/>
            </p:cNvSpPr>
            <p:nvPr/>
          </p:nvSpPr>
          <p:spPr bwMode="auto">
            <a:xfrm>
              <a:off x="3326" y="2643"/>
              <a:ext cx="43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Inicial</a:t>
              </a:r>
            </a:p>
          </p:txBody>
        </p:sp>
        <p:sp>
          <p:nvSpPr>
            <p:cNvPr id="96313" name="Rectangle 103"/>
            <p:cNvSpPr>
              <a:spLocks noChangeArrowheads="1"/>
            </p:cNvSpPr>
            <p:nvPr/>
          </p:nvSpPr>
          <p:spPr bwMode="auto">
            <a:xfrm>
              <a:off x="3759" y="2643"/>
              <a:ext cx="453"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Final</a:t>
              </a:r>
            </a:p>
          </p:txBody>
        </p:sp>
        <p:sp>
          <p:nvSpPr>
            <p:cNvPr id="96314" name="Rectangle 104"/>
            <p:cNvSpPr>
              <a:spLocks noChangeArrowheads="1"/>
            </p:cNvSpPr>
            <p:nvPr/>
          </p:nvSpPr>
          <p:spPr bwMode="auto">
            <a:xfrm>
              <a:off x="4212" y="2643"/>
              <a:ext cx="318" cy="155"/>
            </a:xfrm>
            <a:prstGeom prst="rect">
              <a:avLst/>
            </a:prstGeom>
            <a:solidFill>
              <a:srgbClr val="0000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Peso</a:t>
              </a:r>
            </a:p>
          </p:txBody>
        </p:sp>
        <p:sp>
          <p:nvSpPr>
            <p:cNvPr id="96315" name="Rectangle 105"/>
            <p:cNvSpPr>
              <a:spLocks noChangeArrowheads="1"/>
            </p:cNvSpPr>
            <p:nvPr/>
          </p:nvSpPr>
          <p:spPr bwMode="auto">
            <a:xfrm>
              <a:off x="2851" y="2798"/>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Baixa</a:t>
              </a:r>
            </a:p>
          </p:txBody>
        </p:sp>
        <p:sp>
          <p:nvSpPr>
            <p:cNvPr id="96316" name="Rectangle 106"/>
            <p:cNvSpPr>
              <a:spLocks noChangeArrowheads="1"/>
            </p:cNvSpPr>
            <p:nvPr/>
          </p:nvSpPr>
          <p:spPr bwMode="auto">
            <a:xfrm>
              <a:off x="3326" y="2798"/>
              <a:ext cx="88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Departamental</a:t>
              </a:r>
            </a:p>
          </p:txBody>
        </p:sp>
        <p:sp>
          <p:nvSpPr>
            <p:cNvPr id="96317" name="Rectangle 107"/>
            <p:cNvSpPr>
              <a:spLocks noChangeArrowheads="1"/>
            </p:cNvSpPr>
            <p:nvPr/>
          </p:nvSpPr>
          <p:spPr bwMode="auto">
            <a:xfrm>
              <a:off x="4212" y="2798"/>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318" name="Rectangle 108"/>
            <p:cNvSpPr>
              <a:spLocks noChangeArrowheads="1"/>
            </p:cNvSpPr>
            <p:nvPr/>
          </p:nvSpPr>
          <p:spPr bwMode="auto">
            <a:xfrm>
              <a:off x="2851" y="2952"/>
              <a:ext cx="475"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Média</a:t>
              </a:r>
            </a:p>
          </p:txBody>
        </p:sp>
        <p:sp>
          <p:nvSpPr>
            <p:cNvPr id="96319" name="Rectangle 109"/>
            <p:cNvSpPr>
              <a:spLocks noChangeArrowheads="1"/>
            </p:cNvSpPr>
            <p:nvPr/>
          </p:nvSpPr>
          <p:spPr bwMode="auto">
            <a:xfrm>
              <a:off x="3326" y="2952"/>
              <a:ext cx="886"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Diretoria</a:t>
              </a:r>
            </a:p>
          </p:txBody>
        </p:sp>
        <p:sp>
          <p:nvSpPr>
            <p:cNvPr id="96320" name="Rectangle 110"/>
            <p:cNvSpPr>
              <a:spLocks noChangeArrowheads="1"/>
            </p:cNvSpPr>
            <p:nvPr/>
          </p:nvSpPr>
          <p:spPr bwMode="auto">
            <a:xfrm>
              <a:off x="4212" y="2952"/>
              <a:ext cx="31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3</a:t>
              </a:r>
            </a:p>
          </p:txBody>
        </p:sp>
        <p:sp>
          <p:nvSpPr>
            <p:cNvPr id="96321" name="Rectangle 111"/>
            <p:cNvSpPr>
              <a:spLocks noChangeArrowheads="1"/>
            </p:cNvSpPr>
            <p:nvPr/>
          </p:nvSpPr>
          <p:spPr bwMode="auto">
            <a:xfrm>
              <a:off x="2851" y="3105"/>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Alta</a:t>
              </a:r>
            </a:p>
          </p:txBody>
        </p:sp>
        <p:sp>
          <p:nvSpPr>
            <p:cNvPr id="96322" name="Rectangle 112"/>
            <p:cNvSpPr>
              <a:spLocks noChangeArrowheads="1"/>
            </p:cNvSpPr>
            <p:nvPr/>
          </p:nvSpPr>
          <p:spPr bwMode="auto">
            <a:xfrm>
              <a:off x="3326" y="3105"/>
              <a:ext cx="88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Presidência</a:t>
              </a:r>
            </a:p>
          </p:txBody>
        </p:sp>
        <p:sp>
          <p:nvSpPr>
            <p:cNvPr id="96323" name="Rectangle 113"/>
            <p:cNvSpPr>
              <a:spLocks noChangeArrowheads="1"/>
            </p:cNvSpPr>
            <p:nvPr/>
          </p:nvSpPr>
          <p:spPr bwMode="auto">
            <a:xfrm>
              <a:off x="4212" y="3105"/>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5</a:t>
              </a:r>
            </a:p>
          </p:txBody>
        </p:sp>
        <p:sp>
          <p:nvSpPr>
            <p:cNvPr id="96324" name="Line 114"/>
            <p:cNvSpPr>
              <a:spLocks noChangeShapeType="1"/>
            </p:cNvSpPr>
            <p:nvPr/>
          </p:nvSpPr>
          <p:spPr bwMode="auto">
            <a:xfrm>
              <a:off x="3326" y="264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25" name="Line 115"/>
            <p:cNvSpPr>
              <a:spLocks noChangeShapeType="1"/>
            </p:cNvSpPr>
            <p:nvPr/>
          </p:nvSpPr>
          <p:spPr bwMode="auto">
            <a:xfrm>
              <a:off x="3759" y="2643"/>
              <a:ext cx="0" cy="155"/>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26" name="Line 116"/>
            <p:cNvSpPr>
              <a:spLocks noChangeShapeType="1"/>
            </p:cNvSpPr>
            <p:nvPr/>
          </p:nvSpPr>
          <p:spPr bwMode="auto">
            <a:xfrm>
              <a:off x="4212" y="2643"/>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27" name="Line 117"/>
            <p:cNvSpPr>
              <a:spLocks noChangeShapeType="1"/>
            </p:cNvSpPr>
            <p:nvPr/>
          </p:nvSpPr>
          <p:spPr bwMode="auto">
            <a:xfrm>
              <a:off x="2851" y="2798"/>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28" name="Line 118"/>
            <p:cNvSpPr>
              <a:spLocks noChangeShapeType="1"/>
            </p:cNvSpPr>
            <p:nvPr/>
          </p:nvSpPr>
          <p:spPr bwMode="auto">
            <a:xfrm>
              <a:off x="2851" y="2952"/>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29" name="Line 119"/>
            <p:cNvSpPr>
              <a:spLocks noChangeShapeType="1"/>
            </p:cNvSpPr>
            <p:nvPr/>
          </p:nvSpPr>
          <p:spPr bwMode="auto">
            <a:xfrm>
              <a:off x="2851" y="3105"/>
              <a:ext cx="16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30" name="Line 120"/>
            <p:cNvSpPr>
              <a:spLocks noChangeShapeType="1"/>
            </p:cNvSpPr>
            <p:nvPr/>
          </p:nvSpPr>
          <p:spPr bwMode="auto">
            <a:xfrm>
              <a:off x="2851" y="264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31" name="Line 121"/>
            <p:cNvSpPr>
              <a:spLocks noChangeShapeType="1"/>
            </p:cNvSpPr>
            <p:nvPr/>
          </p:nvSpPr>
          <p:spPr bwMode="auto">
            <a:xfrm>
              <a:off x="4530" y="2643"/>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32" name="Line 122"/>
            <p:cNvSpPr>
              <a:spLocks noChangeShapeType="1"/>
            </p:cNvSpPr>
            <p:nvPr/>
          </p:nvSpPr>
          <p:spPr bwMode="auto">
            <a:xfrm>
              <a:off x="2851" y="2643"/>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33" name="Line 123"/>
            <p:cNvSpPr>
              <a:spLocks noChangeShapeType="1"/>
            </p:cNvSpPr>
            <p:nvPr/>
          </p:nvSpPr>
          <p:spPr bwMode="auto">
            <a:xfrm>
              <a:off x="2851" y="3259"/>
              <a:ext cx="16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grpSp>
      <p:sp>
        <p:nvSpPr>
          <p:cNvPr id="96276" name="Text Box 124"/>
          <p:cNvSpPr txBox="1">
            <a:spLocks noChangeArrowheads="1"/>
          </p:cNvSpPr>
          <p:nvPr/>
        </p:nvSpPr>
        <p:spPr bwMode="auto">
          <a:xfrm>
            <a:off x="9758363" y="2416970"/>
            <a:ext cx="3455195"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i="1">
                <a:solidFill>
                  <a:srgbClr val="CC3300"/>
                </a:solidFill>
                <a:latin typeface="Calibri" panose="020F0502020204030204" pitchFamily="34" charset="0"/>
              </a:rPr>
              <a:t>Horas de Trabalho</a:t>
            </a:r>
          </a:p>
        </p:txBody>
      </p:sp>
      <p:sp>
        <p:nvSpPr>
          <p:cNvPr id="96277" name="Text Box 125"/>
          <p:cNvSpPr txBox="1">
            <a:spLocks noChangeArrowheads="1"/>
          </p:cNvSpPr>
          <p:nvPr/>
        </p:nvSpPr>
        <p:spPr bwMode="auto">
          <a:xfrm>
            <a:off x="9758363" y="3043238"/>
            <a:ext cx="3509963"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a:solidFill>
                  <a:srgbClr val="CC3300"/>
                </a:solidFill>
                <a:latin typeface="Calibri" panose="020F0502020204030204" pitchFamily="34" charset="0"/>
              </a:rPr>
              <a:t>+</a:t>
            </a:r>
          </a:p>
        </p:txBody>
      </p:sp>
      <p:sp>
        <p:nvSpPr>
          <p:cNvPr id="96278" name="Text Box 126"/>
          <p:cNvSpPr txBox="1">
            <a:spLocks noChangeArrowheads="1"/>
          </p:cNvSpPr>
          <p:nvPr/>
        </p:nvSpPr>
        <p:spPr bwMode="auto">
          <a:xfrm>
            <a:off x="9915526" y="4233863"/>
            <a:ext cx="3509963"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i="1">
                <a:solidFill>
                  <a:srgbClr val="CC3300"/>
                </a:solidFill>
                <a:latin typeface="Calibri" panose="020F0502020204030204" pitchFamily="34" charset="0"/>
              </a:rPr>
              <a:t>Valor Investido</a:t>
            </a:r>
          </a:p>
        </p:txBody>
      </p:sp>
      <p:sp>
        <p:nvSpPr>
          <p:cNvPr id="96279" name="Text Box 127"/>
          <p:cNvSpPr txBox="1">
            <a:spLocks noChangeArrowheads="1"/>
          </p:cNvSpPr>
          <p:nvPr/>
        </p:nvSpPr>
        <p:spPr bwMode="auto">
          <a:xfrm>
            <a:off x="9915526" y="7136607"/>
            <a:ext cx="3509963"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a:solidFill>
                  <a:srgbClr val="CC3300"/>
                </a:solidFill>
                <a:latin typeface="Calibri" panose="020F0502020204030204" pitchFamily="34" charset="0"/>
              </a:rPr>
              <a:t>+</a:t>
            </a:r>
          </a:p>
        </p:txBody>
      </p:sp>
      <p:sp>
        <p:nvSpPr>
          <p:cNvPr id="96280" name="Text Box 128"/>
          <p:cNvSpPr txBox="1">
            <a:spLocks noChangeArrowheads="1"/>
          </p:cNvSpPr>
          <p:nvPr/>
        </p:nvSpPr>
        <p:spPr bwMode="auto">
          <a:xfrm>
            <a:off x="9967913" y="6372225"/>
            <a:ext cx="3348038"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i="1">
                <a:solidFill>
                  <a:srgbClr val="CC3300"/>
                </a:solidFill>
                <a:latin typeface="Calibri" panose="020F0502020204030204" pitchFamily="34" charset="0"/>
              </a:rPr>
              <a:t>Peso / Relevância</a:t>
            </a:r>
          </a:p>
        </p:txBody>
      </p:sp>
      <p:sp>
        <p:nvSpPr>
          <p:cNvPr id="96281" name="Text Box 130"/>
          <p:cNvSpPr txBox="1">
            <a:spLocks noChangeArrowheads="1"/>
          </p:cNvSpPr>
          <p:nvPr/>
        </p:nvSpPr>
        <p:spPr bwMode="auto">
          <a:xfrm>
            <a:off x="10027445" y="7722395"/>
            <a:ext cx="3288506"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i="1">
                <a:solidFill>
                  <a:srgbClr val="CC3300"/>
                </a:solidFill>
                <a:latin typeface="Calibri" panose="020F0502020204030204" pitchFamily="34" charset="0"/>
              </a:rPr>
              <a:t>Grau Complexidade</a:t>
            </a:r>
          </a:p>
        </p:txBody>
      </p:sp>
      <p:sp>
        <p:nvSpPr>
          <p:cNvPr id="96282" name="Text Box 131"/>
          <p:cNvSpPr txBox="1">
            <a:spLocks noChangeArrowheads="1"/>
          </p:cNvSpPr>
          <p:nvPr/>
        </p:nvSpPr>
        <p:spPr bwMode="auto">
          <a:xfrm>
            <a:off x="5922170" y="7593808"/>
            <a:ext cx="4105275" cy="41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Quantidade de áreas</a:t>
            </a:r>
          </a:p>
        </p:txBody>
      </p:sp>
      <p:sp>
        <p:nvSpPr>
          <p:cNvPr id="96283" name="Text Box 132"/>
          <p:cNvSpPr txBox="1">
            <a:spLocks noChangeArrowheads="1"/>
          </p:cNvSpPr>
          <p:nvPr/>
        </p:nvSpPr>
        <p:spPr bwMode="auto">
          <a:xfrm>
            <a:off x="5922170" y="5612608"/>
            <a:ext cx="4105275" cy="41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Principal Sponsor</a:t>
            </a:r>
          </a:p>
        </p:txBody>
      </p:sp>
      <p:sp>
        <p:nvSpPr>
          <p:cNvPr id="96284" name="Text Box 133"/>
          <p:cNvSpPr txBox="1">
            <a:spLocks noChangeArrowheads="1"/>
          </p:cNvSpPr>
          <p:nvPr/>
        </p:nvSpPr>
        <p:spPr bwMode="auto">
          <a:xfrm>
            <a:off x="5922170" y="3579020"/>
            <a:ext cx="4105275" cy="41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1800">
                <a:solidFill>
                  <a:srgbClr val="333333"/>
                </a:solidFill>
                <a:latin typeface="Calibri" panose="020F0502020204030204" pitchFamily="34" charset="0"/>
              </a:rPr>
              <a:t>Faixa  de Valores</a:t>
            </a:r>
          </a:p>
        </p:txBody>
      </p:sp>
      <p:grpSp>
        <p:nvGrpSpPr>
          <p:cNvPr id="96285" name="Group 158"/>
          <p:cNvGrpSpPr>
            <a:grpSpLocks/>
          </p:cNvGrpSpPr>
          <p:nvPr/>
        </p:nvGrpSpPr>
        <p:grpSpPr bwMode="auto">
          <a:xfrm>
            <a:off x="10315576" y="8274845"/>
            <a:ext cx="2807495" cy="1466850"/>
            <a:chOff x="4423" y="2908"/>
            <a:chExt cx="1179" cy="616"/>
          </a:xfrm>
        </p:grpSpPr>
        <p:sp>
          <p:nvSpPr>
            <p:cNvPr id="96291" name="Rectangle 136"/>
            <p:cNvSpPr>
              <a:spLocks noChangeArrowheads="1"/>
            </p:cNvSpPr>
            <p:nvPr/>
          </p:nvSpPr>
          <p:spPr bwMode="auto">
            <a:xfrm>
              <a:off x="4423" y="2908"/>
              <a:ext cx="475" cy="155"/>
            </a:xfrm>
            <a:prstGeom prst="rect">
              <a:avLst/>
            </a:prstGeom>
            <a:solidFill>
              <a:srgbClr val="CC33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Categ.</a:t>
              </a:r>
            </a:p>
          </p:txBody>
        </p:sp>
        <p:sp>
          <p:nvSpPr>
            <p:cNvPr id="96292" name="Rectangle 137"/>
            <p:cNvSpPr>
              <a:spLocks noChangeArrowheads="1"/>
            </p:cNvSpPr>
            <p:nvPr/>
          </p:nvSpPr>
          <p:spPr bwMode="auto">
            <a:xfrm>
              <a:off x="4898" y="2908"/>
              <a:ext cx="341" cy="155"/>
            </a:xfrm>
            <a:prstGeom prst="rect">
              <a:avLst/>
            </a:prstGeom>
            <a:solidFill>
              <a:srgbClr val="CC33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Inicial</a:t>
              </a:r>
            </a:p>
          </p:txBody>
        </p:sp>
        <p:sp>
          <p:nvSpPr>
            <p:cNvPr id="96293" name="Rectangle 138"/>
            <p:cNvSpPr>
              <a:spLocks noChangeArrowheads="1"/>
            </p:cNvSpPr>
            <p:nvPr/>
          </p:nvSpPr>
          <p:spPr bwMode="auto">
            <a:xfrm>
              <a:off x="5239" y="2908"/>
              <a:ext cx="363" cy="155"/>
            </a:xfrm>
            <a:prstGeom prst="rect">
              <a:avLst/>
            </a:prstGeom>
            <a:solidFill>
              <a:srgbClr val="CC33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000" tIns="70200" rIns="135000" bIns="70200"/>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bg1"/>
                  </a:solidFill>
                  <a:latin typeface="Calibri" panose="020F0502020204030204" pitchFamily="34" charset="0"/>
                </a:rPr>
                <a:t>Final</a:t>
              </a:r>
            </a:p>
          </p:txBody>
        </p:sp>
        <p:sp>
          <p:nvSpPr>
            <p:cNvPr id="96294" name="Rectangle 139"/>
            <p:cNvSpPr>
              <a:spLocks noChangeArrowheads="1"/>
            </p:cNvSpPr>
            <p:nvPr/>
          </p:nvSpPr>
          <p:spPr bwMode="auto">
            <a:xfrm>
              <a:off x="4423" y="3063"/>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Pequeno</a:t>
              </a:r>
            </a:p>
          </p:txBody>
        </p:sp>
        <p:sp>
          <p:nvSpPr>
            <p:cNvPr id="96295" name="Rectangle 140"/>
            <p:cNvSpPr>
              <a:spLocks noChangeArrowheads="1"/>
            </p:cNvSpPr>
            <p:nvPr/>
          </p:nvSpPr>
          <p:spPr bwMode="auto">
            <a:xfrm>
              <a:off x="4898" y="3063"/>
              <a:ext cx="34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a:t>
              </a:r>
            </a:p>
          </p:txBody>
        </p:sp>
        <p:sp>
          <p:nvSpPr>
            <p:cNvPr id="96296" name="Rectangle 141"/>
            <p:cNvSpPr>
              <a:spLocks noChangeArrowheads="1"/>
            </p:cNvSpPr>
            <p:nvPr/>
          </p:nvSpPr>
          <p:spPr bwMode="auto">
            <a:xfrm>
              <a:off x="5239" y="3063"/>
              <a:ext cx="36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8</a:t>
              </a:r>
            </a:p>
          </p:txBody>
        </p:sp>
        <p:sp>
          <p:nvSpPr>
            <p:cNvPr id="96297" name="Rectangle 142"/>
            <p:cNvSpPr>
              <a:spLocks noChangeArrowheads="1"/>
            </p:cNvSpPr>
            <p:nvPr/>
          </p:nvSpPr>
          <p:spPr bwMode="auto">
            <a:xfrm>
              <a:off x="4423" y="3217"/>
              <a:ext cx="475"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Médio</a:t>
              </a:r>
            </a:p>
          </p:txBody>
        </p:sp>
        <p:sp>
          <p:nvSpPr>
            <p:cNvPr id="96298" name="Rectangle 143"/>
            <p:cNvSpPr>
              <a:spLocks noChangeArrowheads="1"/>
            </p:cNvSpPr>
            <p:nvPr/>
          </p:nvSpPr>
          <p:spPr bwMode="auto">
            <a:xfrm>
              <a:off x="4898" y="3217"/>
              <a:ext cx="341"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9</a:t>
              </a:r>
            </a:p>
          </p:txBody>
        </p:sp>
        <p:sp>
          <p:nvSpPr>
            <p:cNvPr id="96299" name="Rectangle 144"/>
            <p:cNvSpPr>
              <a:spLocks noChangeArrowheads="1"/>
            </p:cNvSpPr>
            <p:nvPr/>
          </p:nvSpPr>
          <p:spPr bwMode="auto">
            <a:xfrm>
              <a:off x="5239" y="3217"/>
              <a:ext cx="363"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13</a:t>
              </a:r>
            </a:p>
          </p:txBody>
        </p:sp>
        <p:sp>
          <p:nvSpPr>
            <p:cNvPr id="96300" name="Rectangle 145"/>
            <p:cNvSpPr>
              <a:spLocks noChangeArrowheads="1"/>
            </p:cNvSpPr>
            <p:nvPr/>
          </p:nvSpPr>
          <p:spPr bwMode="auto">
            <a:xfrm>
              <a:off x="4423" y="3370"/>
              <a:ext cx="47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Grande</a:t>
              </a:r>
            </a:p>
          </p:txBody>
        </p:sp>
        <p:sp>
          <p:nvSpPr>
            <p:cNvPr id="96301" name="Rectangle 146"/>
            <p:cNvSpPr>
              <a:spLocks noChangeArrowheads="1"/>
            </p:cNvSpPr>
            <p:nvPr/>
          </p:nvSpPr>
          <p:spPr bwMode="auto">
            <a:xfrm>
              <a:off x="4898" y="3370"/>
              <a:ext cx="70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buFontTx/>
                <a:buNone/>
              </a:pPr>
              <a:r>
                <a:rPr lang="pt-BR" altLang="pt-BR" sz="1500">
                  <a:solidFill>
                    <a:schemeClr val="tx1"/>
                  </a:solidFill>
                  <a:latin typeface="Calibri" panose="020F0502020204030204" pitchFamily="34" charset="0"/>
                </a:rPr>
                <a:t>&gt; =  14</a:t>
              </a:r>
            </a:p>
          </p:txBody>
        </p:sp>
        <p:sp>
          <p:nvSpPr>
            <p:cNvPr id="96302" name="Line 147"/>
            <p:cNvSpPr>
              <a:spLocks noChangeShapeType="1"/>
            </p:cNvSpPr>
            <p:nvPr/>
          </p:nvSpPr>
          <p:spPr bwMode="auto">
            <a:xfrm>
              <a:off x="4898" y="2908"/>
              <a:ext cx="0" cy="61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3" name="Line 148"/>
            <p:cNvSpPr>
              <a:spLocks noChangeShapeType="1"/>
            </p:cNvSpPr>
            <p:nvPr/>
          </p:nvSpPr>
          <p:spPr bwMode="auto">
            <a:xfrm>
              <a:off x="5239" y="2908"/>
              <a:ext cx="0" cy="4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4" name="Line 149"/>
            <p:cNvSpPr>
              <a:spLocks noChangeShapeType="1"/>
            </p:cNvSpPr>
            <p:nvPr/>
          </p:nvSpPr>
          <p:spPr bwMode="auto">
            <a:xfrm>
              <a:off x="4423" y="3063"/>
              <a:ext cx="11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5" name="Line 150"/>
            <p:cNvSpPr>
              <a:spLocks noChangeShapeType="1"/>
            </p:cNvSpPr>
            <p:nvPr/>
          </p:nvSpPr>
          <p:spPr bwMode="auto">
            <a:xfrm>
              <a:off x="4423" y="3217"/>
              <a:ext cx="11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6" name="Line 151"/>
            <p:cNvSpPr>
              <a:spLocks noChangeShapeType="1"/>
            </p:cNvSpPr>
            <p:nvPr/>
          </p:nvSpPr>
          <p:spPr bwMode="auto">
            <a:xfrm>
              <a:off x="4423" y="3370"/>
              <a:ext cx="1179"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7" name="Line 152"/>
            <p:cNvSpPr>
              <a:spLocks noChangeShapeType="1"/>
            </p:cNvSpPr>
            <p:nvPr/>
          </p:nvSpPr>
          <p:spPr bwMode="auto">
            <a:xfrm>
              <a:off x="4423" y="2908"/>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8" name="Line 153"/>
            <p:cNvSpPr>
              <a:spLocks noChangeShapeType="1"/>
            </p:cNvSpPr>
            <p:nvPr/>
          </p:nvSpPr>
          <p:spPr bwMode="auto">
            <a:xfrm>
              <a:off x="5602" y="2908"/>
              <a:ext cx="0" cy="61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09" name="Line 154"/>
            <p:cNvSpPr>
              <a:spLocks noChangeShapeType="1"/>
            </p:cNvSpPr>
            <p:nvPr/>
          </p:nvSpPr>
          <p:spPr bwMode="auto">
            <a:xfrm>
              <a:off x="4423" y="2908"/>
              <a:ext cx="11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sp>
          <p:nvSpPr>
            <p:cNvPr id="96310" name="Line 155"/>
            <p:cNvSpPr>
              <a:spLocks noChangeShapeType="1"/>
            </p:cNvSpPr>
            <p:nvPr/>
          </p:nvSpPr>
          <p:spPr bwMode="auto">
            <a:xfrm>
              <a:off x="4423" y="3524"/>
              <a:ext cx="1179"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pt-BR"/>
            </a:p>
          </p:txBody>
        </p:sp>
      </p:grpSp>
      <p:sp>
        <p:nvSpPr>
          <p:cNvPr id="96286" name="Text Box 156"/>
          <p:cNvSpPr txBox="1">
            <a:spLocks noChangeArrowheads="1"/>
          </p:cNvSpPr>
          <p:nvPr/>
        </p:nvSpPr>
        <p:spPr bwMode="auto">
          <a:xfrm>
            <a:off x="9946483" y="8077200"/>
            <a:ext cx="3509963"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a:solidFill>
                  <a:srgbClr val="CC3300"/>
                </a:solidFill>
                <a:latin typeface="Calibri" panose="020F0502020204030204" pitchFamily="34" charset="0"/>
              </a:rPr>
              <a:t>=</a:t>
            </a:r>
          </a:p>
        </p:txBody>
      </p:sp>
      <p:sp>
        <p:nvSpPr>
          <p:cNvPr id="152" name="Text Box 47"/>
          <p:cNvSpPr txBox="1">
            <a:spLocks noChangeArrowheads="1"/>
          </p:cNvSpPr>
          <p:nvPr/>
        </p:nvSpPr>
        <p:spPr bwMode="auto">
          <a:xfrm>
            <a:off x="9758363" y="1652588"/>
            <a:ext cx="3400425" cy="506777"/>
          </a:xfrm>
          <a:prstGeom prst="rect">
            <a:avLst/>
          </a:prstGeom>
          <a:noFill/>
          <a:ln w="9525">
            <a:noFill/>
            <a:miter lim="800000"/>
            <a:headEnd/>
            <a:tailEnd/>
          </a:ln>
          <a:effectLst/>
        </p:spPr>
        <p:txBody>
          <a:bodyPr lIns="136145" tIns="68058" rIns="136145" bIns="68058">
            <a:spAutoFit/>
          </a:bodyPr>
          <a:lstStyle/>
          <a:p>
            <a:pPr eaLnBrk="1" hangingPunct="1">
              <a:spcBef>
                <a:spcPct val="50000"/>
              </a:spcBef>
              <a:defRPr/>
            </a:pPr>
            <a:r>
              <a:rPr lang="pt-BR" sz="2400" u="sng" dirty="0">
                <a:solidFill>
                  <a:srgbClr val="CC3300"/>
                </a:solidFill>
                <a:effectLst>
                  <a:outerShdw blurRad="38100" dist="38100" dir="2700000" algn="tl">
                    <a:srgbClr val="C0C0C0"/>
                  </a:outerShdw>
                </a:effectLst>
                <a:latin typeface="Calibri" panose="020F0502020204030204" pitchFamily="34" charset="0"/>
              </a:rPr>
              <a:t>Modelo de Cálculo:</a:t>
            </a:r>
          </a:p>
        </p:txBody>
      </p:sp>
      <p:sp>
        <p:nvSpPr>
          <p:cNvPr id="96288" name="Text Box 127"/>
          <p:cNvSpPr txBox="1">
            <a:spLocks noChangeArrowheads="1"/>
          </p:cNvSpPr>
          <p:nvPr/>
        </p:nvSpPr>
        <p:spPr bwMode="auto">
          <a:xfrm>
            <a:off x="9915526" y="5253038"/>
            <a:ext cx="3509963" cy="50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6145" tIns="68058" rIns="136145" bIns="68058">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2400">
                <a:solidFill>
                  <a:srgbClr val="CC3300"/>
                </a:solidFill>
                <a:latin typeface="Calibri" panose="020F0502020204030204" pitchFamily="34" charset="0"/>
              </a:rPr>
              <a:t>+</a:t>
            </a:r>
          </a:p>
        </p:txBody>
      </p:sp>
      <p:sp>
        <p:nvSpPr>
          <p:cNvPr id="153" name="CaixaDeTexto 152"/>
          <p:cNvSpPr txBox="1"/>
          <p:nvPr/>
        </p:nvSpPr>
        <p:spPr>
          <a:xfrm rot="19954974">
            <a:off x="10685101" y="5166263"/>
            <a:ext cx="2426493" cy="461665"/>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pPr algn="ctr">
              <a:defRPr/>
            </a:pPr>
            <a:r>
              <a:rPr lang="pt-BR" sz="2400" dirty="0"/>
              <a:t>EXEMPLOS</a:t>
            </a:r>
          </a:p>
        </p:txBody>
      </p:sp>
      <p:sp>
        <p:nvSpPr>
          <p:cNvPr id="96290" name="Text Box 3"/>
          <p:cNvSpPr txBox="1">
            <a:spLocks noChangeArrowheads="1"/>
          </p:cNvSpPr>
          <p:nvPr/>
        </p:nvSpPr>
        <p:spPr bwMode="auto">
          <a:xfrm>
            <a:off x="485775" y="1"/>
            <a:ext cx="117729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600" dirty="0">
                <a:solidFill>
                  <a:schemeClr val="tx1"/>
                </a:solidFill>
                <a:latin typeface="Arial" panose="020B0604020202020204" pitchFamily="34" charset="0"/>
                <a:ea typeface="MS PGothic" panose="020B0600070205080204" pitchFamily="34" charset="-128"/>
              </a:rPr>
              <a:t>           Exemplos de critérios de Avaliação</a:t>
            </a:r>
          </a:p>
        </p:txBody>
      </p:sp>
      <p:sp>
        <p:nvSpPr>
          <p:cNvPr id="154" name="Text Placeholder 1"/>
          <p:cNvSpPr txBox="1">
            <a:spLocks/>
          </p:cNvSpPr>
          <p:nvPr/>
        </p:nvSpPr>
        <p:spPr>
          <a:xfrm>
            <a:off x="768608" y="795659"/>
            <a:ext cx="12036959" cy="648071"/>
          </a:xfrm>
          <a:prstGeom prst="rect">
            <a:avLst/>
          </a:prstGeom>
        </p:spPr>
        <p:txBody>
          <a:bodyPr/>
          <a:lstStyle>
            <a:lvl1pPr marL="385715" indent="-385715" algn="l" rtl="0" eaLnBrk="1" fontAlgn="base" hangingPunct="1">
              <a:spcBef>
                <a:spcPct val="20000"/>
              </a:spcBef>
              <a:spcAft>
                <a:spcPct val="0"/>
              </a:spcAft>
              <a:buFont typeface="Arial" panose="020B0604020202020204" pitchFamily="34" charset="0"/>
              <a:buChar char="•"/>
              <a:defRPr sz="3600" kern="1200">
                <a:solidFill>
                  <a:schemeClr val="tx1"/>
                </a:solidFill>
                <a:latin typeface="+mn-lt"/>
                <a:ea typeface="+mn-ea"/>
                <a:cs typeface="+mn-cs"/>
              </a:defRPr>
            </a:lvl1pPr>
            <a:lvl2pPr marL="835715" indent="-321429" algn="l"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2pPr>
            <a:lvl3pPr marL="1285716" indent="-257144" algn="l" rtl="0" eaLnBrk="1" fontAlgn="base" hangingPunct="1">
              <a:spcBef>
                <a:spcPct val="20000"/>
              </a:spcBef>
              <a:spcAft>
                <a:spcPct val="0"/>
              </a:spcAft>
              <a:buFont typeface="Arial" panose="020B0604020202020204" pitchFamily="34" charset="0"/>
              <a:buChar char="•"/>
              <a:defRPr sz="2700" kern="1200">
                <a:solidFill>
                  <a:schemeClr val="tx1"/>
                </a:solidFill>
                <a:latin typeface="+mn-lt"/>
                <a:ea typeface="+mn-ea"/>
                <a:cs typeface="+mn-cs"/>
              </a:defRPr>
            </a:lvl3pPr>
            <a:lvl4pPr marL="1800000"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4pPr>
            <a:lvl5pPr marL="2314289" indent="-257144" algn="l" rtl="0" eaLnBrk="1" fontAlgn="base" hangingPunct="1">
              <a:spcBef>
                <a:spcPct val="20000"/>
              </a:spcBef>
              <a:spcAft>
                <a:spcPct val="0"/>
              </a:spcAft>
              <a:buFont typeface="Arial" panose="020B0604020202020204" pitchFamily="34" charset="0"/>
              <a:buChar char="»"/>
              <a:defRPr sz="2249" kern="1200">
                <a:solidFill>
                  <a:schemeClr val="tx1"/>
                </a:solidFill>
                <a:latin typeface="+mn-lt"/>
                <a:ea typeface="+mn-ea"/>
                <a:cs typeface="+mn-cs"/>
              </a:defRPr>
            </a:lvl5pPr>
            <a:lvl6pPr marL="2828574"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6pPr>
            <a:lvl7pPr marL="3342860"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7pPr>
            <a:lvl8pPr marL="3857147"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8pPr>
            <a:lvl9pPr marL="4371432" indent="-257144" algn="l" defTabSz="1028573" rtl="0" eaLnBrk="1" latinLnBrk="0" hangingPunct="1">
              <a:spcBef>
                <a:spcPct val="20000"/>
              </a:spcBef>
              <a:buFont typeface="Arial" pitchFamily="34" charset="0"/>
              <a:buChar char="•"/>
              <a:defRPr sz="2249" kern="1200">
                <a:solidFill>
                  <a:schemeClr val="tx1"/>
                </a:solidFill>
                <a:latin typeface="+mn-lt"/>
                <a:ea typeface="+mn-ea"/>
                <a:cs typeface="+mn-cs"/>
              </a:defRPr>
            </a:lvl9pPr>
          </a:lstStyle>
          <a:p>
            <a:pPr marL="0" indent="0" algn="ctr">
              <a:buNone/>
            </a:pPr>
            <a:r>
              <a:rPr lang="pt-BR" dirty="0"/>
              <a:t>Porte dos Projetos</a:t>
            </a:r>
          </a:p>
        </p:txBody>
      </p:sp>
    </p:spTree>
    <p:custDataLst>
      <p:tags r:id="rId1"/>
    </p:custDataLst>
    <p:extLst>
      <p:ext uri="{BB962C8B-B14F-4D97-AF65-F5344CB8AC3E}">
        <p14:creationId xmlns:p14="http://schemas.microsoft.com/office/powerpoint/2010/main" val="63976931"/>
      </p:ext>
    </p:extLst>
  </p:cSld>
  <p:clrMapOvr>
    <a:masterClrMapping/>
  </p:clrMapOvr>
  <p:transition spd="med">
    <p:strips dir="rd"/>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19"/>
          <p:cNvPicPr>
            <a:picLocks noChangeAspect="1" noChangeArrowheads="1"/>
          </p:cNvPicPr>
          <p:nvPr/>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7625" y="1902620"/>
            <a:ext cx="7148513"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8415">
                <a:solidFill>
                  <a:srgbClr val="000000"/>
                </a:solidFill>
                <a:miter lim="800000"/>
                <a:headEnd/>
                <a:tailEnd/>
              </a14:hiddenLine>
            </a:ext>
          </a:extLst>
        </p:spPr>
      </p:pic>
      <p:sp>
        <p:nvSpPr>
          <p:cNvPr id="99331" name="Text Box 3"/>
          <p:cNvSpPr txBox="1">
            <a:spLocks noChangeArrowheads="1"/>
          </p:cNvSpPr>
          <p:nvPr/>
        </p:nvSpPr>
        <p:spPr bwMode="auto">
          <a:xfrm>
            <a:off x="305272" y="817260"/>
            <a:ext cx="123110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000" dirty="0">
                <a:solidFill>
                  <a:schemeClr val="tx1"/>
                </a:solidFill>
                <a:latin typeface="Arial" panose="020B0604020202020204" pitchFamily="34" charset="0"/>
                <a:ea typeface="MS PGothic" panose="020B0600070205080204" pitchFamily="34" charset="-128"/>
              </a:rPr>
              <a:t>Outros Exemplos de critérios: Seleção, Avaliação e Priorização</a:t>
            </a:r>
          </a:p>
        </p:txBody>
      </p:sp>
      <p:sp>
        <p:nvSpPr>
          <p:cNvPr id="10" name="CaixaDeTexto 5"/>
          <p:cNvSpPr txBox="1"/>
          <p:nvPr/>
        </p:nvSpPr>
        <p:spPr>
          <a:xfrm rot="19954974">
            <a:off x="8005763" y="8676235"/>
            <a:ext cx="2426495" cy="461665"/>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pPr algn="ctr">
              <a:defRPr/>
            </a:pPr>
            <a:r>
              <a:rPr lang="pt-BR" sz="2400" dirty="0"/>
              <a:t>EXEMPLOS</a:t>
            </a:r>
          </a:p>
        </p:txBody>
      </p:sp>
      <p:sp>
        <p:nvSpPr>
          <p:cNvPr id="2" name="Retângulo 1"/>
          <p:cNvSpPr/>
          <p:nvPr/>
        </p:nvSpPr>
        <p:spPr>
          <a:xfrm>
            <a:off x="6863542" y="1902620"/>
            <a:ext cx="6534150" cy="6740307"/>
          </a:xfrm>
          <a:prstGeom prst="rect">
            <a:avLst/>
          </a:prstGeom>
        </p:spPr>
        <p:txBody>
          <a:bodyPr>
            <a:spAutoFit/>
          </a:bodyPr>
          <a:lstStyle/>
          <a:p>
            <a:pPr>
              <a:defRPr/>
            </a:pPr>
            <a:r>
              <a:rPr lang="pt-BR" altLang="pt-BR" sz="2400" b="1" dirty="0">
                <a:solidFill>
                  <a:srgbClr val="FF0000"/>
                </a:solidFill>
              </a:rPr>
              <a:t>CRITÉRIOS ADMINISTRATIVOS:</a:t>
            </a:r>
          </a:p>
          <a:p>
            <a:pPr marL="428625" indent="-428625">
              <a:buClr>
                <a:srgbClr val="FF0000"/>
              </a:buClr>
              <a:buFont typeface="Wingdings" panose="05000000000000000000" pitchFamily="2" charset="2"/>
              <a:buChar char="ü"/>
              <a:defRPr/>
            </a:pPr>
            <a:r>
              <a:rPr lang="pt-BR" altLang="pt-BR" sz="2400" dirty="0"/>
              <a:t>Impacto </a:t>
            </a:r>
            <a:r>
              <a:rPr lang="pt-BR" altLang="pt-BR" sz="2400"/>
              <a:t>político;</a:t>
            </a:r>
          </a:p>
          <a:p>
            <a:pPr marL="428625" indent="-428625">
              <a:buClr>
                <a:srgbClr val="FF0000"/>
              </a:buClr>
              <a:buFont typeface="Wingdings" panose="05000000000000000000" pitchFamily="2" charset="2"/>
              <a:buChar char="ü"/>
              <a:defRPr/>
            </a:pPr>
            <a:r>
              <a:rPr lang="pt-BR" altLang="pt-BR" sz="2400"/>
              <a:t>Impacto social;</a:t>
            </a:r>
            <a:endParaRPr lang="pt-BR" altLang="pt-BR" sz="2400" dirty="0"/>
          </a:p>
          <a:p>
            <a:pPr marL="428625" indent="-428625">
              <a:buClr>
                <a:srgbClr val="FF0000"/>
              </a:buClr>
              <a:buFont typeface="Wingdings" panose="05000000000000000000" pitchFamily="2" charset="2"/>
              <a:buChar char="ü"/>
              <a:defRPr/>
            </a:pPr>
            <a:r>
              <a:rPr lang="pt-BR" altLang="pt-BR" sz="2400" dirty="0"/>
              <a:t>Impacto ambiental;</a:t>
            </a:r>
          </a:p>
          <a:p>
            <a:pPr marL="428625" indent="-428625">
              <a:buClr>
                <a:srgbClr val="FF0000"/>
              </a:buClr>
              <a:buFont typeface="Wingdings" panose="05000000000000000000" pitchFamily="2" charset="2"/>
              <a:buChar char="ü"/>
              <a:defRPr/>
            </a:pPr>
            <a:r>
              <a:rPr lang="pt-BR" altLang="pt-BR" sz="2400" dirty="0"/>
              <a:t>Reação potencias dos acionistas;</a:t>
            </a:r>
          </a:p>
          <a:p>
            <a:pPr marL="428625" indent="-428625">
              <a:buClr>
                <a:srgbClr val="FF0000"/>
              </a:buClr>
              <a:buFont typeface="Wingdings" panose="05000000000000000000" pitchFamily="2" charset="2"/>
              <a:buChar char="ü"/>
              <a:defRPr/>
            </a:pPr>
            <a:r>
              <a:rPr lang="pt-BR" altLang="pt-BR" sz="2400" dirty="0"/>
              <a:t>Impacto em imagem;</a:t>
            </a:r>
          </a:p>
          <a:p>
            <a:pPr marL="428625" indent="-428625">
              <a:buClr>
                <a:srgbClr val="FF0000"/>
              </a:buClr>
              <a:buFont typeface="Wingdings" panose="05000000000000000000" pitchFamily="2" charset="2"/>
              <a:buChar char="ü"/>
              <a:defRPr/>
            </a:pPr>
            <a:r>
              <a:rPr lang="pt-BR" altLang="pt-BR" sz="2400" dirty="0"/>
              <a:t>Capacidade gerencial para administrar a iniciativa/projeto;</a:t>
            </a:r>
          </a:p>
          <a:p>
            <a:pPr marL="428625" indent="-428625">
              <a:buClr>
                <a:srgbClr val="FF0000"/>
              </a:buClr>
              <a:buFont typeface="Wingdings" panose="05000000000000000000" pitchFamily="2" charset="2"/>
              <a:buChar char="ü"/>
              <a:defRPr/>
            </a:pPr>
            <a:r>
              <a:rPr lang="pt-BR" altLang="pt-BR" sz="2400" b="1" dirty="0"/>
              <a:t>Efetividade: </a:t>
            </a:r>
            <a:r>
              <a:rPr lang="pt-BR" altLang="pt-BR" sz="2400" dirty="0"/>
              <a:t>nível de esforço requerido, capacidade da empresa de conduzir o projeto, risco de viabilidade do projeto;</a:t>
            </a:r>
          </a:p>
          <a:p>
            <a:pPr marL="428625" indent="-428625">
              <a:buClr>
                <a:srgbClr val="FF0000"/>
              </a:buClr>
              <a:buFont typeface="Wingdings" panose="05000000000000000000" pitchFamily="2" charset="2"/>
              <a:buChar char="ü"/>
              <a:defRPr/>
            </a:pPr>
            <a:r>
              <a:rPr lang="pt-BR" altLang="pt-BR" sz="2400" b="1" dirty="0"/>
              <a:t>Aderência: </a:t>
            </a:r>
            <a:r>
              <a:rPr lang="pt-BR" altLang="pt-BR" sz="2400" dirty="0"/>
              <a:t>Quanto um projeto está alinhado aos objetivos estratégicos da empresa a médio e longo prazo;</a:t>
            </a:r>
          </a:p>
          <a:p>
            <a:pPr marL="428625" indent="-428625">
              <a:buClr>
                <a:srgbClr val="FF0000"/>
              </a:buClr>
              <a:buFont typeface="Wingdings" panose="05000000000000000000" pitchFamily="2" charset="2"/>
              <a:buChar char="ü"/>
              <a:defRPr/>
            </a:pPr>
            <a:r>
              <a:rPr lang="pt-BR" altLang="pt-BR" sz="2400" dirty="0"/>
              <a:t>Resistência dos envolvidos;</a:t>
            </a:r>
          </a:p>
          <a:p>
            <a:pPr marL="428625" indent="-428625">
              <a:buClr>
                <a:srgbClr val="FF0000"/>
              </a:buClr>
              <a:buFont typeface="Wingdings" panose="05000000000000000000" pitchFamily="2" charset="2"/>
              <a:buChar char="ü"/>
              <a:defRPr/>
            </a:pPr>
            <a:r>
              <a:rPr lang="pt-BR" altLang="pt-BR" sz="2400" dirty="0"/>
              <a:t>Porte do projeto.</a:t>
            </a:r>
          </a:p>
          <a:p>
            <a:pPr marL="428625" indent="-428625">
              <a:buFontTx/>
              <a:buChar char="-"/>
              <a:defRPr/>
            </a:pPr>
            <a:endParaRPr lang="pt-BR" altLang="pt-BR" sz="2400" dirty="0"/>
          </a:p>
          <a:p>
            <a:pPr marL="428625" indent="-428625">
              <a:buFontTx/>
              <a:buChar char="-"/>
              <a:defRPr/>
            </a:pPr>
            <a:endParaRPr lang="pt-BR" altLang="pt-BR" sz="2400" dirty="0"/>
          </a:p>
        </p:txBody>
      </p:sp>
      <p:sp>
        <p:nvSpPr>
          <p:cNvPr id="3" name="Retângulo 2"/>
          <p:cNvSpPr/>
          <p:nvPr/>
        </p:nvSpPr>
        <p:spPr>
          <a:xfrm>
            <a:off x="802483" y="7150895"/>
            <a:ext cx="6262688" cy="2677656"/>
          </a:xfrm>
          <a:prstGeom prst="rect">
            <a:avLst/>
          </a:prstGeom>
        </p:spPr>
        <p:txBody>
          <a:bodyPr>
            <a:spAutoFit/>
          </a:bodyPr>
          <a:lstStyle/>
          <a:p>
            <a:pPr>
              <a:buClr>
                <a:srgbClr val="FF0000"/>
              </a:buClr>
              <a:defRPr/>
            </a:pPr>
            <a:r>
              <a:rPr lang="pt-BR" altLang="pt-BR" sz="2400" b="1" dirty="0">
                <a:solidFill>
                  <a:srgbClr val="FF0000"/>
                </a:solidFill>
              </a:rPr>
              <a:t>CRITÉRIOS FINANCEIROS:</a:t>
            </a:r>
          </a:p>
          <a:p>
            <a:pPr marL="428625" indent="-428625">
              <a:buClr>
                <a:srgbClr val="FF0000"/>
              </a:buClr>
              <a:buFont typeface="Wingdings" panose="05000000000000000000" pitchFamily="2" charset="2"/>
              <a:buChar char="ü"/>
              <a:defRPr/>
            </a:pPr>
            <a:r>
              <a:rPr lang="pt-BR" altLang="pt-BR" sz="2400" dirty="0"/>
              <a:t>Investimento necessário;</a:t>
            </a:r>
          </a:p>
          <a:p>
            <a:pPr marL="428625" indent="-428625">
              <a:buClr>
                <a:srgbClr val="FF0000"/>
              </a:buClr>
              <a:buFont typeface="Wingdings" panose="05000000000000000000" pitchFamily="2" charset="2"/>
              <a:buChar char="ü"/>
              <a:defRPr/>
            </a:pPr>
            <a:r>
              <a:rPr lang="pt-BR" altLang="pt-BR" sz="2400" dirty="0"/>
              <a:t>Lucratividade;</a:t>
            </a:r>
          </a:p>
          <a:p>
            <a:pPr marL="428625" indent="-428625">
              <a:buClr>
                <a:srgbClr val="FF0000"/>
              </a:buClr>
              <a:buFont typeface="Wingdings" panose="05000000000000000000" pitchFamily="2" charset="2"/>
              <a:buChar char="ü"/>
              <a:defRPr/>
            </a:pPr>
            <a:r>
              <a:rPr lang="pt-BR" altLang="pt-BR" sz="2400" dirty="0"/>
              <a:t>Impacto no fluxo de caixa;</a:t>
            </a:r>
          </a:p>
          <a:p>
            <a:pPr marL="428625" indent="-428625">
              <a:buClr>
                <a:srgbClr val="FF0000"/>
              </a:buClr>
              <a:buFont typeface="Wingdings" panose="05000000000000000000" pitchFamily="2" charset="2"/>
              <a:buChar char="ü"/>
              <a:defRPr/>
            </a:pPr>
            <a:r>
              <a:rPr lang="pt-BR" altLang="pt-BR" sz="2400" dirty="0"/>
              <a:t>Período de </a:t>
            </a:r>
            <a:r>
              <a:rPr lang="pt-BR" altLang="pt-BR" sz="2400" dirty="0" err="1"/>
              <a:t>Payback</a:t>
            </a:r>
            <a:r>
              <a:rPr lang="pt-BR" altLang="pt-BR" sz="2400" dirty="0"/>
              <a:t>;</a:t>
            </a:r>
          </a:p>
          <a:p>
            <a:pPr marL="428625" indent="-428625">
              <a:buClr>
                <a:srgbClr val="FF0000"/>
              </a:buClr>
              <a:buFont typeface="Wingdings" panose="05000000000000000000" pitchFamily="2" charset="2"/>
              <a:buChar char="ü"/>
              <a:defRPr/>
            </a:pPr>
            <a:r>
              <a:rPr lang="pt-BR" altLang="pt-BR" sz="2400" dirty="0"/>
              <a:t>ROI;</a:t>
            </a:r>
          </a:p>
          <a:p>
            <a:pPr marL="428625" indent="-428625">
              <a:buClr>
                <a:srgbClr val="FF0000"/>
              </a:buClr>
              <a:buFont typeface="Wingdings" panose="05000000000000000000" pitchFamily="2" charset="2"/>
              <a:buChar char="ü"/>
              <a:defRPr/>
            </a:pPr>
            <a:r>
              <a:rPr lang="pt-BR" altLang="pt-BR" sz="2400" dirty="0"/>
              <a:t>TIR.</a:t>
            </a:r>
          </a:p>
        </p:txBody>
      </p:sp>
    </p:spTree>
    <p:custDataLst>
      <p:tags r:id="rId1"/>
    </p:custDataLst>
    <p:extLst>
      <p:ext uri="{BB962C8B-B14F-4D97-AF65-F5344CB8AC3E}">
        <p14:creationId xmlns:p14="http://schemas.microsoft.com/office/powerpoint/2010/main" val="3013784792"/>
      </p:ext>
    </p:extLst>
  </p:cSld>
  <p:clrMapOvr>
    <a:masterClrMapping/>
  </p:clrMapOvr>
  <p:transition spd="slow">
    <p:strips dir="rd"/>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a 1"/>
          <p:cNvGraphicFramePr>
            <a:graphicFrameLocks noGrp="1"/>
          </p:cNvGraphicFramePr>
          <p:nvPr>
            <p:extLst>
              <p:ext uri="{D42A27DB-BD31-4B8C-83A1-F6EECF244321}">
                <p14:modId xmlns:p14="http://schemas.microsoft.com/office/powerpoint/2010/main" val="2397858394"/>
              </p:ext>
            </p:extLst>
          </p:nvPr>
        </p:nvGraphicFramePr>
        <p:xfrm>
          <a:off x="701316" y="3925587"/>
          <a:ext cx="11745000" cy="4350262"/>
        </p:xfrm>
        <a:graphic>
          <a:graphicData uri="http://schemas.openxmlformats.org/drawingml/2006/table">
            <a:tbl>
              <a:tblPr firstRow="1" firstCol="1" bandRow="1">
                <a:tableStyleId>{6E25E649-3F16-4E02-A733-19D2CDBF48F0}</a:tableStyleId>
              </a:tblPr>
              <a:tblGrid>
                <a:gridCol w="2052000">
                  <a:extLst>
                    <a:ext uri="{9D8B030D-6E8A-4147-A177-3AD203B41FA5}">
                      <a16:colId xmlns:a16="http://schemas.microsoft.com/office/drawing/2014/main" val="20000"/>
                    </a:ext>
                  </a:extLst>
                </a:gridCol>
                <a:gridCol w="2646000">
                  <a:extLst>
                    <a:ext uri="{9D8B030D-6E8A-4147-A177-3AD203B41FA5}">
                      <a16:colId xmlns:a16="http://schemas.microsoft.com/office/drawing/2014/main" val="20001"/>
                    </a:ext>
                  </a:extLst>
                </a:gridCol>
                <a:gridCol w="2349000">
                  <a:extLst>
                    <a:ext uri="{9D8B030D-6E8A-4147-A177-3AD203B41FA5}">
                      <a16:colId xmlns:a16="http://schemas.microsoft.com/office/drawing/2014/main" val="20002"/>
                    </a:ext>
                  </a:extLst>
                </a:gridCol>
                <a:gridCol w="2349000">
                  <a:extLst>
                    <a:ext uri="{9D8B030D-6E8A-4147-A177-3AD203B41FA5}">
                      <a16:colId xmlns:a16="http://schemas.microsoft.com/office/drawing/2014/main" val="20003"/>
                    </a:ext>
                  </a:extLst>
                </a:gridCol>
                <a:gridCol w="2349000">
                  <a:extLst>
                    <a:ext uri="{9D8B030D-6E8A-4147-A177-3AD203B41FA5}">
                      <a16:colId xmlns:a16="http://schemas.microsoft.com/office/drawing/2014/main" val="20004"/>
                    </a:ext>
                  </a:extLst>
                </a:gridCol>
              </a:tblGrid>
              <a:tr h="509782">
                <a:tc>
                  <a:txBody>
                    <a:bodyPr/>
                    <a:lstStyle/>
                    <a:p>
                      <a:pPr algn="ctr">
                        <a:lnSpc>
                          <a:spcPct val="100000"/>
                        </a:lnSpc>
                        <a:spcAft>
                          <a:spcPts val="0"/>
                        </a:spcAft>
                      </a:pPr>
                      <a:r>
                        <a:rPr lang="pt-BR" sz="2300" dirty="0">
                          <a:solidFill>
                            <a:schemeClr val="tx1"/>
                          </a:solidFill>
                          <a:effectLst/>
                        </a:rPr>
                        <a:t>projeto</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projeto 1</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projeto 2</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projeto 3</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projeto 4</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extLst>
                  <a:ext uri="{0D108BD9-81ED-4DB2-BD59-A6C34878D82A}">
                    <a16:rowId xmlns:a16="http://schemas.microsoft.com/office/drawing/2014/main" val="10000"/>
                  </a:ext>
                </a:extLst>
              </a:tr>
              <a:tr h="960120">
                <a:tc>
                  <a:txBody>
                    <a:bodyPr/>
                    <a:lstStyle/>
                    <a:p>
                      <a:pPr algn="ctr">
                        <a:lnSpc>
                          <a:spcPct val="100000"/>
                        </a:lnSpc>
                        <a:spcAft>
                          <a:spcPts val="0"/>
                        </a:spcAft>
                      </a:pPr>
                      <a:r>
                        <a:rPr lang="pt-BR" sz="2300" dirty="0">
                          <a:solidFill>
                            <a:schemeClr val="tx1"/>
                          </a:solidFill>
                          <a:effectLst/>
                        </a:rPr>
                        <a:t>projeto 1</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highlight>
                            <a:srgbClr val="FFFF00"/>
                          </a:highlight>
                        </a:rPr>
                        <a:t> </a:t>
                      </a:r>
                      <a:endParaRPr lang="pt-BR" sz="2300" dirty="0">
                        <a:solidFill>
                          <a:schemeClr val="tx1"/>
                        </a:solidFill>
                        <a:effectLst/>
                        <a:highlight>
                          <a:srgbClr val="FFFF00"/>
                        </a:highligh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FF00"/>
                    </a:solidFill>
                  </a:tcPr>
                </a:tc>
                <a:tc>
                  <a:txBody>
                    <a:bodyPr/>
                    <a:lstStyle/>
                    <a:p>
                      <a:pPr algn="ctr">
                        <a:lnSpc>
                          <a:spcPct val="100000"/>
                        </a:lnSpc>
                        <a:spcAft>
                          <a:spcPts val="0"/>
                        </a:spcAft>
                      </a:pPr>
                      <a:r>
                        <a:rPr lang="pt-BR" sz="2300" dirty="0">
                          <a:solidFill>
                            <a:schemeClr val="tx1"/>
                          </a:solidFill>
                          <a:effectLst/>
                        </a:rPr>
                        <a:t>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muito 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extremamente 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extLst>
                  <a:ext uri="{0D108BD9-81ED-4DB2-BD59-A6C34878D82A}">
                    <a16:rowId xmlns:a16="http://schemas.microsoft.com/office/drawing/2014/main" val="10001"/>
                  </a:ext>
                </a:extLst>
              </a:tr>
              <a:tr h="960120">
                <a:tc>
                  <a:txBody>
                    <a:bodyPr/>
                    <a:lstStyle/>
                    <a:p>
                      <a:pPr algn="ctr">
                        <a:lnSpc>
                          <a:spcPct val="100000"/>
                        </a:lnSpc>
                        <a:spcAft>
                          <a:spcPts val="0"/>
                        </a:spcAft>
                      </a:pPr>
                      <a:r>
                        <a:rPr lang="pt-BR" sz="2300" dirty="0">
                          <a:solidFill>
                            <a:schemeClr val="tx1"/>
                          </a:solidFill>
                          <a:effectLst/>
                        </a:rPr>
                        <a:t>projeto 2</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 </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FF00"/>
                    </a:solidFill>
                  </a:tcPr>
                </a:tc>
                <a:tc>
                  <a:txBody>
                    <a:bodyPr/>
                    <a:lstStyle/>
                    <a:p>
                      <a:pPr algn="ctr">
                        <a:lnSpc>
                          <a:spcPct val="100000"/>
                        </a:lnSpc>
                        <a:spcAft>
                          <a:spcPts val="0"/>
                        </a:spcAft>
                      </a:pPr>
                      <a:r>
                        <a:rPr lang="pt-BR" sz="2300" dirty="0">
                          <a:solidFill>
                            <a:schemeClr val="tx1"/>
                          </a:solidFill>
                          <a:effectLst/>
                        </a:rPr>
                        <a:t>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muito 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extLst>
                  <a:ext uri="{0D108BD9-81ED-4DB2-BD59-A6C34878D82A}">
                    <a16:rowId xmlns:a16="http://schemas.microsoft.com/office/drawing/2014/main" val="10002"/>
                  </a:ext>
                </a:extLst>
              </a:tr>
              <a:tr h="960120">
                <a:tc>
                  <a:txBody>
                    <a:bodyPr/>
                    <a:lstStyle/>
                    <a:p>
                      <a:pPr algn="ctr">
                        <a:lnSpc>
                          <a:spcPct val="100000"/>
                        </a:lnSpc>
                        <a:spcAft>
                          <a:spcPts val="0"/>
                        </a:spcAft>
                      </a:pPr>
                      <a:r>
                        <a:rPr lang="pt-BR" sz="2300" dirty="0">
                          <a:solidFill>
                            <a:schemeClr val="tx1"/>
                          </a:solidFill>
                          <a:effectLst/>
                        </a:rPr>
                        <a:t>projeto 3</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muito 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 </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FF00"/>
                    </a:solidFill>
                  </a:tcPr>
                </a:tc>
                <a:tc>
                  <a:txBody>
                    <a:bodyPr/>
                    <a:lstStyle/>
                    <a:p>
                      <a:pPr algn="ctr">
                        <a:lnSpc>
                          <a:spcPct val="100000"/>
                        </a:lnSpc>
                        <a:spcAft>
                          <a:spcPts val="0"/>
                        </a:spcAft>
                      </a:pPr>
                      <a:r>
                        <a:rPr lang="pt-BR" sz="2300" dirty="0">
                          <a:solidFill>
                            <a:schemeClr val="tx1"/>
                          </a:solidFill>
                          <a:effectLst/>
                        </a:rPr>
                        <a:t>mai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extLst>
                  <a:ext uri="{0D108BD9-81ED-4DB2-BD59-A6C34878D82A}">
                    <a16:rowId xmlns:a16="http://schemas.microsoft.com/office/drawing/2014/main" val="10003"/>
                  </a:ext>
                </a:extLst>
              </a:tr>
              <a:tr h="960120">
                <a:tc>
                  <a:txBody>
                    <a:bodyPr/>
                    <a:lstStyle/>
                    <a:p>
                      <a:pPr algn="ctr">
                        <a:lnSpc>
                          <a:spcPct val="100000"/>
                        </a:lnSpc>
                        <a:spcAft>
                          <a:spcPts val="0"/>
                        </a:spcAft>
                      </a:pPr>
                      <a:r>
                        <a:rPr lang="pt-BR" sz="2300" dirty="0">
                          <a:solidFill>
                            <a:schemeClr val="tx1"/>
                          </a:solidFill>
                          <a:effectLst/>
                        </a:rPr>
                        <a:t>projeto 4</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Aft>
                          <a:spcPts val="0"/>
                        </a:spcAft>
                      </a:pPr>
                      <a:r>
                        <a:rPr lang="pt-BR" sz="2300" dirty="0">
                          <a:solidFill>
                            <a:schemeClr val="tx1"/>
                          </a:solidFill>
                          <a:effectLst/>
                        </a:rPr>
                        <a:t>extremamente 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muito 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menos importante</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noFill/>
                  </a:tcPr>
                </a:tc>
                <a:tc>
                  <a:txBody>
                    <a:bodyPr/>
                    <a:lstStyle/>
                    <a:p>
                      <a:pPr algn="ctr">
                        <a:lnSpc>
                          <a:spcPct val="100000"/>
                        </a:lnSpc>
                        <a:spcAft>
                          <a:spcPts val="0"/>
                        </a:spcAft>
                      </a:pPr>
                      <a:r>
                        <a:rPr lang="pt-BR" sz="2300" dirty="0">
                          <a:solidFill>
                            <a:schemeClr val="tx1"/>
                          </a:solidFill>
                          <a:effectLst/>
                        </a:rPr>
                        <a:t> </a:t>
                      </a:r>
                      <a:endParaRPr lang="pt-BR" sz="2300" dirty="0">
                        <a:solidFill>
                          <a:schemeClr val="tx1"/>
                        </a:solidFill>
                        <a:effectLst/>
                        <a:latin typeface="Calibri" charset="0"/>
                        <a:ea typeface="Calibri" charset="0"/>
                        <a:cs typeface="Times New Roman" charset="0"/>
                      </a:endParaRPr>
                    </a:p>
                  </a:txBody>
                  <a:tcPr marL="102870" marR="102870" marT="51435" marB="51435"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FF00"/>
                    </a:solidFill>
                  </a:tcPr>
                </a:tc>
                <a:extLst>
                  <a:ext uri="{0D108BD9-81ED-4DB2-BD59-A6C34878D82A}">
                    <a16:rowId xmlns:a16="http://schemas.microsoft.com/office/drawing/2014/main" val="10004"/>
                  </a:ext>
                </a:extLst>
              </a:tr>
            </a:tbl>
          </a:graphicData>
        </a:graphic>
      </p:graphicFrame>
      <p:sp>
        <p:nvSpPr>
          <p:cNvPr id="5" name="AutoShape 50"/>
          <p:cNvSpPr>
            <a:spLocks noChangeArrowheads="1"/>
          </p:cNvSpPr>
          <p:nvPr>
            <p:custDataLst>
              <p:tags r:id="rId1"/>
            </p:custDataLst>
          </p:nvPr>
        </p:nvSpPr>
        <p:spPr bwMode="auto">
          <a:xfrm>
            <a:off x="5962588" y="2680178"/>
            <a:ext cx="6483728" cy="1047599"/>
          </a:xfrm>
          <a:prstGeom prst="wedgeRoundRectCallout">
            <a:avLst>
              <a:gd name="adj1" fmla="val -26478"/>
              <a:gd name="adj2" fmla="val 86316"/>
              <a:gd name="adj3" fmla="val 16667"/>
            </a:avLst>
          </a:prstGeom>
          <a:solidFill>
            <a:srgbClr val="FF9701"/>
          </a:solidFill>
          <a:ln>
            <a:noFill/>
          </a:ln>
          <a:effectLst/>
        </p:spPr>
        <p:txBody>
          <a:bodyPr lIns="97757" tIns="48879" rIns="97757" bIns="48879" anchor="ctr"/>
          <a:lstStyle/>
          <a:p>
            <a:pPr algn="ctr" defTabSz="489347" hangingPunct="0">
              <a:defRPr/>
            </a:pPr>
            <a:r>
              <a:rPr lang="pt-BR" sz="2250" kern="0" dirty="0">
                <a:solidFill>
                  <a:schemeClr val="bg1"/>
                </a:solidFill>
                <a:latin typeface="+mj-lt"/>
              </a:rPr>
              <a:t>Exemplo: comparação par a par dos projetos para o </a:t>
            </a:r>
            <a:r>
              <a:rPr lang="pt-BR" sz="2250" kern="0" dirty="0" err="1">
                <a:solidFill>
                  <a:schemeClr val="bg1"/>
                </a:solidFill>
                <a:latin typeface="+mj-lt"/>
              </a:rPr>
              <a:t>crit</a:t>
            </a:r>
            <a:r>
              <a:rPr lang="en-US" sz="2250" kern="0" dirty="0" err="1">
                <a:solidFill>
                  <a:schemeClr val="bg1"/>
                </a:solidFill>
                <a:latin typeface="+mj-lt"/>
              </a:rPr>
              <a:t>ério</a:t>
            </a:r>
            <a:r>
              <a:rPr lang="en-US" sz="2250" kern="0" dirty="0">
                <a:solidFill>
                  <a:schemeClr val="bg1"/>
                </a:solidFill>
                <a:latin typeface="+mj-lt"/>
              </a:rPr>
              <a:t> </a:t>
            </a:r>
            <a:r>
              <a:rPr lang="en-US" sz="2250" i="1" kern="0" dirty="0" err="1">
                <a:solidFill>
                  <a:schemeClr val="bg1"/>
                </a:solidFill>
                <a:latin typeface="+mj-lt"/>
              </a:rPr>
              <a:t>aumentar</a:t>
            </a:r>
            <a:r>
              <a:rPr lang="en-US" sz="2250" i="1" kern="0" dirty="0">
                <a:solidFill>
                  <a:schemeClr val="bg1"/>
                </a:solidFill>
                <a:latin typeface="+mj-lt"/>
              </a:rPr>
              <a:t> a receita com </a:t>
            </a:r>
            <a:r>
              <a:rPr lang="en-US" sz="2250" i="1" kern="0" dirty="0" err="1">
                <a:solidFill>
                  <a:schemeClr val="bg1"/>
                </a:solidFill>
                <a:latin typeface="+mj-lt"/>
              </a:rPr>
              <a:t>os</a:t>
            </a:r>
            <a:r>
              <a:rPr lang="en-US" sz="2250" i="1" kern="0" dirty="0">
                <a:solidFill>
                  <a:schemeClr val="bg1"/>
                </a:solidFill>
                <a:latin typeface="+mj-lt"/>
              </a:rPr>
              <a:t> </a:t>
            </a:r>
            <a:r>
              <a:rPr lang="en-US" sz="2250" i="1" kern="0" dirty="0" err="1">
                <a:solidFill>
                  <a:schemeClr val="bg1"/>
                </a:solidFill>
                <a:latin typeface="+mj-lt"/>
              </a:rPr>
              <a:t>projetos</a:t>
            </a:r>
            <a:r>
              <a:rPr lang="en-US" sz="2250" kern="0" dirty="0">
                <a:solidFill>
                  <a:schemeClr val="bg1"/>
                </a:solidFill>
                <a:latin typeface="+mj-lt"/>
              </a:rPr>
              <a:t>.</a:t>
            </a:r>
            <a:endParaRPr lang="pt-BR" sz="2250" kern="0" dirty="0">
              <a:solidFill>
                <a:schemeClr val="bg1"/>
              </a:solidFill>
              <a:latin typeface="+mj-lt"/>
            </a:endParaRPr>
          </a:p>
        </p:txBody>
      </p:sp>
      <p:sp>
        <p:nvSpPr>
          <p:cNvPr id="6" name="Text Placeholder 5"/>
          <p:cNvSpPr>
            <a:spLocks noGrp="1"/>
          </p:cNvSpPr>
          <p:nvPr>
            <p:ph type="body" sz="quarter" idx="11"/>
          </p:nvPr>
        </p:nvSpPr>
        <p:spPr/>
        <p:txBody>
          <a:bodyPr/>
          <a:lstStyle/>
          <a:p>
            <a:r>
              <a:rPr lang="pt-BR" sz="3600" dirty="0">
                <a:solidFill>
                  <a:schemeClr val="tx1"/>
                </a:solidFill>
                <a:latin typeface="Myriad Pro" pitchFamily="34" charset="0"/>
                <a:ea typeface="Verdana" panose="020B0604030504040204" pitchFamily="34" charset="0"/>
              </a:rPr>
              <a:t>AHP </a:t>
            </a:r>
            <a:r>
              <a:rPr lang="pt-BR" sz="3600" dirty="0">
                <a:solidFill>
                  <a:schemeClr val="tx1"/>
                </a:solidFill>
                <a:latin typeface="Myriad Pro" pitchFamily="34" charset="0"/>
                <a:ea typeface="Verdana" panose="020B0604030504040204" pitchFamily="34" charset="0"/>
                <a:sym typeface="Wingdings" panose="05000000000000000000" pitchFamily="2" charset="2"/>
              </a:rPr>
              <a:t> </a:t>
            </a:r>
            <a:r>
              <a:rPr lang="pt-BR" sz="3600" dirty="0">
                <a:solidFill>
                  <a:schemeClr val="tx1"/>
                </a:solidFill>
                <a:latin typeface="Myriad Pro" pitchFamily="34" charset="0"/>
                <a:ea typeface="Verdana" panose="020B0604030504040204" pitchFamily="34" charset="0"/>
              </a:rPr>
              <a:t> Priorização de Projetos</a:t>
            </a:r>
          </a:p>
        </p:txBody>
      </p:sp>
      <p:sp>
        <p:nvSpPr>
          <p:cNvPr id="7" name="CaixaDeTexto 6">
            <a:extLst>
              <a:ext uri="{FF2B5EF4-FFF2-40B4-BE49-F238E27FC236}">
                <a16:creationId xmlns:a16="http://schemas.microsoft.com/office/drawing/2014/main" id="{776DE25F-6BA4-4E5F-8D7E-7AEF5A1635B3}"/>
              </a:ext>
            </a:extLst>
          </p:cNvPr>
          <p:cNvSpPr txBox="1"/>
          <p:nvPr/>
        </p:nvSpPr>
        <p:spPr>
          <a:xfrm>
            <a:off x="3324177" y="1409610"/>
            <a:ext cx="6858000" cy="584775"/>
          </a:xfrm>
          <a:prstGeom prst="rect">
            <a:avLst/>
          </a:prstGeom>
          <a:noFill/>
        </p:spPr>
        <p:txBody>
          <a:bodyPr wrap="square">
            <a:spAutoFit/>
          </a:bodyPr>
          <a:lstStyle/>
          <a:p>
            <a:pPr algn="l"/>
            <a:r>
              <a:rPr lang="pt-BR" sz="3200" b="0" i="0" dirty="0">
                <a:solidFill>
                  <a:srgbClr val="000000"/>
                </a:solidFill>
                <a:effectLst/>
                <a:latin typeface="+mj-lt"/>
              </a:rPr>
              <a:t>AHP </a:t>
            </a:r>
            <a:r>
              <a:rPr lang="pt-BR" sz="3200" b="0" i="0" dirty="0">
                <a:solidFill>
                  <a:srgbClr val="000000"/>
                </a:solidFill>
                <a:effectLst/>
                <a:latin typeface="+mj-lt"/>
                <a:sym typeface="Wingdings" panose="05000000000000000000" pitchFamily="2" charset="2"/>
              </a:rPr>
              <a:t> </a:t>
            </a:r>
            <a:r>
              <a:rPr lang="pt-BR" sz="3200" b="0" i="0" dirty="0" err="1">
                <a:solidFill>
                  <a:srgbClr val="000000"/>
                </a:solidFill>
                <a:effectLst/>
                <a:latin typeface="+mj-lt"/>
              </a:rPr>
              <a:t>Analytic</a:t>
            </a:r>
            <a:r>
              <a:rPr lang="pt-BR" sz="3200" b="0" i="0" dirty="0">
                <a:solidFill>
                  <a:srgbClr val="000000"/>
                </a:solidFill>
                <a:effectLst/>
                <a:latin typeface="+mj-lt"/>
              </a:rPr>
              <a:t> </a:t>
            </a:r>
            <a:r>
              <a:rPr lang="pt-BR" sz="3200" b="0" i="0" dirty="0" err="1">
                <a:solidFill>
                  <a:srgbClr val="000000"/>
                </a:solidFill>
                <a:effectLst/>
                <a:latin typeface="+mj-lt"/>
              </a:rPr>
              <a:t>Hierarchy</a:t>
            </a:r>
            <a:r>
              <a:rPr lang="pt-BR" sz="3200" b="0" i="0" dirty="0">
                <a:solidFill>
                  <a:srgbClr val="000000"/>
                </a:solidFill>
                <a:effectLst/>
                <a:latin typeface="+mj-lt"/>
              </a:rPr>
              <a:t> </a:t>
            </a:r>
            <a:r>
              <a:rPr lang="pt-BR" sz="3200" b="0" i="0" dirty="0" err="1">
                <a:solidFill>
                  <a:srgbClr val="000000"/>
                </a:solidFill>
                <a:effectLst/>
                <a:latin typeface="+mj-lt"/>
              </a:rPr>
              <a:t>Process</a:t>
            </a:r>
            <a:endParaRPr lang="pt-BR" sz="3200" b="0" i="0" dirty="0">
              <a:solidFill>
                <a:srgbClr val="000000"/>
              </a:solidFill>
              <a:effectLst/>
              <a:latin typeface="+mj-lt"/>
            </a:endParaRPr>
          </a:p>
        </p:txBody>
      </p:sp>
    </p:spTree>
    <p:extLst>
      <p:ext uri="{BB962C8B-B14F-4D97-AF65-F5344CB8AC3E}">
        <p14:creationId xmlns:p14="http://schemas.microsoft.com/office/powerpoint/2010/main" val="42408222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88282" y="1438932"/>
            <a:ext cx="12036959" cy="648071"/>
          </a:xfrm>
        </p:spPr>
        <p:txBody>
          <a:bodyPr/>
          <a:lstStyle/>
          <a:p>
            <a:r>
              <a:rPr lang="pt-BR" sz="3600" dirty="0">
                <a:solidFill>
                  <a:srgbClr val="FF0000"/>
                </a:solidFill>
              </a:rPr>
              <a:t>AHP – definição e priorização dos critérios de avaliação</a:t>
            </a:r>
          </a:p>
        </p:txBody>
      </p:sp>
      <p:graphicFrame>
        <p:nvGraphicFramePr>
          <p:cNvPr id="5" name="Tabela 1"/>
          <p:cNvGraphicFramePr>
            <a:graphicFrameLocks noGrp="1"/>
          </p:cNvGraphicFramePr>
          <p:nvPr>
            <p:extLst>
              <p:ext uri="{D42A27DB-BD31-4B8C-83A1-F6EECF244321}">
                <p14:modId xmlns:p14="http://schemas.microsoft.com/office/powerpoint/2010/main" val="3793972349"/>
              </p:ext>
            </p:extLst>
          </p:nvPr>
        </p:nvGraphicFramePr>
        <p:xfrm>
          <a:off x="5129808" y="2521911"/>
          <a:ext cx="7992888" cy="2567236"/>
        </p:xfrm>
        <a:graphic>
          <a:graphicData uri="http://schemas.openxmlformats.org/drawingml/2006/table">
            <a:tbl>
              <a:tblPr firstRow="1" firstCol="1" bandRow="1">
                <a:tableStyleId>{6E25E649-3F16-4E02-A733-19D2CDBF48F0}</a:tableStyleId>
              </a:tblPr>
              <a:tblGrid>
                <a:gridCol w="4874919">
                  <a:extLst>
                    <a:ext uri="{9D8B030D-6E8A-4147-A177-3AD203B41FA5}">
                      <a16:colId xmlns:a16="http://schemas.microsoft.com/office/drawing/2014/main" val="20000"/>
                    </a:ext>
                  </a:extLst>
                </a:gridCol>
                <a:gridCol w="1435254">
                  <a:extLst>
                    <a:ext uri="{9D8B030D-6E8A-4147-A177-3AD203B41FA5}">
                      <a16:colId xmlns:a16="http://schemas.microsoft.com/office/drawing/2014/main" val="20001"/>
                    </a:ext>
                  </a:extLst>
                </a:gridCol>
                <a:gridCol w="1682715">
                  <a:extLst>
                    <a:ext uri="{9D8B030D-6E8A-4147-A177-3AD203B41FA5}">
                      <a16:colId xmlns:a16="http://schemas.microsoft.com/office/drawing/2014/main" val="20002"/>
                    </a:ext>
                  </a:extLst>
                </a:gridCol>
              </a:tblGrid>
              <a:tr h="305753">
                <a:tc>
                  <a:txBody>
                    <a:bodyPr/>
                    <a:lstStyle/>
                    <a:p>
                      <a:pPr algn="ctr">
                        <a:lnSpc>
                          <a:spcPct val="107000"/>
                        </a:lnSpc>
                        <a:spcBef>
                          <a:spcPts val="600"/>
                        </a:spcBef>
                        <a:spcAft>
                          <a:spcPts val="600"/>
                        </a:spcAft>
                      </a:pPr>
                      <a:r>
                        <a:rPr lang="pt-BR" sz="1900" dirty="0">
                          <a:solidFill>
                            <a:schemeClr val="tx1"/>
                          </a:solidFill>
                          <a:effectLst/>
                        </a:rPr>
                        <a:t>avaliação</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valor</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recíproco</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extLst>
                  <a:ext uri="{0D108BD9-81ED-4DB2-BD59-A6C34878D82A}">
                    <a16:rowId xmlns:a16="http://schemas.microsoft.com/office/drawing/2014/main" val="10000"/>
                  </a:ext>
                </a:extLst>
              </a:tr>
              <a:tr h="323069">
                <a:tc>
                  <a:txBody>
                    <a:bodyPr/>
                    <a:lstStyle/>
                    <a:p>
                      <a:pPr algn="l">
                        <a:lnSpc>
                          <a:spcPct val="107000"/>
                        </a:lnSpc>
                        <a:spcBef>
                          <a:spcPts val="600"/>
                        </a:spcBef>
                        <a:spcAft>
                          <a:spcPts val="600"/>
                        </a:spcAft>
                      </a:pPr>
                      <a:r>
                        <a:rPr lang="pt-BR" sz="1900" dirty="0">
                          <a:solidFill>
                            <a:schemeClr val="tx1"/>
                          </a:solidFill>
                          <a:effectLst/>
                        </a:rPr>
                        <a:t>extremamente mai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9</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 1/9</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23069">
                <a:tc>
                  <a:txBody>
                    <a:bodyPr/>
                    <a:lstStyle/>
                    <a:p>
                      <a:pPr algn="l">
                        <a:lnSpc>
                          <a:spcPct val="107000"/>
                        </a:lnSpc>
                        <a:spcBef>
                          <a:spcPts val="600"/>
                        </a:spcBef>
                        <a:spcAft>
                          <a:spcPts val="600"/>
                        </a:spcAft>
                      </a:pPr>
                      <a:r>
                        <a:rPr lang="pt-BR" sz="1900" dirty="0">
                          <a:solidFill>
                            <a:schemeClr val="tx1"/>
                          </a:solidFill>
                          <a:effectLst/>
                        </a:rPr>
                        <a:t>muito mai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6</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 1/6</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3069">
                <a:tc>
                  <a:txBody>
                    <a:bodyPr/>
                    <a:lstStyle/>
                    <a:p>
                      <a:pPr algn="l">
                        <a:lnSpc>
                          <a:spcPct val="107000"/>
                        </a:lnSpc>
                        <a:spcBef>
                          <a:spcPts val="600"/>
                        </a:spcBef>
                        <a:spcAft>
                          <a:spcPts val="600"/>
                        </a:spcAft>
                      </a:pPr>
                      <a:r>
                        <a:rPr lang="pt-BR" sz="1900" dirty="0">
                          <a:solidFill>
                            <a:schemeClr val="tx1"/>
                          </a:solidFill>
                          <a:effectLst/>
                        </a:rPr>
                        <a:t>mai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3</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 1/3</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23069">
                <a:tc>
                  <a:txBody>
                    <a:bodyPr/>
                    <a:lstStyle/>
                    <a:p>
                      <a:pPr algn="l">
                        <a:lnSpc>
                          <a:spcPct val="107000"/>
                        </a:lnSpc>
                        <a:spcBef>
                          <a:spcPts val="600"/>
                        </a:spcBef>
                        <a:spcAft>
                          <a:spcPts val="600"/>
                        </a:spcAft>
                      </a:pPr>
                      <a:r>
                        <a:rPr lang="pt-BR" sz="1900" dirty="0">
                          <a:solidFill>
                            <a:schemeClr val="tx1"/>
                          </a:solidFill>
                          <a:effectLst/>
                        </a:rPr>
                        <a:t>tão importante quanto</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1</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1</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3069">
                <a:tc>
                  <a:txBody>
                    <a:bodyPr/>
                    <a:lstStyle/>
                    <a:p>
                      <a:pPr algn="l">
                        <a:lnSpc>
                          <a:spcPct val="107000"/>
                        </a:lnSpc>
                        <a:spcBef>
                          <a:spcPts val="600"/>
                        </a:spcBef>
                        <a:spcAft>
                          <a:spcPts val="600"/>
                        </a:spcAft>
                      </a:pPr>
                      <a:r>
                        <a:rPr lang="pt-BR" sz="1900" dirty="0">
                          <a:solidFill>
                            <a:schemeClr val="tx1"/>
                          </a:solidFill>
                          <a:effectLst/>
                        </a:rPr>
                        <a:t>meno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 1/3</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3</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23069">
                <a:tc>
                  <a:txBody>
                    <a:bodyPr/>
                    <a:lstStyle/>
                    <a:p>
                      <a:pPr algn="l">
                        <a:lnSpc>
                          <a:spcPct val="107000"/>
                        </a:lnSpc>
                        <a:spcBef>
                          <a:spcPts val="600"/>
                        </a:spcBef>
                        <a:spcAft>
                          <a:spcPts val="600"/>
                        </a:spcAft>
                      </a:pPr>
                      <a:r>
                        <a:rPr lang="pt-BR" sz="1900" dirty="0">
                          <a:solidFill>
                            <a:schemeClr val="tx1"/>
                          </a:solidFill>
                          <a:effectLst/>
                        </a:rPr>
                        <a:t>muito meno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 1/6</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6</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23069">
                <a:tc>
                  <a:txBody>
                    <a:bodyPr/>
                    <a:lstStyle/>
                    <a:p>
                      <a:pPr algn="l">
                        <a:lnSpc>
                          <a:spcPct val="107000"/>
                        </a:lnSpc>
                        <a:spcBef>
                          <a:spcPts val="600"/>
                        </a:spcBef>
                        <a:spcAft>
                          <a:spcPts val="600"/>
                        </a:spcAft>
                      </a:pPr>
                      <a:r>
                        <a:rPr lang="pt-BR" sz="1900" dirty="0">
                          <a:solidFill>
                            <a:schemeClr val="tx1"/>
                          </a:solidFill>
                          <a:effectLst/>
                        </a:rPr>
                        <a:t>extremamente menos importante</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1900" dirty="0">
                          <a:solidFill>
                            <a:schemeClr val="tx1"/>
                          </a:solidFill>
                          <a:effectLst/>
                        </a:rPr>
                        <a:t> 1/9</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1900" dirty="0">
                          <a:solidFill>
                            <a:schemeClr val="tx1"/>
                          </a:solidFill>
                          <a:effectLst/>
                        </a:rPr>
                        <a:t>9</a:t>
                      </a:r>
                      <a:endParaRPr lang="pt-BR" sz="19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6" name="Tabela 2"/>
          <p:cNvGraphicFramePr>
            <a:graphicFrameLocks noGrp="1"/>
          </p:cNvGraphicFramePr>
          <p:nvPr>
            <p:extLst>
              <p:ext uri="{D42A27DB-BD31-4B8C-83A1-F6EECF244321}">
                <p14:modId xmlns:p14="http://schemas.microsoft.com/office/powerpoint/2010/main" val="2182534654"/>
              </p:ext>
            </p:extLst>
          </p:nvPr>
        </p:nvGraphicFramePr>
        <p:xfrm>
          <a:off x="5129808" y="5655415"/>
          <a:ext cx="8103357" cy="3072712"/>
        </p:xfrm>
        <a:graphic>
          <a:graphicData uri="http://schemas.openxmlformats.org/drawingml/2006/table">
            <a:tbl>
              <a:tblPr firstRow="1" firstCol="1" bandRow="1">
                <a:tableStyleId>{6E25E649-3F16-4E02-A733-19D2CDBF48F0}</a:tableStyleId>
              </a:tblPr>
              <a:tblGrid>
                <a:gridCol w="1841937">
                  <a:extLst>
                    <a:ext uri="{9D8B030D-6E8A-4147-A177-3AD203B41FA5}">
                      <a16:colId xmlns:a16="http://schemas.microsoft.com/office/drawing/2014/main" val="20000"/>
                    </a:ext>
                  </a:extLst>
                </a:gridCol>
                <a:gridCol w="1376931">
                  <a:extLst>
                    <a:ext uri="{9D8B030D-6E8A-4147-A177-3AD203B41FA5}">
                      <a16:colId xmlns:a16="http://schemas.microsoft.com/office/drawing/2014/main" val="20001"/>
                    </a:ext>
                  </a:extLst>
                </a:gridCol>
                <a:gridCol w="1794666">
                  <a:extLst>
                    <a:ext uri="{9D8B030D-6E8A-4147-A177-3AD203B41FA5}">
                      <a16:colId xmlns:a16="http://schemas.microsoft.com/office/drawing/2014/main" val="20002"/>
                    </a:ext>
                  </a:extLst>
                </a:gridCol>
                <a:gridCol w="1503639">
                  <a:extLst>
                    <a:ext uri="{9D8B030D-6E8A-4147-A177-3AD203B41FA5}">
                      <a16:colId xmlns:a16="http://schemas.microsoft.com/office/drawing/2014/main" val="20003"/>
                    </a:ext>
                  </a:extLst>
                </a:gridCol>
                <a:gridCol w="1586184">
                  <a:extLst>
                    <a:ext uri="{9D8B030D-6E8A-4147-A177-3AD203B41FA5}">
                      <a16:colId xmlns:a16="http://schemas.microsoft.com/office/drawing/2014/main" val="20004"/>
                    </a:ext>
                  </a:extLst>
                </a:gridCol>
              </a:tblGrid>
              <a:tr h="685800">
                <a:tc>
                  <a:txBody>
                    <a:bodyPr/>
                    <a:lstStyle/>
                    <a:p>
                      <a:pPr algn="l">
                        <a:lnSpc>
                          <a:spcPct val="100000"/>
                        </a:lnSpc>
                        <a:spcBef>
                          <a:spcPts val="600"/>
                        </a:spcBef>
                        <a:spcAft>
                          <a:spcPts val="600"/>
                        </a:spcAft>
                      </a:pPr>
                      <a:r>
                        <a:rPr lang="pt-BR" sz="1500" dirty="0">
                          <a:solidFill>
                            <a:schemeClr val="tx1"/>
                          </a:solidFill>
                          <a:effectLst/>
                        </a:rPr>
                        <a:t> </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aumentar a receita com os projeto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aumentar o índice de lucratividade dos projeto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melhorar a satisfação dos cliente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melhorar a satisfação dos colaboradore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extLst>
                  <a:ext uri="{0D108BD9-81ED-4DB2-BD59-A6C34878D82A}">
                    <a16:rowId xmlns:a16="http://schemas.microsoft.com/office/drawing/2014/main" val="10000"/>
                  </a:ext>
                </a:extLst>
              </a:tr>
              <a:tr h="507656">
                <a:tc>
                  <a:txBody>
                    <a:bodyPr/>
                    <a:lstStyle/>
                    <a:p>
                      <a:pPr algn="l">
                        <a:lnSpc>
                          <a:spcPct val="100000"/>
                        </a:lnSpc>
                        <a:spcBef>
                          <a:spcPts val="600"/>
                        </a:spcBef>
                        <a:spcAft>
                          <a:spcPts val="600"/>
                        </a:spcAft>
                      </a:pPr>
                      <a:r>
                        <a:rPr lang="pt-BR" sz="1500" dirty="0">
                          <a:solidFill>
                            <a:schemeClr val="tx1"/>
                          </a:solidFill>
                          <a:effectLst/>
                        </a:rPr>
                        <a:t>aumentar a receita com os projeto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pPr>
                      <a:endParaRPr lang="pt-BR" sz="1500" dirty="0">
                        <a:solidFill>
                          <a:schemeClr val="tx1"/>
                        </a:solidFill>
                        <a:effectLst/>
                        <a:latin typeface="Calibri" charset="0"/>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uito 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extremamente 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5800">
                <a:tc>
                  <a:txBody>
                    <a:bodyPr/>
                    <a:lstStyle/>
                    <a:p>
                      <a:pPr algn="l">
                        <a:lnSpc>
                          <a:spcPct val="100000"/>
                        </a:lnSpc>
                        <a:spcBef>
                          <a:spcPts val="600"/>
                        </a:spcBef>
                        <a:spcAft>
                          <a:spcPts val="600"/>
                        </a:spcAft>
                      </a:pPr>
                      <a:r>
                        <a:rPr lang="pt-BR" sz="1500" dirty="0">
                          <a:solidFill>
                            <a:schemeClr val="tx1"/>
                          </a:solidFill>
                          <a:effectLst/>
                        </a:rPr>
                        <a:t>aumentar o índice de lucratividade dos projeto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pPr>
                      <a:endParaRPr lang="pt-BR" sz="1500" dirty="0">
                        <a:solidFill>
                          <a:schemeClr val="tx1"/>
                        </a:solidFill>
                        <a:effectLst/>
                        <a:latin typeface="Calibri" charset="0"/>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uito 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7656">
                <a:tc>
                  <a:txBody>
                    <a:bodyPr/>
                    <a:lstStyle/>
                    <a:p>
                      <a:pPr algn="l">
                        <a:lnSpc>
                          <a:spcPct val="100000"/>
                        </a:lnSpc>
                        <a:spcBef>
                          <a:spcPts val="600"/>
                        </a:spcBef>
                        <a:spcAft>
                          <a:spcPts val="600"/>
                        </a:spcAft>
                      </a:pPr>
                      <a:r>
                        <a:rPr lang="pt-BR" sz="1500" dirty="0">
                          <a:solidFill>
                            <a:schemeClr val="tx1"/>
                          </a:solidFill>
                          <a:effectLst/>
                        </a:rPr>
                        <a:t>melhorar a satisfação do clie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muito 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pPr>
                      <a:endParaRPr lang="pt-BR" sz="1500" dirty="0">
                        <a:solidFill>
                          <a:schemeClr val="tx1"/>
                        </a:solidFill>
                        <a:effectLst/>
                        <a:latin typeface="Calibri" charset="0"/>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ai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5800">
                <a:tc>
                  <a:txBody>
                    <a:bodyPr/>
                    <a:lstStyle/>
                    <a:p>
                      <a:pPr algn="l">
                        <a:lnSpc>
                          <a:spcPct val="100000"/>
                        </a:lnSpc>
                        <a:spcBef>
                          <a:spcPts val="600"/>
                        </a:spcBef>
                        <a:spcAft>
                          <a:spcPts val="600"/>
                        </a:spcAft>
                      </a:pPr>
                      <a:r>
                        <a:rPr lang="pt-BR" sz="1500" dirty="0">
                          <a:solidFill>
                            <a:schemeClr val="tx1"/>
                          </a:solidFill>
                          <a:effectLst/>
                        </a:rPr>
                        <a:t>melhorar a satisfação dos colaboradores</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0000"/>
                        </a:lnSpc>
                        <a:spcBef>
                          <a:spcPts val="600"/>
                        </a:spcBef>
                        <a:spcAft>
                          <a:spcPts val="600"/>
                        </a:spcAft>
                      </a:pPr>
                      <a:r>
                        <a:rPr lang="pt-BR" sz="1500" dirty="0">
                          <a:solidFill>
                            <a:schemeClr val="tx1"/>
                          </a:solidFill>
                          <a:effectLst/>
                        </a:rPr>
                        <a:t>extremamente 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uito 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spcBef>
                          <a:spcPts val="600"/>
                        </a:spcBef>
                        <a:spcAft>
                          <a:spcPts val="600"/>
                        </a:spcAft>
                      </a:pPr>
                      <a:r>
                        <a:rPr lang="pt-BR" sz="1500" dirty="0">
                          <a:solidFill>
                            <a:schemeClr val="tx1"/>
                          </a:solidFill>
                          <a:effectLst/>
                        </a:rPr>
                        <a:t>menos importante</a:t>
                      </a:r>
                      <a:endParaRPr lang="pt-BR" sz="15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0000"/>
                        </a:lnSpc>
                      </a:pPr>
                      <a:endParaRPr lang="pt-BR" sz="1500" dirty="0">
                        <a:solidFill>
                          <a:schemeClr val="tx1"/>
                        </a:solidFill>
                        <a:effectLst/>
                        <a:latin typeface="Calibri" charset="0"/>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7" name="Right Arrow 6"/>
          <p:cNvSpPr/>
          <p:nvPr/>
        </p:nvSpPr>
        <p:spPr>
          <a:xfrm>
            <a:off x="3941676" y="3469314"/>
            <a:ext cx="529936" cy="514350"/>
          </a:xfrm>
          <a:prstGeom prst="rightArrow">
            <a:avLst/>
          </a:prstGeom>
          <a:solidFill>
            <a:srgbClr val="F68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p>
        </p:txBody>
      </p:sp>
      <p:sp>
        <p:nvSpPr>
          <p:cNvPr id="8" name="Right Arrow 7"/>
          <p:cNvSpPr/>
          <p:nvPr/>
        </p:nvSpPr>
        <p:spPr>
          <a:xfrm rot="5400000">
            <a:off x="8548204" y="5208032"/>
            <a:ext cx="294458" cy="332562"/>
          </a:xfrm>
          <a:prstGeom prst="rightArrow">
            <a:avLst/>
          </a:prstGeom>
          <a:solidFill>
            <a:srgbClr val="F68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aphicFrame>
        <p:nvGraphicFramePr>
          <p:cNvPr id="10" name="Diagrama 151">
            <a:extLst>
              <a:ext uri="{FF2B5EF4-FFF2-40B4-BE49-F238E27FC236}">
                <a16:creationId xmlns:a16="http://schemas.microsoft.com/office/drawing/2014/main" id="{A6CAB49E-0D9B-4B16-8F4C-A9335EC267D7}"/>
              </a:ext>
            </a:extLst>
          </p:cNvPr>
          <p:cNvGraphicFramePr/>
          <p:nvPr>
            <p:extLst>
              <p:ext uri="{D42A27DB-BD31-4B8C-83A1-F6EECF244321}">
                <p14:modId xmlns:p14="http://schemas.microsoft.com/office/powerpoint/2010/main" val="3747718762"/>
              </p:ext>
            </p:extLst>
          </p:nvPr>
        </p:nvGraphicFramePr>
        <p:xfrm>
          <a:off x="431286" y="2767236"/>
          <a:ext cx="4698522" cy="6684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Box 3"/>
          <p:cNvSpPr txBox="1">
            <a:spLocks noChangeArrowheads="1"/>
          </p:cNvSpPr>
          <p:nvPr/>
        </p:nvSpPr>
        <p:spPr bwMode="auto">
          <a:xfrm>
            <a:off x="927675" y="667480"/>
            <a:ext cx="123110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000" dirty="0">
                <a:solidFill>
                  <a:schemeClr val="tx1"/>
                </a:solidFill>
                <a:latin typeface="Arial" panose="020B0604020202020204" pitchFamily="34" charset="0"/>
                <a:ea typeface="MS PGothic" panose="020B0600070205080204" pitchFamily="34" charset="-128"/>
              </a:rPr>
              <a:t>Outros Exemplos de critérios: Seleção, Avaliação e Priorização</a:t>
            </a:r>
          </a:p>
        </p:txBody>
      </p:sp>
      <p:sp>
        <p:nvSpPr>
          <p:cNvPr id="11" name="CaixaDeTexto 10"/>
          <p:cNvSpPr txBox="1"/>
          <p:nvPr/>
        </p:nvSpPr>
        <p:spPr>
          <a:xfrm rot="19954974">
            <a:off x="131272" y="9137427"/>
            <a:ext cx="2426495" cy="461665"/>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pPr algn="ctr">
              <a:defRPr/>
            </a:pPr>
            <a:r>
              <a:rPr lang="pt-BR" sz="2400" dirty="0"/>
              <a:t>EXEMPLOS</a:t>
            </a:r>
          </a:p>
        </p:txBody>
      </p:sp>
      <p:sp>
        <p:nvSpPr>
          <p:cNvPr id="3" name="Retângulo 2">
            <a:extLst>
              <a:ext uri="{FF2B5EF4-FFF2-40B4-BE49-F238E27FC236}">
                <a16:creationId xmlns:a16="http://schemas.microsoft.com/office/drawing/2014/main" id="{5208E486-4237-4F77-A320-7F52AFB651B8}"/>
              </a:ext>
            </a:extLst>
          </p:cNvPr>
          <p:cNvSpPr/>
          <p:nvPr/>
        </p:nvSpPr>
        <p:spPr>
          <a:xfrm>
            <a:off x="5993904" y="9338418"/>
            <a:ext cx="6133217" cy="584775"/>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r>
              <a:rPr lang="pt-BR" sz="3200" dirty="0" err="1">
                <a:solidFill>
                  <a:srgbClr val="FF0000"/>
                </a:solidFill>
              </a:rPr>
              <a:t>Analytic</a:t>
            </a:r>
            <a:r>
              <a:rPr lang="pt-BR" sz="3200" dirty="0">
                <a:solidFill>
                  <a:srgbClr val="FF0000"/>
                </a:solidFill>
              </a:rPr>
              <a:t> </a:t>
            </a:r>
            <a:r>
              <a:rPr lang="pt-BR" sz="3200" dirty="0" err="1">
                <a:solidFill>
                  <a:srgbClr val="FF0000"/>
                </a:solidFill>
              </a:rPr>
              <a:t>Hierarchy</a:t>
            </a:r>
            <a:r>
              <a:rPr lang="pt-BR" sz="3200" dirty="0">
                <a:solidFill>
                  <a:srgbClr val="FF0000"/>
                </a:solidFill>
              </a:rPr>
              <a:t> </a:t>
            </a:r>
            <a:r>
              <a:rPr lang="pt-BR" sz="3200" dirty="0" err="1">
                <a:solidFill>
                  <a:srgbClr val="FF0000"/>
                </a:solidFill>
              </a:rPr>
              <a:t>Process</a:t>
            </a:r>
            <a:r>
              <a:rPr lang="pt-BR" sz="3200" dirty="0">
                <a:solidFill>
                  <a:srgbClr val="FF0000"/>
                </a:solidFill>
              </a:rPr>
              <a:t>, AHP</a:t>
            </a:r>
          </a:p>
        </p:txBody>
      </p:sp>
    </p:spTree>
    <p:extLst>
      <p:ext uri="{BB962C8B-B14F-4D97-AF65-F5344CB8AC3E}">
        <p14:creationId xmlns:p14="http://schemas.microsoft.com/office/powerpoint/2010/main" val="40956575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pt-BR" sz="3600" dirty="0">
                <a:solidFill>
                  <a:schemeClr val="tx1"/>
                </a:solidFill>
                <a:latin typeface="Myriad Pro" pitchFamily="34" charset="0"/>
                <a:ea typeface="Verdana" panose="020B0604030504040204" pitchFamily="34" charset="0"/>
              </a:rPr>
              <a:t>AHP – critérios priorizados</a:t>
            </a:r>
          </a:p>
        </p:txBody>
      </p:sp>
      <p:graphicFrame>
        <p:nvGraphicFramePr>
          <p:cNvPr id="5" name="Tabela 4"/>
          <p:cNvGraphicFramePr>
            <a:graphicFrameLocks noGrp="1"/>
          </p:cNvGraphicFramePr>
          <p:nvPr/>
        </p:nvGraphicFramePr>
        <p:xfrm>
          <a:off x="305273" y="2405623"/>
          <a:ext cx="12745415" cy="4870452"/>
        </p:xfrm>
        <a:graphic>
          <a:graphicData uri="http://schemas.openxmlformats.org/drawingml/2006/table">
            <a:tbl>
              <a:tblPr firstRow="1" firstCol="1" bandRow="1">
                <a:tableStyleId>{6E25E649-3F16-4E02-A733-19D2CDBF48F0}</a:tableStyleId>
              </a:tblPr>
              <a:tblGrid>
                <a:gridCol w="3841737">
                  <a:extLst>
                    <a:ext uri="{9D8B030D-6E8A-4147-A177-3AD203B41FA5}">
                      <a16:colId xmlns:a16="http://schemas.microsoft.com/office/drawing/2014/main" val="20000"/>
                    </a:ext>
                  </a:extLst>
                </a:gridCol>
                <a:gridCol w="2143573">
                  <a:extLst>
                    <a:ext uri="{9D8B030D-6E8A-4147-A177-3AD203B41FA5}">
                      <a16:colId xmlns:a16="http://schemas.microsoft.com/office/drawing/2014/main" val="20001"/>
                    </a:ext>
                  </a:extLst>
                </a:gridCol>
                <a:gridCol w="2479352">
                  <a:extLst>
                    <a:ext uri="{9D8B030D-6E8A-4147-A177-3AD203B41FA5}">
                      <a16:colId xmlns:a16="http://schemas.microsoft.com/office/drawing/2014/main" val="20002"/>
                    </a:ext>
                  </a:extLst>
                </a:gridCol>
                <a:gridCol w="2147553">
                  <a:extLst>
                    <a:ext uri="{9D8B030D-6E8A-4147-A177-3AD203B41FA5}">
                      <a16:colId xmlns:a16="http://schemas.microsoft.com/office/drawing/2014/main" val="20003"/>
                    </a:ext>
                  </a:extLst>
                </a:gridCol>
                <a:gridCol w="2133200">
                  <a:extLst>
                    <a:ext uri="{9D8B030D-6E8A-4147-A177-3AD203B41FA5}">
                      <a16:colId xmlns:a16="http://schemas.microsoft.com/office/drawing/2014/main" val="20004"/>
                    </a:ext>
                  </a:extLst>
                </a:gridCol>
              </a:tblGrid>
              <a:tr h="1100527">
                <a:tc>
                  <a:txBody>
                    <a:bodyPr/>
                    <a:lstStyle/>
                    <a:p>
                      <a:pPr algn="ctr">
                        <a:lnSpc>
                          <a:spcPct val="107000"/>
                        </a:lnSpc>
                        <a:spcBef>
                          <a:spcPts val="600"/>
                        </a:spcBef>
                        <a:spcAft>
                          <a:spcPts val="600"/>
                        </a:spcAft>
                      </a:pPr>
                      <a:r>
                        <a:rPr lang="pt-BR" sz="2400" dirty="0">
                          <a:solidFill>
                            <a:schemeClr val="tx1"/>
                          </a:solidFill>
                          <a:effectLst/>
                        </a:rPr>
                        <a:t> </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aumentar a receita com os projeto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aumentar o índice de lucratividade dos projeto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melhorar a satisfação dos cliente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melhorar a satisfação dos colaboradore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extLst>
                  <a:ext uri="{0D108BD9-81ED-4DB2-BD59-A6C34878D82A}">
                    <a16:rowId xmlns:a16="http://schemas.microsoft.com/office/drawing/2014/main" val="10000"/>
                  </a:ext>
                </a:extLst>
              </a:tr>
              <a:tr h="574160">
                <a:tc>
                  <a:txBody>
                    <a:bodyPr/>
                    <a:lstStyle/>
                    <a:p>
                      <a:pPr algn="l">
                        <a:lnSpc>
                          <a:spcPct val="107000"/>
                        </a:lnSpc>
                        <a:spcBef>
                          <a:spcPts val="600"/>
                        </a:spcBef>
                        <a:spcAft>
                          <a:spcPts val="600"/>
                        </a:spcAft>
                      </a:pPr>
                      <a:r>
                        <a:rPr lang="pt-BR" sz="2400" dirty="0">
                          <a:solidFill>
                            <a:schemeClr val="tx1"/>
                          </a:solidFill>
                          <a:effectLst/>
                        </a:rPr>
                        <a:t>aumentar a receita com os projeto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1</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6</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9</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52877">
                <a:tc>
                  <a:txBody>
                    <a:bodyPr/>
                    <a:lstStyle/>
                    <a:p>
                      <a:pPr algn="l">
                        <a:lnSpc>
                          <a:spcPct val="107000"/>
                        </a:lnSpc>
                        <a:spcBef>
                          <a:spcPts val="600"/>
                        </a:spcBef>
                        <a:spcAft>
                          <a:spcPts val="600"/>
                        </a:spcAft>
                      </a:pPr>
                      <a:r>
                        <a:rPr lang="pt-BR" sz="2400" dirty="0">
                          <a:solidFill>
                            <a:schemeClr val="tx1"/>
                          </a:solidFill>
                          <a:effectLst/>
                        </a:rPr>
                        <a:t>aumentar o índice de lucratividade dos projeto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 1/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1</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6</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74160">
                <a:tc>
                  <a:txBody>
                    <a:bodyPr/>
                    <a:lstStyle/>
                    <a:p>
                      <a:pPr algn="l">
                        <a:lnSpc>
                          <a:spcPct val="107000"/>
                        </a:lnSpc>
                        <a:spcBef>
                          <a:spcPts val="600"/>
                        </a:spcBef>
                        <a:spcAft>
                          <a:spcPts val="600"/>
                        </a:spcAft>
                      </a:pPr>
                      <a:r>
                        <a:rPr lang="pt-BR" sz="2400" dirty="0">
                          <a:solidFill>
                            <a:schemeClr val="tx1"/>
                          </a:solidFill>
                          <a:effectLst/>
                        </a:rPr>
                        <a:t>melhorar a satisfação do cliente</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 1/6</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 1/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1</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74160">
                <a:tc>
                  <a:txBody>
                    <a:bodyPr/>
                    <a:lstStyle/>
                    <a:p>
                      <a:pPr algn="l">
                        <a:lnSpc>
                          <a:spcPct val="107000"/>
                        </a:lnSpc>
                        <a:spcBef>
                          <a:spcPts val="600"/>
                        </a:spcBef>
                        <a:spcAft>
                          <a:spcPts val="600"/>
                        </a:spcAft>
                      </a:pPr>
                      <a:r>
                        <a:rPr lang="pt-BR" sz="2400" dirty="0">
                          <a:solidFill>
                            <a:schemeClr val="tx1"/>
                          </a:solidFill>
                          <a:effectLst/>
                        </a:rPr>
                        <a:t>melhorar a satisfação dos colaboradore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 1/9</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 1/6</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 1/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tc>
                  <a:txBody>
                    <a:bodyPr/>
                    <a:lstStyle/>
                    <a:p>
                      <a:pPr algn="ctr">
                        <a:lnSpc>
                          <a:spcPct val="107000"/>
                        </a:lnSpc>
                        <a:spcBef>
                          <a:spcPts val="600"/>
                        </a:spcBef>
                        <a:spcAft>
                          <a:spcPts val="600"/>
                        </a:spcAft>
                      </a:pPr>
                      <a:r>
                        <a:rPr lang="pt-BR" sz="2400" dirty="0">
                          <a:solidFill>
                            <a:schemeClr val="tx1"/>
                          </a:solidFill>
                          <a:effectLst/>
                        </a:rPr>
                        <a:t>1 </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74160">
                <a:tc>
                  <a:txBody>
                    <a:bodyPr/>
                    <a:lstStyle/>
                    <a:p>
                      <a:pPr algn="l">
                        <a:lnSpc>
                          <a:spcPct val="107000"/>
                        </a:lnSpc>
                        <a:spcBef>
                          <a:spcPts val="600"/>
                        </a:spcBef>
                        <a:spcAft>
                          <a:spcPts val="600"/>
                        </a:spcAft>
                      </a:pPr>
                      <a:r>
                        <a:rPr lang="pt-BR" sz="2400" dirty="0">
                          <a:solidFill>
                            <a:schemeClr val="tx1"/>
                          </a:solidFill>
                          <a:effectLst/>
                        </a:rPr>
                        <a:t>total de pontos</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DEEDFA"/>
                    </a:solidFill>
                  </a:tcPr>
                </a:tc>
                <a:tc>
                  <a:txBody>
                    <a:bodyPr/>
                    <a:lstStyle/>
                    <a:p>
                      <a:pPr algn="ctr">
                        <a:lnSpc>
                          <a:spcPct val="107000"/>
                        </a:lnSpc>
                        <a:spcBef>
                          <a:spcPts val="600"/>
                        </a:spcBef>
                        <a:spcAft>
                          <a:spcPts val="600"/>
                        </a:spcAft>
                      </a:pPr>
                      <a:r>
                        <a:rPr lang="pt-BR" sz="2400" dirty="0">
                          <a:solidFill>
                            <a:schemeClr val="tx1"/>
                          </a:solidFill>
                          <a:effectLst/>
                        </a:rPr>
                        <a:t>1,61</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C000"/>
                    </a:solidFill>
                  </a:tcPr>
                </a:tc>
                <a:tc>
                  <a:txBody>
                    <a:bodyPr/>
                    <a:lstStyle/>
                    <a:p>
                      <a:pPr algn="ctr">
                        <a:lnSpc>
                          <a:spcPct val="107000"/>
                        </a:lnSpc>
                        <a:spcBef>
                          <a:spcPts val="600"/>
                        </a:spcBef>
                        <a:spcAft>
                          <a:spcPts val="600"/>
                        </a:spcAft>
                      </a:pPr>
                      <a:r>
                        <a:rPr lang="pt-BR" sz="2400" dirty="0">
                          <a:solidFill>
                            <a:schemeClr val="tx1"/>
                          </a:solidFill>
                          <a:effectLst/>
                        </a:rPr>
                        <a:t>4,50</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C000"/>
                    </a:solidFill>
                  </a:tcPr>
                </a:tc>
                <a:tc>
                  <a:txBody>
                    <a:bodyPr/>
                    <a:lstStyle/>
                    <a:p>
                      <a:pPr algn="ctr">
                        <a:lnSpc>
                          <a:spcPct val="107000"/>
                        </a:lnSpc>
                        <a:spcBef>
                          <a:spcPts val="600"/>
                        </a:spcBef>
                        <a:spcAft>
                          <a:spcPts val="600"/>
                        </a:spcAft>
                      </a:pPr>
                      <a:r>
                        <a:rPr lang="pt-BR" sz="2400" dirty="0">
                          <a:solidFill>
                            <a:schemeClr val="tx1"/>
                          </a:solidFill>
                          <a:effectLst/>
                        </a:rPr>
                        <a:t>10,33</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C000"/>
                    </a:solidFill>
                  </a:tcPr>
                </a:tc>
                <a:tc>
                  <a:txBody>
                    <a:bodyPr/>
                    <a:lstStyle/>
                    <a:p>
                      <a:pPr algn="ctr">
                        <a:lnSpc>
                          <a:spcPct val="107000"/>
                        </a:lnSpc>
                        <a:spcBef>
                          <a:spcPts val="600"/>
                        </a:spcBef>
                        <a:spcAft>
                          <a:spcPts val="600"/>
                        </a:spcAft>
                      </a:pPr>
                      <a:r>
                        <a:rPr lang="pt-BR" sz="2400" dirty="0">
                          <a:solidFill>
                            <a:schemeClr val="tx1"/>
                          </a:solidFill>
                          <a:effectLst/>
                        </a:rPr>
                        <a:t>19,00</a:t>
                      </a:r>
                      <a:endParaRPr lang="pt-BR" sz="2400" dirty="0">
                        <a:solidFill>
                          <a:schemeClr val="tx1"/>
                        </a:solidFill>
                        <a:effectLst/>
                        <a:latin typeface="Arial" charset="0"/>
                        <a:ea typeface="MS Mincho" charset="-128"/>
                      </a:endParaRPr>
                    </a:p>
                  </a:txBody>
                  <a:tcPr marL="77153" marR="77153" marT="0" marB="0" anchor="ctr">
                    <a:lnL w="28575" cap="flat" cmpd="sng" algn="ctr">
                      <a:solidFill>
                        <a:srgbClr val="69ADE7"/>
                      </a:solidFill>
                      <a:prstDash val="solid"/>
                      <a:round/>
                      <a:headEnd type="none" w="med" len="med"/>
                      <a:tailEnd type="none" w="med" len="med"/>
                    </a:lnL>
                    <a:lnR w="28575" cap="flat" cmpd="sng" algn="ctr">
                      <a:solidFill>
                        <a:srgbClr val="69ADE7"/>
                      </a:solidFill>
                      <a:prstDash val="solid"/>
                      <a:round/>
                      <a:headEnd type="none" w="med" len="med"/>
                      <a:tailEnd type="none" w="med" len="med"/>
                    </a:lnR>
                    <a:lnT w="28575" cap="flat" cmpd="sng" algn="ctr">
                      <a:solidFill>
                        <a:srgbClr val="69ADE7"/>
                      </a:solidFill>
                      <a:prstDash val="solid"/>
                      <a:round/>
                      <a:headEnd type="none" w="med" len="med"/>
                      <a:tailEnd type="none" w="med" len="med"/>
                    </a:lnT>
                    <a:lnB w="28575" cap="flat" cmpd="sng" algn="ctr">
                      <a:solidFill>
                        <a:srgbClr val="69ADE7"/>
                      </a:solidFill>
                      <a:prstDash val="solid"/>
                      <a:round/>
                      <a:headEnd type="none" w="med" len="med"/>
                      <a:tailEnd type="none" w="med" len="med"/>
                    </a:lnB>
                    <a:solidFill>
                      <a:srgbClr val="FFC000"/>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1849496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CaixaDeTexto 1"/>
          <p:cNvSpPr txBox="1">
            <a:spLocks noChangeArrowheads="1"/>
          </p:cNvSpPr>
          <p:nvPr/>
        </p:nvSpPr>
        <p:spPr bwMode="auto">
          <a:xfrm>
            <a:off x="3940970" y="9439276"/>
            <a:ext cx="5321459" cy="552944"/>
          </a:xfrm>
          <a:prstGeom prst="rect">
            <a:avLst/>
          </a:prstGeom>
          <a:noFill/>
          <a:ln>
            <a:noFill/>
          </a:ln>
        </p:spPr>
        <p:txBody>
          <a:bodyPr wrap="none" lIns="136145" tIns="68058" rIns="136145" bIns="68058">
            <a:spAutoFit/>
          </a:bodyPr>
          <a:lstStyle>
            <a:lvl1pPr>
              <a:defRPr sz="1000">
                <a:solidFill>
                  <a:schemeClr val="tx1"/>
                </a:solidFill>
                <a:latin typeface="Helvetica" pitchFamily="34" charset="0"/>
              </a:defRPr>
            </a:lvl1pPr>
            <a:lvl2pPr marL="742950" indent="-285750">
              <a:defRPr sz="1000">
                <a:solidFill>
                  <a:schemeClr val="tx1"/>
                </a:solidFill>
                <a:latin typeface="Helvetica" pitchFamily="34" charset="0"/>
              </a:defRPr>
            </a:lvl2pPr>
            <a:lvl3pPr marL="1143000" indent="-228600">
              <a:defRPr sz="1000">
                <a:solidFill>
                  <a:schemeClr val="tx1"/>
                </a:solidFill>
                <a:latin typeface="Helvetica" pitchFamily="34" charset="0"/>
              </a:defRPr>
            </a:lvl3pPr>
            <a:lvl4pPr marL="1600200" indent="-228600">
              <a:defRPr sz="1000">
                <a:solidFill>
                  <a:schemeClr val="tx1"/>
                </a:solidFill>
                <a:latin typeface="Helvetica" pitchFamily="34" charset="0"/>
              </a:defRPr>
            </a:lvl4pPr>
            <a:lvl5pPr marL="2057400" indent="-228600">
              <a:defRPr sz="1000">
                <a:solidFill>
                  <a:schemeClr val="tx1"/>
                </a:solidFill>
                <a:latin typeface="Helvetica" pitchFamily="34" charset="0"/>
              </a:defRPr>
            </a:lvl5pPr>
            <a:lvl6pPr marL="2514600" indent="-228600" eaLnBrk="0" fontAlgn="base" hangingPunct="0">
              <a:spcBef>
                <a:spcPct val="0"/>
              </a:spcBef>
              <a:spcAft>
                <a:spcPct val="0"/>
              </a:spcAft>
              <a:defRPr sz="1000">
                <a:solidFill>
                  <a:schemeClr val="tx1"/>
                </a:solidFill>
                <a:latin typeface="Helvetica" pitchFamily="34" charset="0"/>
              </a:defRPr>
            </a:lvl6pPr>
            <a:lvl7pPr marL="2971800" indent="-228600" eaLnBrk="0" fontAlgn="base" hangingPunct="0">
              <a:spcBef>
                <a:spcPct val="0"/>
              </a:spcBef>
              <a:spcAft>
                <a:spcPct val="0"/>
              </a:spcAft>
              <a:defRPr sz="1000">
                <a:solidFill>
                  <a:schemeClr val="tx1"/>
                </a:solidFill>
                <a:latin typeface="Helvetica" pitchFamily="34" charset="0"/>
              </a:defRPr>
            </a:lvl7pPr>
            <a:lvl8pPr marL="3429000" indent="-228600" eaLnBrk="0" fontAlgn="base" hangingPunct="0">
              <a:spcBef>
                <a:spcPct val="0"/>
              </a:spcBef>
              <a:spcAft>
                <a:spcPct val="0"/>
              </a:spcAft>
              <a:defRPr sz="1000">
                <a:solidFill>
                  <a:schemeClr val="tx1"/>
                </a:solidFill>
                <a:latin typeface="Helvetica" pitchFamily="34" charset="0"/>
              </a:defRPr>
            </a:lvl8pPr>
            <a:lvl9pPr marL="3886200" indent="-228600" eaLnBrk="0" fontAlgn="base" hangingPunct="0">
              <a:spcBef>
                <a:spcPct val="0"/>
              </a:spcBef>
              <a:spcAft>
                <a:spcPct val="0"/>
              </a:spcAft>
              <a:defRPr sz="1000">
                <a:solidFill>
                  <a:schemeClr val="tx1"/>
                </a:solidFill>
                <a:latin typeface="Helvetica" pitchFamily="34" charset="0"/>
              </a:defRPr>
            </a:lvl9pPr>
          </a:lstStyle>
          <a:p>
            <a:pPr>
              <a:defRPr/>
            </a:pPr>
            <a:r>
              <a:rPr lang="pt-BR" sz="2700" i="1" dirty="0">
                <a:solidFill>
                  <a:srgbClr val="FF0000"/>
                </a:solidFill>
                <a:latin typeface="Arial" charset="0"/>
              </a:rPr>
              <a:t>Investimento: </a:t>
            </a:r>
            <a:r>
              <a:rPr lang="pt-BR" sz="2700" i="1" dirty="0">
                <a:solidFill>
                  <a:srgbClr val="FF0000"/>
                </a:solidFill>
                <a:effectLst>
                  <a:outerShdw blurRad="38100" dist="38100" dir="2700000" algn="tl">
                    <a:srgbClr val="000000">
                      <a:alpha val="43137"/>
                    </a:srgbClr>
                  </a:outerShdw>
                </a:effectLst>
                <a:latin typeface="Arial" charset="0"/>
              </a:rPr>
              <a:t>Tamanho da Bolha</a:t>
            </a:r>
          </a:p>
        </p:txBody>
      </p:sp>
      <p:pic>
        <p:nvPicPr>
          <p:cNvPr id="100355" name="Imagem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414" y="1903140"/>
            <a:ext cx="12565056" cy="691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ixaDeTexto 5"/>
          <p:cNvSpPr txBox="1"/>
          <p:nvPr/>
        </p:nvSpPr>
        <p:spPr>
          <a:xfrm rot="19954974">
            <a:off x="10324445" y="7188398"/>
            <a:ext cx="2426493" cy="461665"/>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pPr algn="ctr">
              <a:defRPr/>
            </a:pPr>
            <a:r>
              <a:rPr lang="pt-BR" sz="2400" dirty="0"/>
              <a:t>EXEMPLOS</a:t>
            </a:r>
          </a:p>
        </p:txBody>
      </p:sp>
      <p:sp>
        <p:nvSpPr>
          <p:cNvPr id="100357" name="Text Box 3"/>
          <p:cNvSpPr txBox="1">
            <a:spLocks noChangeArrowheads="1"/>
          </p:cNvSpPr>
          <p:nvPr/>
        </p:nvSpPr>
        <p:spPr bwMode="auto">
          <a:xfrm>
            <a:off x="144414" y="763586"/>
            <a:ext cx="123110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000" dirty="0">
                <a:solidFill>
                  <a:schemeClr val="tx1"/>
                </a:solidFill>
                <a:latin typeface="Arial" panose="020B0604020202020204" pitchFamily="34" charset="0"/>
                <a:ea typeface="MS PGothic" panose="020B0600070205080204" pitchFamily="34" charset="-128"/>
              </a:rPr>
              <a:t>Outros Exemplos de critérios: Seleção, Avaliação e Priorização</a:t>
            </a:r>
          </a:p>
        </p:txBody>
      </p:sp>
    </p:spTree>
    <p:custDataLst>
      <p:tags r:id="rId1"/>
    </p:custDataLst>
    <p:extLst>
      <p:ext uri="{BB962C8B-B14F-4D97-AF65-F5344CB8AC3E}">
        <p14:creationId xmlns:p14="http://schemas.microsoft.com/office/powerpoint/2010/main" val="208358918"/>
      </p:ext>
    </p:extLst>
  </p:cSld>
  <p:clrMapOvr>
    <a:masterClrMapping/>
  </p:clrMapOvr>
  <p:transition spd="med">
    <p:strips dir="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Imagem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9083" y="2212182"/>
            <a:ext cx="12853988" cy="759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Rectangle 2"/>
          <p:cNvSpPr>
            <a:spLocks noGrp="1" noChangeArrowheads="1"/>
          </p:cNvSpPr>
          <p:nvPr>
            <p:ph type="title"/>
          </p:nvPr>
        </p:nvSpPr>
        <p:spPr bwMode="auto">
          <a:xfrm>
            <a:off x="0" y="283370"/>
            <a:ext cx="12687300" cy="691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6145" tIns="68058" rIns="136145" bIns="68058" numCol="1" anchor="t" anchorCtr="0" compatLnSpc="1">
            <a:prstTxWarp prst="textNoShape">
              <a:avLst/>
            </a:prstTxWarp>
            <a:spAutoFit/>
          </a:bodyPr>
          <a:lstStyle/>
          <a:p>
            <a:pPr>
              <a:spcBef>
                <a:spcPct val="50000"/>
              </a:spcBef>
            </a:pPr>
            <a:r>
              <a:rPr lang="pt-BR" altLang="pt-BR" sz="3600">
                <a:solidFill>
                  <a:schemeClr val="tx1"/>
                </a:solidFill>
              </a:rPr>
              <a:t>Escritório de Suporte a Projetos</a:t>
            </a:r>
          </a:p>
        </p:txBody>
      </p:sp>
    </p:spTree>
    <p:custDataLst>
      <p:tags r:id="rId1"/>
    </p:custDataLst>
    <p:extLst>
      <p:ext uri="{BB962C8B-B14F-4D97-AF65-F5344CB8AC3E}">
        <p14:creationId xmlns:p14="http://schemas.microsoft.com/office/powerpoint/2010/main" val="501778982"/>
      </p:ext>
    </p:extLst>
  </p:cSld>
  <p:clrMapOvr>
    <a:masterClrMapping/>
  </p:clrMapOvr>
  <p:transition>
    <p:strips dir="rd"/>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Imagem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111052"/>
            <a:ext cx="13142120" cy="852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79" name="Text Box 3"/>
          <p:cNvSpPr txBox="1">
            <a:spLocks noChangeArrowheads="1"/>
          </p:cNvSpPr>
          <p:nvPr/>
        </p:nvSpPr>
        <p:spPr bwMode="auto">
          <a:xfrm>
            <a:off x="-19050" y="1"/>
            <a:ext cx="1177528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600">
                <a:solidFill>
                  <a:schemeClr val="tx1"/>
                </a:solidFill>
                <a:latin typeface="Arial" panose="020B0604020202020204" pitchFamily="34" charset="0"/>
                <a:ea typeface="MS PGothic" panose="020B0600070205080204" pitchFamily="34" charset="-128"/>
              </a:rPr>
              <a:t>Outros Exemplos de critérios de Avaliação</a:t>
            </a:r>
          </a:p>
        </p:txBody>
      </p:sp>
      <p:sp>
        <p:nvSpPr>
          <p:cNvPr id="6" name="CaixaDeTexto 5"/>
          <p:cNvSpPr txBox="1"/>
          <p:nvPr/>
        </p:nvSpPr>
        <p:spPr>
          <a:xfrm rot="19954974">
            <a:off x="10682288" y="5141467"/>
            <a:ext cx="2426495" cy="461665"/>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pPr algn="ctr">
              <a:defRPr/>
            </a:pPr>
            <a:r>
              <a:rPr lang="pt-BR" sz="2400" dirty="0"/>
              <a:t>EXEMPLOS</a:t>
            </a:r>
          </a:p>
        </p:txBody>
      </p:sp>
    </p:spTree>
    <p:custDataLst>
      <p:tags r:id="rId1"/>
    </p:custDataLst>
    <p:extLst>
      <p:ext uri="{BB962C8B-B14F-4D97-AF65-F5344CB8AC3E}">
        <p14:creationId xmlns:p14="http://schemas.microsoft.com/office/powerpoint/2010/main" val="408216880"/>
      </p:ext>
    </p:extLst>
  </p:cSld>
  <p:clrMapOvr>
    <a:masterClrMapping/>
  </p:clrMapOvr>
  <p:transition>
    <p:strips dir="rd"/>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Imagem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88757" y="5265065"/>
            <a:ext cx="7833939" cy="459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3" name="Imagem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576" y="1681019"/>
            <a:ext cx="5829753" cy="435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4" name="Retângulo 41"/>
          <p:cNvSpPr>
            <a:spLocks noChangeArrowheads="1"/>
          </p:cNvSpPr>
          <p:nvPr/>
        </p:nvSpPr>
        <p:spPr bwMode="auto">
          <a:xfrm>
            <a:off x="28576" y="78583"/>
            <a:ext cx="10075070" cy="57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807"/>
              </a:lnSpc>
              <a:spcBef>
                <a:spcPct val="0"/>
              </a:spcBef>
              <a:buNone/>
            </a:pPr>
            <a:r>
              <a:rPr lang="pt-BR" altLang="pt-BR" sz="3300">
                <a:solidFill>
                  <a:schemeClr val="bg1"/>
                </a:solidFill>
                <a:latin typeface="Arial" panose="020B0604020202020204" pitchFamily="34" charset="0"/>
              </a:rPr>
              <a:t>Avaliar os Projetos Candidatos ao Portfólio </a:t>
            </a:r>
          </a:p>
        </p:txBody>
      </p:sp>
      <p:sp>
        <p:nvSpPr>
          <p:cNvPr id="6" name="Retângulo 5"/>
          <p:cNvSpPr/>
          <p:nvPr/>
        </p:nvSpPr>
        <p:spPr>
          <a:xfrm>
            <a:off x="8781975" y="1944142"/>
            <a:ext cx="2599702" cy="1338828"/>
          </a:xfrm>
          <a:prstGeom prst="rect">
            <a:avLst/>
          </a:prstGeom>
          <a:noFill/>
        </p:spPr>
        <p:txBody>
          <a:bodyPr wrap="square">
            <a:spAutoFit/>
          </a:bodyPr>
          <a:lstStyle/>
          <a:p>
            <a:pPr algn="ctr">
              <a:defRPr/>
            </a:pPr>
            <a:r>
              <a:rPr lang="pt-BR" sz="8100" dirty="0">
                <a:ln w="6600">
                  <a:solidFill>
                    <a:schemeClr val="accent2"/>
                  </a:solidFill>
                  <a:prstDash val="solid"/>
                </a:ln>
                <a:solidFill>
                  <a:srgbClr val="FFFFFF"/>
                </a:solidFill>
                <a:effectLst>
                  <a:outerShdw dist="38100" dir="2700000" algn="tl" rotWithShape="0">
                    <a:schemeClr val="accent2"/>
                  </a:outerShdw>
                </a:effectLst>
              </a:rPr>
              <a:t>BSC</a:t>
            </a:r>
          </a:p>
        </p:txBody>
      </p:sp>
      <p:sp>
        <p:nvSpPr>
          <p:cNvPr id="7" name="Rectangle 3"/>
          <p:cNvSpPr/>
          <p:nvPr/>
        </p:nvSpPr>
        <p:spPr>
          <a:xfrm>
            <a:off x="7912895" y="3393157"/>
            <a:ext cx="3468782" cy="114622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pt-BR" sz="2100" dirty="0">
                <a:solidFill>
                  <a:schemeClr val="tx1"/>
                </a:solidFill>
              </a:rPr>
              <a:t>META</a:t>
            </a:r>
            <a:r>
              <a:rPr lang="pt-BR" sz="1650" dirty="0">
                <a:solidFill>
                  <a:schemeClr val="tx1"/>
                </a:solidFill>
              </a:rPr>
              <a:t>: SELECIONAR</a:t>
            </a:r>
          </a:p>
          <a:p>
            <a:pPr algn="ctr" fontAlgn="auto">
              <a:spcBef>
                <a:spcPts val="0"/>
              </a:spcBef>
              <a:spcAft>
                <a:spcPts val="0"/>
              </a:spcAft>
              <a:defRPr/>
            </a:pPr>
            <a:r>
              <a:rPr lang="pt-BR" sz="1650" dirty="0">
                <a:solidFill>
                  <a:schemeClr val="tx1"/>
                </a:solidFill>
              </a:rPr>
              <a:t>CONJUNTO DE PROJETOS MAIS ALINHADOS AOS OBJETIVOS ESTRATÉGICOS</a:t>
            </a:r>
          </a:p>
        </p:txBody>
      </p:sp>
      <p:sp>
        <p:nvSpPr>
          <p:cNvPr id="102407" name="CaixaDeTexto 7"/>
          <p:cNvSpPr txBox="1">
            <a:spLocks noChangeArrowheads="1"/>
          </p:cNvSpPr>
          <p:nvPr/>
        </p:nvSpPr>
        <p:spPr bwMode="auto">
          <a:xfrm>
            <a:off x="2685636" y="368406"/>
            <a:ext cx="693651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dirty="0" err="1">
                <a:solidFill>
                  <a:schemeClr val="tx1"/>
                </a:solidFill>
                <a:latin typeface="Arial" panose="020B0604020202020204" pitchFamily="34" charset="0"/>
              </a:rPr>
              <a:t>Balanced</a:t>
            </a:r>
            <a:r>
              <a:rPr lang="pt-BR" altLang="pt-BR" sz="2700" dirty="0">
                <a:solidFill>
                  <a:schemeClr val="tx1"/>
                </a:solidFill>
                <a:latin typeface="Arial" panose="020B0604020202020204" pitchFamily="34" charset="0"/>
              </a:rPr>
              <a:t> Scorecard – critérios de avaliação</a:t>
            </a:r>
          </a:p>
        </p:txBody>
      </p:sp>
      <p:sp>
        <p:nvSpPr>
          <p:cNvPr id="8" name="CaixaDeTexto 7"/>
          <p:cNvSpPr txBox="1"/>
          <p:nvPr/>
        </p:nvSpPr>
        <p:spPr>
          <a:xfrm rot="19954974">
            <a:off x="86074" y="7886298"/>
            <a:ext cx="2244247" cy="461665"/>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algn="ctr">
              <a:defRPr/>
            </a:pPr>
            <a:r>
              <a:rPr lang="pt-BR" sz="2400" dirty="0"/>
              <a:t>EXEMPLOS</a:t>
            </a:r>
          </a:p>
        </p:txBody>
      </p:sp>
      <p:pic>
        <p:nvPicPr>
          <p:cNvPr id="102409"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1739" y="6347788"/>
            <a:ext cx="2601035" cy="329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0711790"/>
      </p:ext>
    </p:extLst>
  </p:cSld>
  <p:clrMapOvr>
    <a:masterClrMapping/>
  </p:clrMapOvr>
  <p:transition>
    <p:strips dir="rd"/>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tângulo 41"/>
          <p:cNvSpPr>
            <a:spLocks noChangeArrowheads="1"/>
          </p:cNvSpPr>
          <p:nvPr/>
        </p:nvSpPr>
        <p:spPr bwMode="auto">
          <a:xfrm>
            <a:off x="28576" y="78583"/>
            <a:ext cx="10075070" cy="57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807"/>
              </a:lnSpc>
              <a:spcBef>
                <a:spcPct val="0"/>
              </a:spcBef>
              <a:buNone/>
            </a:pPr>
            <a:r>
              <a:rPr lang="pt-BR" altLang="pt-BR" sz="3300">
                <a:solidFill>
                  <a:schemeClr val="bg1"/>
                </a:solidFill>
                <a:latin typeface="Arial" panose="020B0604020202020204" pitchFamily="34" charset="0"/>
              </a:rPr>
              <a:t>Avaliar os Projetos Candidatos ao Portfólio </a:t>
            </a:r>
          </a:p>
        </p:txBody>
      </p:sp>
      <p:sp>
        <p:nvSpPr>
          <p:cNvPr id="102407" name="CaixaDeTexto 7"/>
          <p:cNvSpPr txBox="1">
            <a:spLocks noChangeArrowheads="1"/>
          </p:cNvSpPr>
          <p:nvPr/>
        </p:nvSpPr>
        <p:spPr bwMode="auto">
          <a:xfrm>
            <a:off x="2685636" y="368406"/>
            <a:ext cx="693651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700" dirty="0" err="1">
                <a:solidFill>
                  <a:schemeClr val="tx1"/>
                </a:solidFill>
                <a:latin typeface="Arial" panose="020B0604020202020204" pitchFamily="34" charset="0"/>
              </a:rPr>
              <a:t>Balanced</a:t>
            </a:r>
            <a:r>
              <a:rPr lang="pt-BR" altLang="pt-BR" sz="2700" dirty="0">
                <a:solidFill>
                  <a:schemeClr val="tx1"/>
                </a:solidFill>
                <a:latin typeface="Arial" panose="020B0604020202020204" pitchFamily="34" charset="0"/>
              </a:rPr>
              <a:t> Scorecard – critérios de avaliação</a:t>
            </a:r>
          </a:p>
        </p:txBody>
      </p:sp>
      <p:pic>
        <p:nvPicPr>
          <p:cNvPr id="4" name="Imagem 3">
            <a:extLst>
              <a:ext uri="{FF2B5EF4-FFF2-40B4-BE49-F238E27FC236}">
                <a16:creationId xmlns:a16="http://schemas.microsoft.com/office/drawing/2014/main" id="{0B74D5E0-A2A3-47DE-9AF7-7283ECD69CDA}"/>
              </a:ext>
            </a:extLst>
          </p:cNvPr>
          <p:cNvPicPr>
            <a:picLocks noChangeAspect="1"/>
          </p:cNvPicPr>
          <p:nvPr/>
        </p:nvPicPr>
        <p:blipFill>
          <a:blip r:embed="rId2"/>
          <a:stretch>
            <a:fillRect/>
          </a:stretch>
        </p:blipFill>
        <p:spPr>
          <a:xfrm>
            <a:off x="377280" y="1759124"/>
            <a:ext cx="12646467" cy="7344815"/>
          </a:xfrm>
          <a:prstGeom prst="rect">
            <a:avLst/>
          </a:prstGeom>
        </p:spPr>
      </p:pic>
    </p:spTree>
    <p:extLst>
      <p:ext uri="{BB962C8B-B14F-4D97-AF65-F5344CB8AC3E}">
        <p14:creationId xmlns:p14="http://schemas.microsoft.com/office/powerpoint/2010/main" val="3717527937"/>
      </p:ext>
    </p:extLst>
  </p:cSld>
  <p:clrMapOvr>
    <a:masterClrMapping/>
  </p:clrMapOvr>
  <p:transition>
    <p:strips dir="rd"/>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Espaço Reservado para Número de Slide 1"/>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4800">
                <a:solidFill>
                  <a:srgbClr val="404040"/>
                </a:solidFill>
                <a:latin typeface="Times New Roman" panose="02020603050405020304" pitchFamily="18" charset="0"/>
              </a:defRPr>
            </a:lvl1pPr>
            <a:lvl2pPr marL="1114425" indent="-428625">
              <a:spcBef>
                <a:spcPct val="20000"/>
              </a:spcBef>
              <a:buChar char="–"/>
              <a:defRPr sz="4200">
                <a:solidFill>
                  <a:srgbClr val="404040"/>
                </a:solidFill>
                <a:latin typeface="Times New Roman" panose="02020603050405020304" pitchFamily="18" charset="0"/>
              </a:defRPr>
            </a:lvl2pPr>
            <a:lvl3pPr marL="1714500" indent="-342900">
              <a:spcBef>
                <a:spcPct val="20000"/>
              </a:spcBef>
              <a:buChar char="•"/>
              <a:defRPr sz="3600">
                <a:solidFill>
                  <a:srgbClr val="404040"/>
                </a:solidFill>
                <a:latin typeface="Times New Roman" panose="02020603050405020304" pitchFamily="18" charset="0"/>
              </a:defRPr>
            </a:lvl3pPr>
            <a:lvl4pPr marL="2400300" indent="-342900">
              <a:spcBef>
                <a:spcPct val="20000"/>
              </a:spcBef>
              <a:buChar char="–"/>
              <a:defRPr sz="3000">
                <a:solidFill>
                  <a:srgbClr val="404040"/>
                </a:solidFill>
                <a:latin typeface="Times New Roman" panose="02020603050405020304" pitchFamily="18" charset="0"/>
              </a:defRPr>
            </a:lvl4pPr>
            <a:lvl5pPr marL="3086100" indent="-342900">
              <a:spcBef>
                <a:spcPct val="20000"/>
              </a:spcBef>
              <a:buChar char="»"/>
              <a:defRPr sz="3000">
                <a:solidFill>
                  <a:srgbClr val="404040"/>
                </a:solidFill>
                <a:latin typeface="Times New Roman" panose="02020603050405020304" pitchFamily="18" charset="0"/>
              </a:defRPr>
            </a:lvl5pPr>
            <a:lvl6pPr marL="3771900" indent="-342900" eaLnBrk="0" fontAlgn="base" hangingPunct="0">
              <a:spcBef>
                <a:spcPct val="20000"/>
              </a:spcBef>
              <a:spcAft>
                <a:spcPct val="0"/>
              </a:spcAft>
              <a:buChar char="»"/>
              <a:defRPr sz="3000">
                <a:solidFill>
                  <a:srgbClr val="404040"/>
                </a:solidFill>
                <a:latin typeface="Times New Roman" panose="02020603050405020304" pitchFamily="18" charset="0"/>
              </a:defRPr>
            </a:lvl6pPr>
            <a:lvl7pPr marL="4457700" indent="-342900" eaLnBrk="0" fontAlgn="base" hangingPunct="0">
              <a:spcBef>
                <a:spcPct val="20000"/>
              </a:spcBef>
              <a:spcAft>
                <a:spcPct val="0"/>
              </a:spcAft>
              <a:buChar char="»"/>
              <a:defRPr sz="3000">
                <a:solidFill>
                  <a:srgbClr val="404040"/>
                </a:solidFill>
                <a:latin typeface="Times New Roman" panose="02020603050405020304" pitchFamily="18" charset="0"/>
              </a:defRPr>
            </a:lvl7pPr>
            <a:lvl8pPr marL="5143500" indent="-342900" eaLnBrk="0" fontAlgn="base" hangingPunct="0">
              <a:spcBef>
                <a:spcPct val="20000"/>
              </a:spcBef>
              <a:spcAft>
                <a:spcPct val="0"/>
              </a:spcAft>
              <a:buChar char="»"/>
              <a:defRPr sz="3000">
                <a:solidFill>
                  <a:srgbClr val="404040"/>
                </a:solidFill>
                <a:latin typeface="Times New Roman" panose="02020603050405020304" pitchFamily="18" charset="0"/>
              </a:defRPr>
            </a:lvl8pPr>
            <a:lvl9pPr marL="5829300" indent="-342900" eaLnBrk="0" fontAlgn="base" hangingPunct="0">
              <a:spcBef>
                <a:spcPct val="20000"/>
              </a:spcBef>
              <a:spcAft>
                <a:spcPct val="0"/>
              </a:spcAft>
              <a:buChar char="»"/>
              <a:defRPr sz="3000">
                <a:solidFill>
                  <a:srgbClr val="404040"/>
                </a:solidFill>
                <a:latin typeface="Times New Roman" panose="02020603050405020304" pitchFamily="18" charset="0"/>
              </a:defRPr>
            </a:lvl9pPr>
          </a:lstStyle>
          <a:p>
            <a:pPr algn="r">
              <a:spcBef>
                <a:spcPct val="0"/>
              </a:spcBef>
              <a:buFontTx/>
              <a:buNone/>
            </a:pPr>
            <a:r>
              <a:rPr lang="pt-BR" altLang="pt-BR" sz="2100">
                <a:solidFill>
                  <a:schemeClr val="tx1"/>
                </a:solidFill>
                <a:latin typeface="Arial" panose="020B0604020202020204" pitchFamily="34" charset="0"/>
              </a:rPr>
              <a:t>76</a:t>
            </a:r>
          </a:p>
          <a:p>
            <a:pPr algn="r">
              <a:spcBef>
                <a:spcPct val="0"/>
              </a:spcBef>
              <a:buFontTx/>
              <a:buNone/>
            </a:pPr>
            <a:endParaRPr lang="pt-BR" altLang="pt-BR" sz="2100">
              <a:solidFill>
                <a:schemeClr val="tx1"/>
              </a:solidFill>
              <a:latin typeface="Arial" panose="020B0604020202020204" pitchFamily="34" charset="0"/>
            </a:endParaRPr>
          </a:p>
        </p:txBody>
      </p:sp>
      <p:graphicFrame>
        <p:nvGraphicFramePr>
          <p:cNvPr id="2383936" name="Group 64"/>
          <p:cNvGraphicFramePr>
            <a:graphicFrameLocks noGrp="1"/>
          </p:cNvGraphicFramePr>
          <p:nvPr/>
        </p:nvGraphicFramePr>
        <p:xfrm>
          <a:off x="0" y="21433"/>
          <a:ext cx="13716000" cy="10596563"/>
        </p:xfrm>
        <a:graphic>
          <a:graphicData uri="http://schemas.openxmlformats.org/drawingml/2006/table">
            <a:tbl>
              <a:tblPr/>
              <a:tblGrid>
                <a:gridCol w="2435661">
                  <a:extLst>
                    <a:ext uri="{9D8B030D-6E8A-4147-A177-3AD203B41FA5}">
                      <a16:colId xmlns:a16="http://schemas.microsoft.com/office/drawing/2014/main" val="20000"/>
                    </a:ext>
                  </a:extLst>
                </a:gridCol>
                <a:gridCol w="2319795">
                  <a:extLst>
                    <a:ext uri="{9D8B030D-6E8A-4147-A177-3AD203B41FA5}">
                      <a16:colId xmlns:a16="http://schemas.microsoft.com/office/drawing/2014/main" val="20001"/>
                    </a:ext>
                  </a:extLst>
                </a:gridCol>
                <a:gridCol w="2240136">
                  <a:extLst>
                    <a:ext uri="{9D8B030D-6E8A-4147-A177-3AD203B41FA5}">
                      <a16:colId xmlns:a16="http://schemas.microsoft.com/office/drawing/2014/main" val="20002"/>
                    </a:ext>
                  </a:extLst>
                </a:gridCol>
                <a:gridCol w="2240136">
                  <a:extLst>
                    <a:ext uri="{9D8B030D-6E8A-4147-A177-3AD203B41FA5}">
                      <a16:colId xmlns:a16="http://schemas.microsoft.com/office/drawing/2014/main" val="20003"/>
                    </a:ext>
                  </a:extLst>
                </a:gridCol>
                <a:gridCol w="2240136">
                  <a:extLst>
                    <a:ext uri="{9D8B030D-6E8A-4147-A177-3AD203B41FA5}">
                      <a16:colId xmlns:a16="http://schemas.microsoft.com/office/drawing/2014/main" val="20004"/>
                    </a:ext>
                  </a:extLst>
                </a:gridCol>
                <a:gridCol w="2240136">
                  <a:extLst>
                    <a:ext uri="{9D8B030D-6E8A-4147-A177-3AD203B41FA5}">
                      <a16:colId xmlns:a16="http://schemas.microsoft.com/office/drawing/2014/main" val="20005"/>
                    </a:ext>
                  </a:extLst>
                </a:gridCol>
              </a:tblGrid>
              <a:tr h="1223763">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333399"/>
                          </a:solidFill>
                          <a:effectLst/>
                          <a:latin typeface="Comic Sans MS" panose="030F0702030302020204" pitchFamily="66" charset="0"/>
                        </a:rPr>
                        <a:t>Perspectiv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lumMod val="95000"/>
                      </a:schemeClr>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1" i="0" u="none" strike="noStrike" cap="none" normalizeH="0" baseline="0" dirty="0">
                          <a:ln>
                            <a:noFill/>
                          </a:ln>
                          <a:solidFill>
                            <a:srgbClr val="FF0000"/>
                          </a:solidFill>
                          <a:effectLst/>
                          <a:latin typeface="Comic Sans MS" panose="030F0702030302020204" pitchFamily="66" charset="0"/>
                        </a:rPr>
                        <a:t>Mapa da Estratégia</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lumMod val="95000"/>
                      </a:schemeClr>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Objetivos Estratégico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lumMod val="95000"/>
                      </a:schemeClr>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Indicadore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lumMod val="95000"/>
                      </a:schemeClr>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Met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lumMod val="95000"/>
                      </a:schemeClr>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Portfoli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Programas   e Projeto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0"/>
                  </a:ext>
                </a:extLst>
              </a:tr>
              <a:tr h="2011724">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100" b="0" i="0" u="none" strike="noStrike" cap="none" normalizeH="0" baseline="0" dirty="0">
                        <a:ln>
                          <a:noFill/>
                        </a:ln>
                        <a:solidFill>
                          <a:srgbClr val="333399"/>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Financeira</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CC99"/>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Lucro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1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Receit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Crescimento do Negóci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Participação no Mercad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Lucro operacion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Crescimento do negóci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Aumento de 20% no lucr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Aumento de 12% no faturament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o pontos de venda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bertura de banco de Investimentos para faclitar crédito para o cliente. Administrado por sistema intern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1"/>
                  </a:ext>
                </a:extLst>
              </a:tr>
              <a:tr h="2560374">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100" b="0" i="0" u="none" strike="noStrike" cap="none" normalizeH="0" baseline="0" dirty="0">
                        <a:ln>
                          <a:noFill/>
                        </a:ln>
                        <a:solidFill>
                          <a:srgbClr val="333399"/>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100" b="0" i="0" u="none" strike="noStrike" cap="none" normalizeH="0" baseline="0" dirty="0">
                        <a:ln>
                          <a:noFill/>
                        </a:ln>
                        <a:solidFill>
                          <a:srgbClr val="333399"/>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Cliente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CC99"/>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18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18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Qualidade do Produt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Satisfação do cliente</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Fidelização do cliente</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 de retenção de cliente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 satisfação de cliente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Crescimento vendas/an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50% na retenção dos cliente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15% na satisfação dos cliente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12% nas vend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Novas campanha de marketing promocionai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Maior cobertura da equipe de vendas para o brasi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Implantação do atendimento ao cliente – CRM/SAC</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B2C</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2"/>
                  </a:ext>
                </a:extLst>
              </a:tr>
              <a:tr h="1783119">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100" b="0" i="0" u="none" strike="noStrike" cap="none" normalizeH="0" baseline="0" dirty="0">
                        <a:ln>
                          <a:noFill/>
                        </a:ln>
                        <a:solidFill>
                          <a:srgbClr val="333399"/>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2100" b="0" i="0" u="none" strike="noStrike" cap="none" normalizeH="0" baseline="0" dirty="0">
                          <a:ln>
                            <a:noFill/>
                          </a:ln>
                          <a:solidFill>
                            <a:srgbClr val="333399"/>
                          </a:solidFill>
                          <a:effectLst/>
                          <a:latin typeface="Comic Sans MS" panose="030F0702030302020204" pitchFamily="66" charset="0"/>
                        </a:rPr>
                        <a:t>Processos Interno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CC99"/>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7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Excelência na Produção</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Melhoria da qualidade da fabricaçã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a:ln>
                            <a:noFill/>
                          </a:ln>
                          <a:solidFill>
                            <a:srgbClr val="000000"/>
                          </a:solidFill>
                          <a:effectLst/>
                          <a:latin typeface="Comic Sans MS" panose="030F0702030302020204" pitchFamily="66" charset="0"/>
                        </a:rPr>
                        <a:t>Maior eficiência</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 de produtos fabricados sem defeito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 de aumento da produtividade</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20% na produtividade</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10% na eficiência, reduzindo de 4% para 0,5% produtos com defeito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Programa de qualidade tot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Programa de  incentivo a produtividade</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Filosofia </a:t>
                      </a:r>
                      <a:r>
                        <a:rPr kumimoji="0" lang="pt-BR" altLang="pt-BR" sz="1500" b="0" i="0" u="none" strike="noStrike" cap="none" normalizeH="0" baseline="0" dirty="0" err="1">
                          <a:ln>
                            <a:noFill/>
                          </a:ln>
                          <a:solidFill>
                            <a:srgbClr val="000000"/>
                          </a:solidFill>
                          <a:effectLst/>
                          <a:latin typeface="Comic Sans MS" panose="030F0702030302020204" pitchFamily="66" charset="0"/>
                        </a:rPr>
                        <a:t>Kaizen</a:t>
                      </a:r>
                      <a:endParaRPr kumimoji="0" lang="pt-BR" altLang="pt-BR" sz="1500" b="0" i="0" u="none" strike="noStrike" cap="none" normalizeH="0" baseline="0" dirty="0">
                        <a:ln>
                          <a:noFill/>
                        </a:ln>
                        <a:solidFill>
                          <a:srgbClr val="000000"/>
                        </a:solidFill>
                        <a:effectLst/>
                        <a:latin typeface="Comic Sans MS" panose="030F0702030302020204" pitchFamily="66" charset="0"/>
                      </a:endParaRP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3"/>
                  </a:ext>
                </a:extLst>
              </a:tr>
              <a:tr h="3017583">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1800" b="0" i="0" u="none" strike="noStrike" cap="none" normalizeH="0" baseline="0" dirty="0">
                        <a:ln>
                          <a:noFill/>
                        </a:ln>
                        <a:solidFill>
                          <a:srgbClr val="333399"/>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333399"/>
                          </a:solidFill>
                          <a:effectLst/>
                          <a:latin typeface="Comic Sans MS" panose="030F0702030302020204" pitchFamily="66" charset="0"/>
                        </a:rPr>
                        <a:t>Aprendizado e Cresciment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333399"/>
                          </a:solidFill>
                          <a:effectLst/>
                          <a:latin typeface="Comic Sans MS" panose="030F0702030302020204" pitchFamily="66" charset="0"/>
                        </a:rPr>
                        <a:t>Pesso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CC99"/>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Competências Pessoais</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36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endParaRPr kumimoji="0" lang="pt-BR" altLang="pt-BR" sz="2700" b="0" i="0" u="none" strike="noStrike" cap="none" normalizeH="0" baseline="0" dirty="0">
                        <a:ln>
                          <a:noFill/>
                        </a:ln>
                        <a:solidFill>
                          <a:srgbClr val="000000"/>
                        </a:solidFill>
                        <a:effectLst/>
                        <a:latin typeface="Comic Sans MS" panose="030F0702030302020204" pitchFamily="66" charset="0"/>
                      </a:endParaRP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None/>
                        <a:tabLst/>
                      </a:pPr>
                      <a:r>
                        <a:rPr kumimoji="0" lang="pt-BR" altLang="pt-BR" sz="1800" b="0" i="0" u="none" strike="noStrike" cap="none" normalizeH="0" baseline="0" dirty="0">
                          <a:ln>
                            <a:noFill/>
                          </a:ln>
                          <a:solidFill>
                            <a:srgbClr val="000000"/>
                          </a:solidFill>
                          <a:effectLst/>
                          <a:latin typeface="Comic Sans MS" panose="030F0702030302020204" pitchFamily="66" charset="0"/>
                        </a:rPr>
                        <a:t>Capacitação das Pesso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Treinar e equipar o pesso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Maior motivação do pesso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Maior retenção do capital intelectual da empresa</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Produtividade do pesso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Melhoria do clima organizacion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Redução do número de acidentes trabalhistas</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e 20% na produtividade individual do profissional</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Melhoria do clima organizacional, 85% de satisfaçã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Redução de 10% do número de afastamentos por acidente de trabalh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endParaRPr kumimoji="0" lang="pt-BR" altLang="pt-BR" sz="1500" b="0" i="0" u="none" strike="noStrike" cap="none" normalizeH="0" baseline="0" dirty="0">
                        <a:ln>
                          <a:noFill/>
                        </a:ln>
                        <a:solidFill>
                          <a:srgbClr val="000000"/>
                        </a:solidFill>
                        <a:effectLst/>
                        <a:latin typeface="Comic Sans MS" panose="030F0702030302020204" pitchFamily="66" charset="0"/>
                      </a:endParaRP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bg1"/>
                    </a:solidFill>
                  </a:tcPr>
                </a:tc>
                <a:tc>
                  <a:txBody>
                    <a:bodyPr/>
                    <a:lstStyle>
                      <a:lvl1pPr algn="l">
                        <a:spcBef>
                          <a:spcPct val="20000"/>
                        </a:spcBef>
                        <a:buClr>
                          <a:srgbClr val="FC0128"/>
                        </a:buClr>
                        <a:buSzPct val="75000"/>
                        <a:buFont typeface="Monotype Sorts" pitchFamily="2" charset="2"/>
                        <a:defRPr sz="2000">
                          <a:solidFill>
                            <a:schemeClr val="tx1"/>
                          </a:solidFill>
                          <a:latin typeface="Comic Sans MS" panose="030F0702030302020204" pitchFamily="66" charset="0"/>
                        </a:defRPr>
                      </a:lvl1pPr>
                      <a:lvl2pPr marL="571500" indent="-114300" algn="l">
                        <a:spcBef>
                          <a:spcPct val="20000"/>
                        </a:spcBef>
                        <a:buClr>
                          <a:srgbClr val="FC0128"/>
                        </a:buClr>
                        <a:buSzPct val="100000"/>
                        <a:defRPr>
                          <a:solidFill>
                            <a:schemeClr val="tx1"/>
                          </a:solidFill>
                          <a:latin typeface="Comic Sans MS" panose="030F0702030302020204" pitchFamily="66" charset="0"/>
                        </a:defRPr>
                      </a:lvl2pPr>
                      <a:lvl3pPr marL="1141413" indent="-227013" algn="l">
                        <a:spcBef>
                          <a:spcPct val="20000"/>
                        </a:spcBef>
                        <a:buClr>
                          <a:srgbClr val="FC0128"/>
                        </a:buClr>
                        <a:buSzPct val="100000"/>
                        <a:defRPr sz="1600">
                          <a:solidFill>
                            <a:schemeClr val="tx1"/>
                          </a:solidFill>
                          <a:latin typeface="Comic Sans MS" panose="030F0702030302020204" pitchFamily="66" charset="0"/>
                        </a:defRPr>
                      </a:lvl3pPr>
                      <a:lvl4pPr marL="1484313" indent="-112713" algn="l">
                        <a:spcBef>
                          <a:spcPct val="20000"/>
                        </a:spcBef>
                        <a:buClr>
                          <a:srgbClr val="FC0128"/>
                        </a:buClr>
                        <a:buSzPct val="65000"/>
                        <a:buFont typeface="Monotype Sorts" pitchFamily="2" charset="2"/>
                        <a:defRPr sz="1400">
                          <a:solidFill>
                            <a:schemeClr val="tx1"/>
                          </a:solidFill>
                          <a:latin typeface="Comic Sans MS" panose="030F0702030302020204" pitchFamily="66" charset="0"/>
                        </a:defRPr>
                      </a:lvl4pPr>
                      <a:lvl5pPr algn="l">
                        <a:spcBef>
                          <a:spcPct val="20000"/>
                        </a:spcBef>
                        <a:buClr>
                          <a:srgbClr val="FC0128"/>
                        </a:buClr>
                        <a:buSzPct val="100000"/>
                        <a:defRPr sz="1400">
                          <a:solidFill>
                            <a:schemeClr val="tx1"/>
                          </a:solidFill>
                          <a:latin typeface="Comic Sans MS" panose="030F0702030302020204" pitchFamily="66" charset="0"/>
                        </a:defRPr>
                      </a:lvl5pPr>
                      <a:lvl6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6pPr>
                      <a:lvl7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7pPr>
                      <a:lvl8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8pPr>
                      <a:lvl9pPr eaLnBrk="0" fontAlgn="base" hangingPunct="0">
                        <a:spcBef>
                          <a:spcPct val="20000"/>
                        </a:spcBef>
                        <a:spcAft>
                          <a:spcPct val="0"/>
                        </a:spcAft>
                        <a:buClr>
                          <a:srgbClr val="FC0128"/>
                        </a:buClr>
                        <a:buSzPct val="100000"/>
                        <a:defRPr sz="1400">
                          <a:solidFill>
                            <a:schemeClr val="tx1"/>
                          </a:solidFill>
                          <a:latin typeface="Comic Sans MS" panose="030F0702030302020204" pitchFamily="66" charset="0"/>
                        </a:defRPr>
                      </a:lvl9pPr>
                    </a:lstStyle>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Implantação da Universidade Corporativa</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cap="none" normalizeH="0" baseline="0" dirty="0">
                          <a:ln>
                            <a:noFill/>
                          </a:ln>
                          <a:solidFill>
                            <a:srgbClr val="000000"/>
                          </a:solidFill>
                          <a:effectLst/>
                          <a:latin typeface="Comic Sans MS" panose="030F0702030302020204" pitchFamily="66" charset="0"/>
                        </a:rPr>
                        <a:t>Aumento do investimento em treinamentos externos de capacitação</a:t>
                      </a:r>
                    </a:p>
                    <a:p>
                      <a:pPr marL="0" marR="0" lvl="0" indent="0" algn="ctr" defTabSz="914400" rtl="0" eaLnBrk="0" fontAlgn="base" latinLnBrk="0" hangingPunct="0">
                        <a:lnSpc>
                          <a:spcPct val="100000"/>
                        </a:lnSpc>
                        <a:spcBef>
                          <a:spcPct val="20000"/>
                        </a:spcBef>
                        <a:spcAft>
                          <a:spcPct val="0"/>
                        </a:spcAft>
                        <a:buClr>
                          <a:srgbClr val="FC0128"/>
                        </a:buClr>
                        <a:buSzPct val="75000"/>
                        <a:buFont typeface="Monotype Sorts" pitchFamily="2" charset="2"/>
                        <a:buChar char="u"/>
                        <a:tabLst/>
                      </a:pPr>
                      <a:r>
                        <a:rPr kumimoji="0" lang="pt-BR" altLang="pt-BR" sz="1500" b="0" i="0" u="none" strike="noStrike" kern="1200" cap="none" normalizeH="0" baseline="0" dirty="0">
                          <a:ln>
                            <a:noFill/>
                          </a:ln>
                          <a:solidFill>
                            <a:srgbClr val="000000"/>
                          </a:solidFill>
                          <a:effectLst/>
                          <a:latin typeface="Comic Sans MS" panose="030F0702030302020204" pitchFamily="66" charset="0"/>
                          <a:ea typeface="+mn-ea"/>
                          <a:cs typeface="+mn-cs"/>
                        </a:rPr>
                        <a:t>Implementação da Pesquisa de clima organizacional</a:t>
                      </a:r>
                    </a:p>
                  </a:txBody>
                  <a:tcPr marL="137169" marR="137169" marT="68583" marB="68583"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4"/>
                  </a:ext>
                </a:extLst>
              </a:tr>
            </a:tbl>
          </a:graphicData>
        </a:graphic>
      </p:graphicFrame>
      <p:sp>
        <p:nvSpPr>
          <p:cNvPr id="103471" name="Oval 46"/>
          <p:cNvSpPr>
            <a:spLocks noChangeArrowheads="1"/>
          </p:cNvSpPr>
          <p:nvPr/>
        </p:nvSpPr>
        <p:spPr bwMode="auto">
          <a:xfrm>
            <a:off x="2857501" y="1319213"/>
            <a:ext cx="1557338" cy="5715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2" name="Oval 47"/>
          <p:cNvSpPr>
            <a:spLocks noChangeArrowheads="1"/>
          </p:cNvSpPr>
          <p:nvPr/>
        </p:nvSpPr>
        <p:spPr bwMode="auto">
          <a:xfrm>
            <a:off x="2795588" y="2035970"/>
            <a:ext cx="1793082" cy="790575"/>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3" name="Oval 48"/>
          <p:cNvSpPr>
            <a:spLocks noChangeArrowheads="1"/>
          </p:cNvSpPr>
          <p:nvPr/>
        </p:nvSpPr>
        <p:spPr bwMode="auto">
          <a:xfrm>
            <a:off x="2536033" y="3771900"/>
            <a:ext cx="2395538" cy="11430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4" name="Oval 49"/>
          <p:cNvSpPr>
            <a:spLocks noChangeArrowheads="1"/>
          </p:cNvSpPr>
          <p:nvPr/>
        </p:nvSpPr>
        <p:spPr bwMode="auto">
          <a:xfrm>
            <a:off x="2583657" y="6010275"/>
            <a:ext cx="2305050" cy="11430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5" name="Oval 50"/>
          <p:cNvSpPr>
            <a:spLocks noChangeArrowheads="1"/>
          </p:cNvSpPr>
          <p:nvPr/>
        </p:nvSpPr>
        <p:spPr bwMode="auto">
          <a:xfrm>
            <a:off x="2602707" y="7296150"/>
            <a:ext cx="2286000" cy="1028700"/>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6" name="Oval 51"/>
          <p:cNvSpPr>
            <a:spLocks noChangeArrowheads="1"/>
          </p:cNvSpPr>
          <p:nvPr/>
        </p:nvSpPr>
        <p:spPr bwMode="auto">
          <a:xfrm>
            <a:off x="2602707" y="8967788"/>
            <a:ext cx="2171700" cy="1092995"/>
          </a:xfrm>
          <a:prstGeom prst="ellipse">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7" name="AutoShape 52"/>
          <p:cNvSpPr>
            <a:spLocks noChangeArrowheads="1"/>
          </p:cNvSpPr>
          <p:nvPr/>
        </p:nvSpPr>
        <p:spPr bwMode="auto">
          <a:xfrm rot="-4812471">
            <a:off x="2081213" y="1557338"/>
            <a:ext cx="1143000" cy="571500"/>
          </a:xfrm>
          <a:prstGeom prst="curvedDownArrow">
            <a:avLst>
              <a:gd name="adj1" fmla="val 40000"/>
              <a:gd name="adj2" fmla="val 80000"/>
              <a:gd name="adj3" fmla="val 33333"/>
            </a:avLst>
          </a:prstGeom>
          <a:gradFill rotWithShape="0">
            <a:gsLst>
              <a:gs pos="0">
                <a:srgbClr val="FFFF00"/>
              </a:gs>
              <a:gs pos="50000">
                <a:srgbClr val="FF0000"/>
              </a:gs>
              <a:gs pos="100000">
                <a:srgbClr val="FFFF00"/>
              </a:gs>
            </a:gsLst>
            <a:lin ang="5400000" scaled="1"/>
          </a:gradFill>
          <a:ln w="9525">
            <a:solidFill>
              <a:srgbClr val="000000"/>
            </a:solidFill>
            <a:miter lim="800000"/>
            <a:headEnd/>
            <a:tailEnd/>
          </a:ln>
        </p:spPr>
        <p:txBody>
          <a:bodyPr vert="eaVert"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eaLnBrk="1" hangingPunct="1">
              <a:spcBef>
                <a:spcPct val="0"/>
              </a:spcBef>
              <a:buFontTx/>
              <a:buNone/>
            </a:pPr>
            <a:endParaRPr kumimoji="1" lang="pt-BR" altLang="pt-BR" sz="3600">
              <a:solidFill>
                <a:schemeClr val="tx1"/>
              </a:solidFill>
            </a:endParaRPr>
          </a:p>
        </p:txBody>
      </p:sp>
      <p:sp>
        <p:nvSpPr>
          <p:cNvPr id="103478" name="AutoShape 53"/>
          <p:cNvSpPr>
            <a:spLocks noChangeArrowheads="1"/>
          </p:cNvSpPr>
          <p:nvPr/>
        </p:nvSpPr>
        <p:spPr bwMode="auto">
          <a:xfrm rot="-4812471">
            <a:off x="1981200" y="7091363"/>
            <a:ext cx="1143000" cy="571500"/>
          </a:xfrm>
          <a:prstGeom prst="curvedDownArrow">
            <a:avLst>
              <a:gd name="adj1" fmla="val 40000"/>
              <a:gd name="adj2" fmla="val 80000"/>
              <a:gd name="adj3" fmla="val 33333"/>
            </a:avLst>
          </a:prstGeom>
          <a:gradFill rotWithShape="0">
            <a:gsLst>
              <a:gs pos="0">
                <a:srgbClr val="FFFF00"/>
              </a:gs>
              <a:gs pos="50000">
                <a:srgbClr val="FF0000"/>
              </a:gs>
              <a:gs pos="100000">
                <a:srgbClr val="FFFF00"/>
              </a:gs>
            </a:gsLst>
            <a:lin ang="5400000" scaled="1"/>
          </a:gradFill>
          <a:ln w="9525">
            <a:solidFill>
              <a:srgbClr val="000000"/>
            </a:solidFill>
            <a:miter lim="800000"/>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79" name="AutoShape 54"/>
          <p:cNvSpPr>
            <a:spLocks noChangeArrowheads="1"/>
          </p:cNvSpPr>
          <p:nvPr/>
        </p:nvSpPr>
        <p:spPr bwMode="auto">
          <a:xfrm rot="-5520224">
            <a:off x="3533775" y="2909888"/>
            <a:ext cx="1485900" cy="571500"/>
          </a:xfrm>
          <a:prstGeom prst="curvedUpArrow">
            <a:avLst>
              <a:gd name="adj1" fmla="val 52000"/>
              <a:gd name="adj2" fmla="val 104000"/>
              <a:gd name="adj3" fmla="val 33333"/>
            </a:avLst>
          </a:prstGeom>
          <a:gradFill rotWithShape="0">
            <a:gsLst>
              <a:gs pos="0">
                <a:srgbClr val="FFFF00"/>
              </a:gs>
              <a:gs pos="50000">
                <a:srgbClr val="FF0000"/>
              </a:gs>
              <a:gs pos="100000">
                <a:srgbClr val="FFFF00"/>
              </a:gs>
            </a:gsLst>
            <a:lin ang="5400000" scaled="1"/>
          </a:gradFill>
          <a:ln w="9525">
            <a:solidFill>
              <a:schemeClr val="tx1"/>
            </a:solidFill>
            <a:miter lim="800000"/>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80" name="AutoShape 55"/>
          <p:cNvSpPr>
            <a:spLocks noChangeArrowheads="1"/>
          </p:cNvSpPr>
          <p:nvPr/>
        </p:nvSpPr>
        <p:spPr bwMode="auto">
          <a:xfrm rot="-5520224">
            <a:off x="3590925" y="5181600"/>
            <a:ext cx="1581150" cy="590550"/>
          </a:xfrm>
          <a:prstGeom prst="curvedUpArrow">
            <a:avLst>
              <a:gd name="adj1" fmla="val 66675"/>
              <a:gd name="adj2" fmla="val 133363"/>
              <a:gd name="adj3" fmla="val 33333"/>
            </a:avLst>
          </a:prstGeom>
          <a:gradFill rotWithShape="0">
            <a:gsLst>
              <a:gs pos="0">
                <a:srgbClr val="FFFF00"/>
              </a:gs>
              <a:gs pos="50000">
                <a:srgbClr val="FF0000"/>
              </a:gs>
              <a:gs pos="100000">
                <a:srgbClr val="FFFF00"/>
              </a:gs>
            </a:gsLst>
            <a:lin ang="5400000" scaled="1"/>
          </a:gradFill>
          <a:ln w="9525">
            <a:solidFill>
              <a:schemeClr val="tx1"/>
            </a:solidFill>
            <a:miter lim="800000"/>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
        <p:nvSpPr>
          <p:cNvPr id="103481" name="AutoShape 56"/>
          <p:cNvSpPr>
            <a:spLocks noChangeArrowheads="1"/>
          </p:cNvSpPr>
          <p:nvPr/>
        </p:nvSpPr>
        <p:spPr bwMode="auto">
          <a:xfrm rot="-5520224">
            <a:off x="4017170" y="8708233"/>
            <a:ext cx="1421606" cy="516731"/>
          </a:xfrm>
          <a:prstGeom prst="curvedUpArrow">
            <a:avLst>
              <a:gd name="adj1" fmla="val 44031"/>
              <a:gd name="adj2" fmla="val 88075"/>
              <a:gd name="adj3" fmla="val 53875"/>
            </a:avLst>
          </a:prstGeom>
          <a:gradFill rotWithShape="0">
            <a:gsLst>
              <a:gs pos="0">
                <a:srgbClr val="FFFF00"/>
              </a:gs>
              <a:gs pos="50000">
                <a:srgbClr val="FF0000"/>
              </a:gs>
              <a:gs pos="100000">
                <a:srgbClr val="FFFF00"/>
              </a:gs>
            </a:gsLst>
            <a:lin ang="5400000" scaled="1"/>
          </a:gradFill>
          <a:ln w="9525">
            <a:solidFill>
              <a:schemeClr val="tx1"/>
            </a:solidFill>
            <a:miter lim="800000"/>
            <a:headEnd/>
            <a:tailEnd/>
          </a:ln>
        </p:spPr>
        <p:txBody>
          <a:bodyPr wrap="none" anchor="ct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gn="ctr">
              <a:spcBef>
                <a:spcPct val="0"/>
              </a:spcBef>
              <a:buFontTx/>
              <a:buNone/>
            </a:pPr>
            <a:endParaRPr lang="pt-BR" altLang="pt-BR" sz="6000">
              <a:solidFill>
                <a:schemeClr val="tx1"/>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1085990351"/>
      </p:ext>
    </p:extLst>
  </p:cSld>
  <p:clrMapOvr>
    <a:masterClrMapping/>
  </p:clrMapOvr>
  <p:transition spd="slow">
    <p:strips dir="rd"/>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rrowheads="1"/>
          </p:cNvSpPr>
          <p:nvPr/>
        </p:nvSpPr>
        <p:spPr bwMode="auto">
          <a:xfrm>
            <a:off x="740570" y="2244280"/>
            <a:ext cx="3238500" cy="471488"/>
          </a:xfrm>
          <a:prstGeom prst="homePlate">
            <a:avLst>
              <a:gd name="adj" fmla="val 12681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1 Inventariar</a:t>
            </a:r>
          </a:p>
        </p:txBody>
      </p:sp>
      <p:sp>
        <p:nvSpPr>
          <p:cNvPr id="5" name="AutoShape 38"/>
          <p:cNvSpPr>
            <a:spLocks noChangeArrowheads="1"/>
          </p:cNvSpPr>
          <p:nvPr/>
        </p:nvSpPr>
        <p:spPr bwMode="auto">
          <a:xfrm>
            <a:off x="740570" y="4720919"/>
            <a:ext cx="3238500" cy="485775"/>
          </a:xfrm>
          <a:prstGeom prst="homePlate">
            <a:avLst>
              <a:gd name="adj" fmla="val 12308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4 Selecionar</a:t>
            </a:r>
          </a:p>
        </p:txBody>
      </p:sp>
      <p:sp>
        <p:nvSpPr>
          <p:cNvPr id="6" name="AutoShape 7"/>
          <p:cNvSpPr>
            <a:spLocks noChangeArrowheads="1"/>
          </p:cNvSpPr>
          <p:nvPr/>
        </p:nvSpPr>
        <p:spPr bwMode="auto">
          <a:xfrm>
            <a:off x="740570" y="3895373"/>
            <a:ext cx="3238500" cy="471488"/>
          </a:xfrm>
          <a:prstGeom prst="homePlate">
            <a:avLst>
              <a:gd name="adj" fmla="val 12681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3 Avaliar</a:t>
            </a:r>
          </a:p>
        </p:txBody>
      </p:sp>
      <p:sp>
        <p:nvSpPr>
          <p:cNvPr id="105483" name="TextBox 10"/>
          <p:cNvSpPr txBox="1">
            <a:spLocks noChangeArrowheads="1"/>
          </p:cNvSpPr>
          <p:nvPr/>
        </p:nvSpPr>
        <p:spPr bwMode="auto">
          <a:xfrm>
            <a:off x="3971925" y="2221708"/>
            <a:ext cx="9105900"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em andamento e novas iniciativas são inventariados</a:t>
            </a:r>
          </a:p>
        </p:txBody>
      </p:sp>
      <p:sp>
        <p:nvSpPr>
          <p:cNvPr id="105484" name="TextBox 12"/>
          <p:cNvSpPr txBox="1">
            <a:spLocks noChangeArrowheads="1"/>
          </p:cNvSpPr>
          <p:nvPr/>
        </p:nvSpPr>
        <p:spPr bwMode="auto">
          <a:xfrm>
            <a:off x="3971925" y="3840958"/>
            <a:ext cx="5831132"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são avaliados por alinhamento e valor</a:t>
            </a:r>
          </a:p>
        </p:txBody>
      </p:sp>
      <p:sp>
        <p:nvSpPr>
          <p:cNvPr id="105485" name="TextBox 14"/>
          <p:cNvSpPr txBox="1">
            <a:spLocks noChangeArrowheads="1"/>
          </p:cNvSpPr>
          <p:nvPr/>
        </p:nvSpPr>
        <p:spPr bwMode="auto">
          <a:xfrm>
            <a:off x="3971926" y="4681538"/>
            <a:ext cx="8986838"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Dada limitação de recursos, são escolhidos os programas do período</a:t>
            </a:r>
          </a:p>
        </p:txBody>
      </p:sp>
      <p:sp>
        <p:nvSpPr>
          <p:cNvPr id="105486" name="TextBox 16"/>
          <p:cNvSpPr txBox="1">
            <a:spLocks noChangeArrowheads="1"/>
          </p:cNvSpPr>
          <p:nvPr/>
        </p:nvSpPr>
        <p:spPr bwMode="auto">
          <a:xfrm>
            <a:off x="3971925" y="6248401"/>
            <a:ext cx="8768666"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Valida se o portfólio está equilibrado, confere suficiência e necessidade</a:t>
            </a:r>
          </a:p>
        </p:txBody>
      </p:sp>
      <p:sp>
        <p:nvSpPr>
          <p:cNvPr id="105487" name="TextBox 17"/>
          <p:cNvSpPr txBox="1">
            <a:spLocks noChangeArrowheads="1"/>
          </p:cNvSpPr>
          <p:nvPr/>
        </p:nvSpPr>
        <p:spPr bwMode="auto">
          <a:xfrm>
            <a:off x="4067175" y="7234238"/>
            <a:ext cx="2843134" cy="47178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Liberação para iniciar</a:t>
            </a:r>
          </a:p>
        </p:txBody>
      </p:sp>
      <p:sp>
        <p:nvSpPr>
          <p:cNvPr id="105488" name="TextBox 17"/>
          <p:cNvSpPr txBox="1">
            <a:spLocks noChangeArrowheads="1"/>
          </p:cNvSpPr>
          <p:nvPr/>
        </p:nvSpPr>
        <p:spPr bwMode="auto">
          <a:xfrm>
            <a:off x="8601076" y="8798720"/>
            <a:ext cx="3099615" cy="805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Reporte de progresso e</a:t>
            </a:r>
          </a:p>
          <a:p>
            <a:pPr>
              <a:lnSpc>
                <a:spcPts val="2550"/>
              </a:lnSpc>
              <a:spcBef>
                <a:spcPct val="0"/>
              </a:spcBef>
              <a:buNone/>
            </a:pPr>
            <a:r>
              <a:rPr lang="pt-BR" altLang="pt-BR" sz="2100">
                <a:solidFill>
                  <a:schemeClr val="tx1"/>
                </a:solidFill>
                <a:latin typeface="Arial" panose="020B0604020202020204" pitchFamily="34" charset="0"/>
              </a:rPr>
              <a:t> visibilidade executiva</a:t>
            </a:r>
            <a:endParaRPr lang="en-US" altLang="pt-BR" sz="2100">
              <a:solidFill>
                <a:schemeClr val="tx1"/>
              </a:solidFill>
              <a:latin typeface="Arial" panose="020B0604020202020204" pitchFamily="34" charset="0"/>
            </a:endParaRPr>
          </a:p>
        </p:txBody>
      </p:sp>
      <p:sp>
        <p:nvSpPr>
          <p:cNvPr id="105489" name="Rectangle 18"/>
          <p:cNvSpPr>
            <a:spLocks noChangeArrowheads="1"/>
          </p:cNvSpPr>
          <p:nvPr/>
        </p:nvSpPr>
        <p:spPr bwMode="auto">
          <a:xfrm>
            <a:off x="419100" y="1905001"/>
            <a:ext cx="12306300" cy="6072188"/>
          </a:xfrm>
          <a:prstGeom prst="rect">
            <a:avLst/>
          </a:prstGeom>
          <a:noFill/>
          <a:ln w="38100"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endParaRPr lang="en-US" altLang="pt-BR" sz="2700">
              <a:solidFill>
                <a:schemeClr val="tx1"/>
              </a:solidFill>
              <a:latin typeface="Arial" panose="020B0604020202020204" pitchFamily="34" charset="0"/>
            </a:endParaRPr>
          </a:p>
        </p:txBody>
      </p:sp>
      <p:sp>
        <p:nvSpPr>
          <p:cNvPr id="105490" name="Rectangle 20"/>
          <p:cNvSpPr>
            <a:spLocks noChangeArrowheads="1"/>
          </p:cNvSpPr>
          <p:nvPr/>
        </p:nvSpPr>
        <p:spPr bwMode="auto">
          <a:xfrm>
            <a:off x="419100" y="8439150"/>
            <a:ext cx="12306300" cy="1438275"/>
          </a:xfrm>
          <a:prstGeom prst="rect">
            <a:avLst/>
          </a:prstGeom>
          <a:noFill/>
          <a:ln w="38100"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nchor="b"/>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endParaRPr lang="en-US" altLang="pt-BR" sz="2700">
              <a:solidFill>
                <a:schemeClr val="tx1"/>
              </a:solidFill>
              <a:latin typeface="Arial" panose="020B0604020202020204" pitchFamily="34" charset="0"/>
            </a:endParaRPr>
          </a:p>
        </p:txBody>
      </p:sp>
      <p:sp>
        <p:nvSpPr>
          <p:cNvPr id="105491" name="TextBox 15"/>
          <p:cNvSpPr txBox="1">
            <a:spLocks noChangeArrowheads="1"/>
          </p:cNvSpPr>
          <p:nvPr/>
        </p:nvSpPr>
        <p:spPr bwMode="auto">
          <a:xfrm>
            <a:off x="9294020" y="1550195"/>
            <a:ext cx="2771127"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700">
                <a:solidFill>
                  <a:schemeClr val="tx1"/>
                </a:solidFill>
                <a:latin typeface="Arial" panose="020B0604020202020204" pitchFamily="34" charset="0"/>
              </a:rPr>
              <a:t>ALINHAMENTO</a:t>
            </a:r>
          </a:p>
        </p:txBody>
      </p:sp>
      <p:sp>
        <p:nvSpPr>
          <p:cNvPr id="105492" name="TextBox 15"/>
          <p:cNvSpPr txBox="1">
            <a:spLocks noChangeArrowheads="1"/>
          </p:cNvSpPr>
          <p:nvPr/>
        </p:nvSpPr>
        <p:spPr bwMode="auto">
          <a:xfrm>
            <a:off x="8943976" y="7977188"/>
            <a:ext cx="3726453"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700">
                <a:solidFill>
                  <a:schemeClr val="tx1"/>
                </a:solidFill>
                <a:latin typeface="Arial" panose="020B0604020202020204" pitchFamily="34" charset="0"/>
              </a:rPr>
              <a:t>ACOMPANHAMENTO</a:t>
            </a:r>
            <a:endParaRPr lang="en-US" altLang="pt-BR" sz="2700">
              <a:solidFill>
                <a:schemeClr val="tx1"/>
              </a:solidFill>
              <a:latin typeface="Arial" panose="020B0604020202020204" pitchFamily="34" charset="0"/>
            </a:endParaRPr>
          </a:p>
        </p:txBody>
      </p:sp>
      <p:sp>
        <p:nvSpPr>
          <p:cNvPr id="20" name="AutoShape 7"/>
          <p:cNvSpPr>
            <a:spLocks noChangeArrowheads="1"/>
          </p:cNvSpPr>
          <p:nvPr/>
        </p:nvSpPr>
        <p:spPr bwMode="auto">
          <a:xfrm>
            <a:off x="729927" y="3069826"/>
            <a:ext cx="3238500" cy="471488"/>
          </a:xfrm>
          <a:prstGeom prst="homePlate">
            <a:avLst>
              <a:gd name="adj" fmla="val 126816"/>
            </a:avLst>
          </a:prstGeom>
          <a:solidFill>
            <a:schemeClr val="bg2"/>
          </a:solidFill>
          <a:ln w="9525">
            <a:noFill/>
            <a:miter lim="800000"/>
            <a:headEnd/>
            <a:tailEnd/>
          </a:ln>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2 Categorizar</a:t>
            </a:r>
          </a:p>
        </p:txBody>
      </p:sp>
      <p:sp>
        <p:nvSpPr>
          <p:cNvPr id="105496" name="TextBox 12"/>
          <p:cNvSpPr txBox="1">
            <a:spLocks noChangeArrowheads="1"/>
          </p:cNvSpPr>
          <p:nvPr/>
        </p:nvSpPr>
        <p:spPr bwMode="auto">
          <a:xfrm>
            <a:off x="3962400" y="3095626"/>
            <a:ext cx="6477142"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projetos são distribuídos em categorias estratégicas</a:t>
            </a:r>
          </a:p>
        </p:txBody>
      </p:sp>
      <p:sp>
        <p:nvSpPr>
          <p:cNvPr id="24" name="AutoShape 41"/>
          <p:cNvSpPr>
            <a:spLocks noChangeArrowheads="1"/>
          </p:cNvSpPr>
          <p:nvPr/>
        </p:nvSpPr>
        <p:spPr bwMode="auto">
          <a:xfrm>
            <a:off x="722783" y="5560754"/>
            <a:ext cx="3238500" cy="485775"/>
          </a:xfrm>
          <a:prstGeom prst="homePlate">
            <a:avLst>
              <a:gd name="adj" fmla="val 12308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5 Priorizar</a:t>
            </a:r>
          </a:p>
        </p:txBody>
      </p:sp>
      <p:sp>
        <p:nvSpPr>
          <p:cNvPr id="25" name="AutoShape 41"/>
          <p:cNvSpPr>
            <a:spLocks noChangeArrowheads="1"/>
          </p:cNvSpPr>
          <p:nvPr/>
        </p:nvSpPr>
        <p:spPr bwMode="auto">
          <a:xfrm>
            <a:off x="740570" y="6400589"/>
            <a:ext cx="3238500" cy="485775"/>
          </a:xfrm>
          <a:prstGeom prst="homePlate">
            <a:avLst>
              <a:gd name="adj" fmla="val 12308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6 Balancear</a:t>
            </a:r>
          </a:p>
        </p:txBody>
      </p:sp>
      <p:sp>
        <p:nvSpPr>
          <p:cNvPr id="26" name="AutoShape 41"/>
          <p:cNvSpPr>
            <a:spLocks noChangeArrowheads="1"/>
          </p:cNvSpPr>
          <p:nvPr/>
        </p:nvSpPr>
        <p:spPr bwMode="auto">
          <a:xfrm>
            <a:off x="740570" y="7240422"/>
            <a:ext cx="3238500" cy="485775"/>
          </a:xfrm>
          <a:prstGeom prst="homePlate">
            <a:avLst>
              <a:gd name="adj" fmla="val 123086"/>
            </a:avLst>
          </a:prstGeom>
          <a:solidFill>
            <a:schemeClr val="bg2"/>
          </a:solidFill>
          <a:ln w="9525">
            <a:noFill/>
            <a:miter lim="800000"/>
            <a:headEnd/>
            <a:tailEnd/>
          </a:ln>
          <a:effectLst>
            <a:glow rad="2286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7 Autorizar</a:t>
            </a:r>
          </a:p>
        </p:txBody>
      </p:sp>
      <p:sp>
        <p:nvSpPr>
          <p:cNvPr id="105506" name="Rectangle 2"/>
          <p:cNvSpPr txBox="1">
            <a:spLocks noChangeArrowheads="1"/>
          </p:cNvSpPr>
          <p:nvPr/>
        </p:nvSpPr>
        <p:spPr bwMode="auto">
          <a:xfrm>
            <a:off x="419100" y="335758"/>
            <a:ext cx="908685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pt-BR" altLang="pt-BR" sz="3600">
                <a:solidFill>
                  <a:schemeClr val="tx1"/>
                </a:solidFill>
                <a:latin typeface="Arial" panose="020B0604020202020204" pitchFamily="34" charset="0"/>
                <a:ea typeface="MS PGothic" panose="020B0600070205080204" pitchFamily="34" charset="-128"/>
              </a:rPr>
              <a:t>Processo simplificado de portfólio  </a:t>
            </a:r>
          </a:p>
        </p:txBody>
      </p:sp>
      <p:sp>
        <p:nvSpPr>
          <p:cNvPr id="30" name="AutoShape 41"/>
          <p:cNvSpPr>
            <a:spLocks noChangeArrowheads="1"/>
          </p:cNvSpPr>
          <p:nvPr/>
        </p:nvSpPr>
        <p:spPr bwMode="auto">
          <a:xfrm>
            <a:off x="778670" y="8927307"/>
            <a:ext cx="7908131" cy="485775"/>
          </a:xfrm>
          <a:prstGeom prst="homePlate">
            <a:avLst>
              <a:gd name="adj" fmla="val 123075"/>
            </a:avLst>
          </a:prstGeom>
          <a:solidFill>
            <a:schemeClr val="bg2"/>
          </a:solidFill>
          <a:ln w="9525">
            <a:noFill/>
            <a:miter lim="800000"/>
            <a:headEnd/>
            <a:tailEnd/>
          </a:ln>
          <a:effectLst>
            <a:glow rad="228600">
              <a:schemeClr val="accent1">
                <a:satMod val="175000"/>
                <a:alpha val="40000"/>
              </a:schemeClr>
            </a:glow>
          </a:effectLst>
          <a:scene3d>
            <a:camera prst="orthographicFront">
              <a:rot lat="0" lon="0" rev="0"/>
            </a:camera>
            <a:lightRig rig="contrasting" dir="t">
              <a:rot lat="0" lon="0" rev="1500000"/>
            </a:lightRig>
          </a:scene3d>
          <a:sp3d prstMaterial="metal">
            <a:bevelT w="88900" h="88900"/>
          </a:sp3d>
        </p:spPr>
        <p:txBody>
          <a:bodyPr lIns="137025" tIns="68511" rIns="137025" bIns="68511" anchor="ctr"/>
          <a:lstStyle/>
          <a:p>
            <a:pPr algn="ctr">
              <a:lnSpc>
                <a:spcPct val="80000"/>
              </a:lnSpc>
              <a:defRPr/>
            </a:pPr>
            <a:r>
              <a:rPr lang="pt-BR" sz="1500" dirty="0">
                <a:latin typeface="Verdana" pitchFamily="34" charset="0"/>
              </a:rPr>
              <a:t>8 Reportar/Acompanhar e prestar contas</a:t>
            </a:r>
          </a:p>
        </p:txBody>
      </p:sp>
      <p:sp>
        <p:nvSpPr>
          <p:cNvPr id="105510" name="TextBox 14"/>
          <p:cNvSpPr txBox="1">
            <a:spLocks noChangeArrowheads="1"/>
          </p:cNvSpPr>
          <p:nvPr/>
        </p:nvSpPr>
        <p:spPr bwMode="auto">
          <a:xfrm>
            <a:off x="4024313" y="5517358"/>
            <a:ext cx="8986838" cy="47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025" tIns="68511" rIns="137025" bIns="68511">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550"/>
              </a:lnSpc>
              <a:spcBef>
                <a:spcPct val="0"/>
              </a:spcBef>
              <a:buNone/>
            </a:pPr>
            <a:r>
              <a:rPr lang="pt-BR" altLang="pt-BR" sz="2100">
                <a:solidFill>
                  <a:schemeClr val="tx1"/>
                </a:solidFill>
                <a:latin typeface="Arial" panose="020B0604020202020204" pitchFamily="34" charset="0"/>
              </a:rPr>
              <a:t>Determina programação de prioridades e sequência</a:t>
            </a:r>
          </a:p>
        </p:txBody>
      </p:sp>
    </p:spTree>
    <p:custDataLst>
      <p:tags r:id="rId1"/>
    </p:custDataLst>
    <p:extLst>
      <p:ext uri="{BB962C8B-B14F-4D97-AF65-F5344CB8AC3E}">
        <p14:creationId xmlns:p14="http://schemas.microsoft.com/office/powerpoint/2010/main" val="983451179"/>
      </p:ext>
    </p:extLst>
  </p:cSld>
  <p:clrMapOvr>
    <a:masterClrMapping/>
  </p:clrMapOvr>
  <p:transition>
    <p:strips dir="rd"/>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
          <p:cNvSpPr>
            <a:spLocks noChangeArrowheads="1"/>
          </p:cNvSpPr>
          <p:nvPr/>
        </p:nvSpPr>
        <p:spPr bwMode="auto">
          <a:xfrm>
            <a:off x="0" y="1255068"/>
            <a:ext cx="6026558" cy="800100"/>
          </a:xfrm>
          <a:prstGeom prst="rect">
            <a:avLst/>
          </a:prstGeom>
          <a:solidFill>
            <a:srgbClr val="99CCFF"/>
          </a:solidFill>
          <a:ln w="9525">
            <a:solidFill>
              <a:schemeClr val="tx1"/>
            </a:solidFill>
            <a:miter lim="800000"/>
            <a:headEnd/>
            <a:tailEnd/>
          </a:ln>
          <a:effectLst>
            <a:innerShdw blurRad="63500" dist="50800" dir="8100000">
              <a:prstClr val="black">
                <a:alpha val="50000"/>
              </a:prstClr>
            </a:innerShdw>
          </a:effectLst>
        </p:spPr>
        <p:txBody>
          <a:bodyPr wrap="none" lIns="136145" tIns="68058" rIns="136145" bIns="68058" anchor="ctr"/>
          <a:lstStyle/>
          <a:p>
            <a:pPr>
              <a:defRPr/>
            </a:pPr>
            <a:r>
              <a:rPr lang="pt-BR" sz="3600" dirty="0"/>
              <a:t>4. Selecionar</a:t>
            </a:r>
          </a:p>
        </p:txBody>
      </p:sp>
      <p:sp>
        <p:nvSpPr>
          <p:cNvPr id="5" name="Rectangle 12"/>
          <p:cNvSpPr>
            <a:spLocks noChangeArrowheads="1"/>
          </p:cNvSpPr>
          <p:nvPr/>
        </p:nvSpPr>
        <p:spPr bwMode="auto">
          <a:xfrm>
            <a:off x="-73688" y="4171392"/>
            <a:ext cx="6026558" cy="800100"/>
          </a:xfrm>
          <a:prstGeom prst="rect">
            <a:avLst/>
          </a:prstGeom>
          <a:solidFill>
            <a:srgbClr val="99CCFF"/>
          </a:solidFill>
          <a:ln w="9525">
            <a:solidFill>
              <a:schemeClr val="tx1"/>
            </a:solidFill>
            <a:miter lim="800000"/>
            <a:headEnd/>
            <a:tailEnd/>
          </a:ln>
          <a:effectLst>
            <a:innerShdw blurRad="63500" dist="50800" dir="10800000">
              <a:prstClr val="black">
                <a:alpha val="50000"/>
              </a:prstClr>
            </a:innerShdw>
          </a:effectLst>
        </p:spPr>
        <p:txBody>
          <a:bodyPr wrap="none" lIns="136145" tIns="68058" rIns="136145" bIns="68058" anchor="ctr"/>
          <a:lstStyle/>
          <a:p>
            <a:pPr>
              <a:defRPr/>
            </a:pPr>
            <a:r>
              <a:rPr lang="pt-BR" sz="3600" dirty="0"/>
              <a:t>5. Priorizar</a:t>
            </a:r>
          </a:p>
        </p:txBody>
      </p:sp>
      <p:sp>
        <p:nvSpPr>
          <p:cNvPr id="6" name="Text Box 13"/>
          <p:cNvSpPr txBox="1">
            <a:spLocks noChangeArrowheads="1"/>
          </p:cNvSpPr>
          <p:nvPr/>
        </p:nvSpPr>
        <p:spPr bwMode="auto">
          <a:xfrm>
            <a:off x="5859713" y="4819465"/>
            <a:ext cx="7170488" cy="1430107"/>
          </a:xfrm>
          <a:prstGeom prst="rect">
            <a:avLst/>
          </a:prstGeom>
          <a:solidFill>
            <a:schemeClr val="accent6">
              <a:lumMod val="40000"/>
              <a:lumOff val="60000"/>
            </a:schemeClr>
          </a:solidFill>
          <a:ln>
            <a:noFill/>
          </a:ln>
          <a:effectLst>
            <a:innerShdw blurRad="63500" dist="50800" dir="54000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Selecionados são colocados em uma ordem fina de execução que não deixa dúvidas em relação a prioridade de alocação de recursos. Deve-se determinar os componentes com máxima prioridade. </a:t>
            </a:r>
          </a:p>
        </p:txBody>
      </p:sp>
      <p:sp>
        <p:nvSpPr>
          <p:cNvPr id="7" name="Rectangle 14"/>
          <p:cNvSpPr>
            <a:spLocks noChangeArrowheads="1"/>
          </p:cNvSpPr>
          <p:nvPr/>
        </p:nvSpPr>
        <p:spPr bwMode="auto">
          <a:xfrm>
            <a:off x="-114212" y="6612293"/>
            <a:ext cx="6026558" cy="727364"/>
          </a:xfrm>
          <a:prstGeom prst="rect">
            <a:avLst/>
          </a:prstGeom>
          <a:solidFill>
            <a:srgbClr val="99CCFF"/>
          </a:solidFill>
          <a:ln w="9525">
            <a:solidFill>
              <a:schemeClr val="tx1"/>
            </a:solidFill>
            <a:miter lim="800000"/>
            <a:headEnd/>
            <a:tailEnd/>
          </a:ln>
          <a:effectLst>
            <a:innerShdw blurRad="63500" dist="50800" dir="10800000">
              <a:prstClr val="black">
                <a:alpha val="50000"/>
              </a:prstClr>
            </a:innerShdw>
          </a:effectLst>
        </p:spPr>
        <p:txBody>
          <a:bodyPr wrap="none" lIns="136145" tIns="68058" rIns="136145" bIns="68058" anchor="ctr"/>
          <a:lstStyle/>
          <a:p>
            <a:pPr>
              <a:defRPr/>
            </a:pPr>
            <a:r>
              <a:rPr lang="pt-BR" sz="3600" dirty="0"/>
              <a:t>6. Balancear</a:t>
            </a:r>
          </a:p>
        </p:txBody>
      </p:sp>
      <p:sp>
        <p:nvSpPr>
          <p:cNvPr id="8" name="Text Box 15"/>
          <p:cNvSpPr txBox="1">
            <a:spLocks noChangeArrowheads="1"/>
          </p:cNvSpPr>
          <p:nvPr/>
        </p:nvSpPr>
        <p:spPr bwMode="auto">
          <a:xfrm>
            <a:off x="5988932" y="6938060"/>
            <a:ext cx="7170488" cy="2722768"/>
          </a:xfrm>
          <a:prstGeom prst="rect">
            <a:avLst/>
          </a:prstGeom>
          <a:solidFill>
            <a:schemeClr val="accent6">
              <a:lumMod val="40000"/>
              <a:lumOff val="60000"/>
            </a:schemeClr>
          </a:solidFill>
          <a:ln>
            <a:noFill/>
          </a:ln>
          <a:effectLst>
            <a:innerShdw blurRad="63500" dist="508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Avaliar restrições. Decidir por postergação, suspensão, agilização, paralelismo de projetos e cancelamento de projetos. Em função do momento estratégico da organização. Verificar reaproveitamento de recursos, em função de mudança da condição do projeto ou em função da programação dos projetos. Adicionar novos componentes/projetos que foram selecionados ou priorizados por decisão estratégica. </a:t>
            </a:r>
          </a:p>
        </p:txBody>
      </p:sp>
      <p:sp>
        <p:nvSpPr>
          <p:cNvPr id="11" name="Text Box 11"/>
          <p:cNvSpPr txBox="1">
            <a:spLocks noChangeArrowheads="1"/>
          </p:cNvSpPr>
          <p:nvPr/>
        </p:nvSpPr>
        <p:spPr bwMode="auto">
          <a:xfrm>
            <a:off x="5859713" y="1890698"/>
            <a:ext cx="7170488" cy="1753272"/>
          </a:xfrm>
          <a:prstGeom prst="rect">
            <a:avLst/>
          </a:prstGeom>
          <a:solidFill>
            <a:schemeClr val="accent6">
              <a:lumMod val="40000"/>
              <a:lumOff val="60000"/>
            </a:schemeClr>
          </a:solidFill>
          <a:ln>
            <a:noFill/>
          </a:ln>
          <a:effectLst>
            <a:innerShdw blurRad="63500" dist="50800" dir="8100000">
              <a:prstClr val="black">
                <a:alpha val="50000"/>
              </a:prstClr>
            </a:innerShdw>
          </a:effectLst>
        </p:spPr>
        <p:txBody>
          <a:bodyPr wrap="square" lIns="136145" tIns="68058" rIns="136145" bIns="68058">
            <a:spAutoFit/>
          </a:bodyPr>
          <a:lstStyle>
            <a:lvl1pPr>
              <a:defRPr i="1">
                <a:solidFill>
                  <a:schemeClr val="bg2"/>
                </a:solidFill>
                <a:latin typeface="Arial" pitchFamily="34" charset="0"/>
              </a:defRPr>
            </a:lvl1pPr>
            <a:lvl2pPr marL="742950" indent="-285750">
              <a:defRPr i="1">
                <a:solidFill>
                  <a:schemeClr val="bg2"/>
                </a:solidFill>
                <a:latin typeface="Arial" pitchFamily="34" charset="0"/>
              </a:defRPr>
            </a:lvl2pPr>
            <a:lvl3pPr marL="1143000" indent="-228600">
              <a:defRPr i="1">
                <a:solidFill>
                  <a:schemeClr val="bg2"/>
                </a:solidFill>
                <a:latin typeface="Arial" pitchFamily="34" charset="0"/>
              </a:defRPr>
            </a:lvl3pPr>
            <a:lvl4pPr marL="1600200" indent="-228600">
              <a:defRPr i="1">
                <a:solidFill>
                  <a:schemeClr val="bg2"/>
                </a:solidFill>
                <a:latin typeface="Arial" pitchFamily="34" charset="0"/>
              </a:defRPr>
            </a:lvl4pPr>
            <a:lvl5pPr marL="2057400" indent="-228600">
              <a:defRPr i="1">
                <a:solidFill>
                  <a:schemeClr val="bg2"/>
                </a:solidFill>
                <a:latin typeface="Arial" pitchFamily="34" charset="0"/>
              </a:defRPr>
            </a:lvl5pPr>
            <a:lvl6pPr marL="2514600" indent="-228600" algn="ctr" eaLnBrk="0" fontAlgn="base" hangingPunct="0">
              <a:spcBef>
                <a:spcPct val="0"/>
              </a:spcBef>
              <a:spcAft>
                <a:spcPct val="0"/>
              </a:spcAft>
              <a:defRPr i="1">
                <a:solidFill>
                  <a:schemeClr val="bg2"/>
                </a:solidFill>
                <a:latin typeface="Arial" pitchFamily="34" charset="0"/>
              </a:defRPr>
            </a:lvl6pPr>
            <a:lvl7pPr marL="2971800" indent="-228600" algn="ctr" eaLnBrk="0" fontAlgn="base" hangingPunct="0">
              <a:spcBef>
                <a:spcPct val="0"/>
              </a:spcBef>
              <a:spcAft>
                <a:spcPct val="0"/>
              </a:spcAft>
              <a:defRPr i="1">
                <a:solidFill>
                  <a:schemeClr val="bg2"/>
                </a:solidFill>
                <a:latin typeface="Arial" pitchFamily="34" charset="0"/>
              </a:defRPr>
            </a:lvl7pPr>
            <a:lvl8pPr marL="3429000" indent="-228600" algn="ctr" eaLnBrk="0" fontAlgn="base" hangingPunct="0">
              <a:spcBef>
                <a:spcPct val="0"/>
              </a:spcBef>
              <a:spcAft>
                <a:spcPct val="0"/>
              </a:spcAft>
              <a:defRPr i="1">
                <a:solidFill>
                  <a:schemeClr val="bg2"/>
                </a:solidFill>
                <a:latin typeface="Arial" pitchFamily="34" charset="0"/>
              </a:defRPr>
            </a:lvl8pPr>
            <a:lvl9pPr marL="3886200" indent="-228600" algn="ctr" eaLnBrk="0" fontAlgn="base" hangingPunct="0">
              <a:spcBef>
                <a:spcPct val="0"/>
              </a:spcBef>
              <a:spcAft>
                <a:spcPct val="0"/>
              </a:spcAft>
              <a:defRPr i="1">
                <a:solidFill>
                  <a:schemeClr val="bg2"/>
                </a:solidFill>
                <a:latin typeface="Arial" pitchFamily="34" charset="0"/>
              </a:defRPr>
            </a:lvl9pPr>
          </a:lstStyle>
          <a:p>
            <a:pPr>
              <a:defRPr/>
            </a:pPr>
            <a:r>
              <a:rPr lang="pt-BR" sz="2100" dirty="0">
                <a:solidFill>
                  <a:schemeClr val="tx1"/>
                </a:solidFill>
              </a:rPr>
              <a:t>Considerando-se a </a:t>
            </a:r>
            <a:r>
              <a:rPr lang="pt-BR" sz="2100" u="sng" dirty="0">
                <a:solidFill>
                  <a:schemeClr val="tx1"/>
                </a:solidFill>
                <a:effectLst>
                  <a:outerShdw blurRad="38100" dist="38100" dir="2700000" algn="tl">
                    <a:srgbClr val="000000">
                      <a:alpha val="43137"/>
                    </a:srgbClr>
                  </a:outerShdw>
                </a:effectLst>
              </a:rPr>
              <a:t>limitação de recursos humanos e financeiros</a:t>
            </a:r>
            <a:r>
              <a:rPr lang="pt-BR" sz="2100" dirty="0">
                <a:solidFill>
                  <a:schemeClr val="tx1"/>
                </a:solidFill>
              </a:rPr>
              <a:t>, são escolhidos projetos possíveis de se executar após </a:t>
            </a:r>
            <a:r>
              <a:rPr lang="pt-BR" sz="2100" u="sng" dirty="0">
                <a:solidFill>
                  <a:schemeClr val="tx1"/>
                </a:solidFill>
              </a:rPr>
              <a:t>avaliação</a:t>
            </a:r>
            <a:r>
              <a:rPr lang="pt-BR" sz="2100" dirty="0">
                <a:solidFill>
                  <a:schemeClr val="tx1"/>
                </a:solidFill>
              </a:rPr>
              <a:t> de diversos quesitos. </a:t>
            </a:r>
          </a:p>
          <a:p>
            <a:pPr>
              <a:defRPr/>
            </a:pPr>
            <a:r>
              <a:rPr lang="pt-BR" sz="2100" dirty="0">
                <a:solidFill>
                  <a:schemeClr val="tx1"/>
                </a:solidFill>
              </a:rPr>
              <a:t>Deve-se fazer recomendações para o processo de priorização</a:t>
            </a:r>
          </a:p>
        </p:txBody>
      </p:sp>
      <p:sp>
        <p:nvSpPr>
          <p:cNvPr id="107540" name="Seta para baixo 11"/>
          <p:cNvSpPr>
            <a:spLocks noChangeArrowheads="1"/>
          </p:cNvSpPr>
          <p:nvPr/>
        </p:nvSpPr>
        <p:spPr bwMode="auto">
          <a:xfrm>
            <a:off x="5056841" y="2055020"/>
            <a:ext cx="625442"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07541" name="Seta para baixo 12"/>
          <p:cNvSpPr>
            <a:spLocks noChangeArrowheads="1"/>
          </p:cNvSpPr>
          <p:nvPr/>
        </p:nvSpPr>
        <p:spPr bwMode="auto">
          <a:xfrm>
            <a:off x="5030648" y="4979195"/>
            <a:ext cx="625441"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07542" name="Seta para baixo 13"/>
          <p:cNvSpPr>
            <a:spLocks noChangeArrowheads="1"/>
          </p:cNvSpPr>
          <p:nvPr/>
        </p:nvSpPr>
        <p:spPr bwMode="auto">
          <a:xfrm>
            <a:off x="5040173" y="7412833"/>
            <a:ext cx="625441" cy="1490663"/>
          </a:xfrm>
          <a:prstGeom prst="downArrow">
            <a:avLst>
              <a:gd name="adj1" fmla="val 50000"/>
              <a:gd name="adj2" fmla="val 49980"/>
            </a:avLst>
          </a:prstGeom>
          <a:gradFill rotWithShape="0">
            <a:gsLst>
              <a:gs pos="0">
                <a:srgbClr val="660066"/>
              </a:gs>
              <a:gs pos="100000">
                <a:srgbClr val="FFFFFF"/>
              </a:gs>
            </a:gsLst>
            <a:lin ang="18900000" scaled="1"/>
          </a:gradFill>
          <a:ln>
            <a:noFill/>
          </a:ln>
          <a:extLst>
            <a:ext uri="{91240B29-F687-4F45-9708-019B960494DF}">
              <a14:hiddenLine xmlns:a14="http://schemas.microsoft.com/office/drawing/2010/main" w="18415" algn="ctr">
                <a:solidFill>
                  <a:srgbClr val="000000"/>
                </a:solidFill>
                <a:round/>
                <a:headEnd/>
                <a:tailEnd/>
              </a14:hiddenLine>
            </a:ext>
          </a:extLst>
        </p:spPr>
        <p:txBody>
          <a:bodyPr lIns="136145" tIns="68058" rIns="136145" bIns="68058"/>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07543" name="Rectangle 2"/>
          <p:cNvSpPr>
            <a:spLocks noGrp="1" noChangeArrowheads="1"/>
          </p:cNvSpPr>
          <p:nvPr>
            <p:ph type="title"/>
          </p:nvPr>
        </p:nvSpPr>
        <p:spPr bwMode="auto">
          <a:xfrm>
            <a:off x="685800" y="411957"/>
            <a:ext cx="12344400" cy="62626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r>
              <a:rPr lang="pt-BR" altLang="pt-BR" sz="3600" dirty="0">
                <a:solidFill>
                  <a:schemeClr val="tx1"/>
                </a:solidFill>
              </a:rPr>
              <a:t>Atividades de Gestão de Portfólio</a:t>
            </a:r>
            <a:endParaRPr lang="en-US" altLang="pt-BR" sz="3600" dirty="0">
              <a:solidFill>
                <a:schemeClr val="tx1"/>
              </a:solidFill>
            </a:endParaRPr>
          </a:p>
        </p:txBody>
      </p:sp>
    </p:spTree>
    <p:custDataLst>
      <p:tags r:id="rId1"/>
    </p:custDataLst>
    <p:extLst>
      <p:ext uri="{BB962C8B-B14F-4D97-AF65-F5344CB8AC3E}">
        <p14:creationId xmlns:p14="http://schemas.microsoft.com/office/powerpoint/2010/main" val="3095273909"/>
      </p:ext>
    </p:extLst>
  </p:cSld>
  <p:clrMapOvr>
    <a:masterClrMapping/>
  </p:clrMapOvr>
  <p:transition spd="slow">
    <p:strips dir="rd"/>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5"/>
          <p:cNvSpPr>
            <a:spLocks noChangeArrowheads="1"/>
          </p:cNvSpPr>
          <p:nvPr>
            <p:custDataLst>
              <p:tags r:id="rId1"/>
            </p:custDataLst>
          </p:nvPr>
        </p:nvSpPr>
        <p:spPr bwMode="auto">
          <a:xfrm>
            <a:off x="665312" y="2047156"/>
            <a:ext cx="12853988" cy="7784307"/>
          </a:xfrm>
          <a:prstGeom prst="rect">
            <a:avLst/>
          </a:prstGeom>
          <a:noFill/>
          <a:ln>
            <a:noFill/>
          </a:ln>
        </p:spPr>
        <p:txBody>
          <a:bodyPr lIns="0" tIns="0" rIns="0" bIns="0"/>
          <a:lstStyle/>
          <a:p>
            <a:pPr indent="7145" algn="just" defTabSz="652463" fontAlgn="auto">
              <a:spcBef>
                <a:spcPts val="0"/>
              </a:spcBef>
              <a:spcAft>
                <a:spcPts val="938"/>
              </a:spcAft>
              <a:buClr>
                <a:srgbClr val="000066"/>
              </a:buClr>
              <a:buSzPct val="75000"/>
              <a:defRPr/>
            </a:pPr>
            <a:endParaRPr lang="pt-BR" sz="2250" kern="0">
              <a:solidFill>
                <a:srgbClr val="04617B"/>
              </a:solidFill>
              <a:latin typeface="Calibri" panose="020F0502020204030204" pitchFamily="34" charset="0"/>
            </a:endParaRPr>
          </a:p>
        </p:txBody>
      </p:sp>
      <p:sp>
        <p:nvSpPr>
          <p:cNvPr id="142" name="Text Box 132"/>
          <p:cNvSpPr txBox="1">
            <a:spLocks noChangeArrowheads="1"/>
          </p:cNvSpPr>
          <p:nvPr>
            <p:custDataLst>
              <p:tags r:id="rId2"/>
            </p:custDataLst>
          </p:nvPr>
        </p:nvSpPr>
        <p:spPr bwMode="auto">
          <a:xfrm rot="16200000">
            <a:off x="-539602" y="4859413"/>
            <a:ext cx="2281238" cy="1114425"/>
          </a:xfrm>
          <a:prstGeom prst="rect">
            <a:avLst/>
          </a:prstGeom>
          <a:noFill/>
          <a:ln w="9525">
            <a:noFill/>
            <a:miter lim="800000"/>
            <a:headEnd/>
            <a:tailEnd/>
          </a:ln>
          <a:effectLst>
            <a:prstShdw prst="shdw17" dist="17961" dir="2700000">
              <a:srgbClr val="0F6FC6">
                <a:gamma/>
                <a:shade val="60000"/>
                <a:invGamma/>
              </a:srgbClr>
            </a:prstShdw>
          </a:effectLst>
        </p:spPr>
        <p:txBody>
          <a:bodyPr lIns="134988" tIns="70194" rIns="134988" bIns="70194"/>
          <a:lstStyle/>
          <a:p>
            <a:pPr algn="ctr" fontAlgn="auto">
              <a:spcBef>
                <a:spcPct val="50000"/>
              </a:spcBef>
              <a:spcAft>
                <a:spcPts val="0"/>
              </a:spcAft>
              <a:defRPr/>
            </a:pPr>
            <a:r>
              <a:rPr lang="pt-BR" sz="2400" kern="0" dirty="0">
                <a:solidFill>
                  <a:sysClr val="windowText" lastClr="000000"/>
                </a:solidFill>
                <a:latin typeface="Calibri" panose="020F0502020204030204" pitchFamily="34" charset="0"/>
              </a:rPr>
              <a:t>Projetos e Programas</a:t>
            </a:r>
            <a:endParaRPr lang="pt-BR" sz="2100" kern="0" dirty="0">
              <a:solidFill>
                <a:sysClr val="windowText" lastClr="000000"/>
              </a:solidFill>
              <a:latin typeface="Calibri" panose="020F0502020204030204" pitchFamily="34" charset="0"/>
            </a:endParaRPr>
          </a:p>
        </p:txBody>
      </p:sp>
      <p:sp>
        <p:nvSpPr>
          <p:cNvPr id="143" name="Rectangle 133"/>
          <p:cNvSpPr>
            <a:spLocks noChangeArrowheads="1"/>
          </p:cNvSpPr>
          <p:nvPr>
            <p:custDataLst>
              <p:tags r:id="rId3"/>
            </p:custDataLst>
          </p:nvPr>
        </p:nvSpPr>
        <p:spPr bwMode="auto">
          <a:xfrm>
            <a:off x="7732862" y="4676056"/>
            <a:ext cx="5343525" cy="3888582"/>
          </a:xfrm>
          <a:prstGeom prst="rect">
            <a:avLst/>
          </a:prstGeom>
          <a:noFill/>
          <a:ln w="28575" algn="ctr">
            <a:solidFill>
              <a:srgbClr val="000066"/>
            </a:solidFill>
            <a:miter lim="800000"/>
            <a:headEnd/>
            <a:tailEnd/>
          </a:ln>
        </p:spPr>
        <p:txBody>
          <a:bodyPr wrap="none"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44" name="Text Box 135"/>
          <p:cNvSpPr txBox="1">
            <a:spLocks noChangeArrowheads="1"/>
          </p:cNvSpPr>
          <p:nvPr>
            <p:custDataLst>
              <p:tags r:id="rId4"/>
            </p:custDataLst>
          </p:nvPr>
        </p:nvSpPr>
        <p:spPr bwMode="auto">
          <a:xfrm>
            <a:off x="4470550" y="4028357"/>
            <a:ext cx="3240881" cy="500063"/>
          </a:xfrm>
          <a:prstGeom prst="rect">
            <a:avLst/>
          </a:prstGeom>
          <a:solidFill>
            <a:srgbClr val="003366"/>
          </a:solidFill>
          <a:ln w="9525">
            <a:solidFill>
              <a:srgbClr val="009DD9"/>
            </a:solidFill>
            <a:miter lim="800000"/>
            <a:headEnd/>
            <a:tailEnd/>
          </a:ln>
        </p:spPr>
        <p:txBody>
          <a:bodyPr lIns="134988" tIns="70194" rIns="134988" bIns="70194"/>
          <a:lstStyle/>
          <a:p>
            <a:pPr algn="ctr" fontAlgn="auto">
              <a:spcBef>
                <a:spcPct val="50000"/>
              </a:spcBef>
              <a:spcAft>
                <a:spcPts val="0"/>
              </a:spcAft>
              <a:defRPr/>
            </a:pPr>
            <a:r>
              <a:rPr lang="pt-BR" sz="2550" kern="0" dirty="0">
                <a:solidFill>
                  <a:schemeClr val="bg1"/>
                </a:solidFill>
                <a:latin typeface="Calibri" panose="020F0502020204030204" pitchFamily="34" charset="0"/>
              </a:rPr>
              <a:t>Ano Corrente</a:t>
            </a:r>
          </a:p>
        </p:txBody>
      </p:sp>
      <p:sp>
        <p:nvSpPr>
          <p:cNvPr id="145" name="Line 182"/>
          <p:cNvSpPr>
            <a:spLocks noChangeShapeType="1"/>
          </p:cNvSpPr>
          <p:nvPr>
            <p:custDataLst>
              <p:tags r:id="rId5"/>
            </p:custDataLst>
          </p:nvPr>
        </p:nvSpPr>
        <p:spPr bwMode="auto">
          <a:xfrm flipH="1">
            <a:off x="4580087" y="8564638"/>
            <a:ext cx="3109913" cy="0"/>
          </a:xfrm>
          <a:prstGeom prst="line">
            <a:avLst/>
          </a:prstGeom>
          <a:noFill/>
          <a:ln w="28575">
            <a:solidFill>
              <a:srgbClr val="000066"/>
            </a:solidFill>
            <a:round/>
            <a:headEnd/>
            <a:tailEnd/>
          </a:ln>
        </p:spPr>
        <p:txBody>
          <a:bodyPr wrap="none" anchor="ctr"/>
          <a:lstStyle/>
          <a:p>
            <a:pPr fontAlgn="auto">
              <a:spcBef>
                <a:spcPts val="0"/>
              </a:spcBef>
              <a:spcAft>
                <a:spcPts val="0"/>
              </a:spcAft>
              <a:defRPr/>
            </a:pPr>
            <a:endParaRPr lang="pt-BR" b="0" kern="0">
              <a:solidFill>
                <a:sysClr val="windowText" lastClr="000000"/>
              </a:solidFill>
              <a:latin typeface="Calibri" panose="020F0502020204030204" pitchFamily="34" charset="0"/>
            </a:endParaRPr>
          </a:p>
        </p:txBody>
      </p:sp>
      <p:sp>
        <p:nvSpPr>
          <p:cNvPr id="146" name="Line 183"/>
          <p:cNvSpPr>
            <a:spLocks noChangeShapeType="1"/>
          </p:cNvSpPr>
          <p:nvPr>
            <p:custDataLst>
              <p:tags r:id="rId6"/>
            </p:custDataLst>
          </p:nvPr>
        </p:nvSpPr>
        <p:spPr bwMode="auto">
          <a:xfrm>
            <a:off x="8359130" y="4954663"/>
            <a:ext cx="4538663"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147" name="Text Box 187"/>
          <p:cNvSpPr txBox="1">
            <a:spLocks noChangeArrowheads="1"/>
          </p:cNvSpPr>
          <p:nvPr>
            <p:custDataLst>
              <p:tags r:id="rId7"/>
            </p:custDataLst>
          </p:nvPr>
        </p:nvSpPr>
        <p:spPr bwMode="auto">
          <a:xfrm>
            <a:off x="7747149" y="4028357"/>
            <a:ext cx="5343525" cy="500063"/>
          </a:xfrm>
          <a:prstGeom prst="rect">
            <a:avLst/>
          </a:prstGeom>
          <a:solidFill>
            <a:srgbClr val="003366"/>
          </a:solidFill>
          <a:ln w="9525">
            <a:solidFill>
              <a:srgbClr val="009DD9"/>
            </a:solidFill>
            <a:miter lim="800000"/>
            <a:headEnd/>
            <a:tailEnd/>
          </a:ln>
        </p:spPr>
        <p:txBody>
          <a:bodyPr lIns="134988" tIns="70194" rIns="134988" bIns="70194"/>
          <a:lstStyle/>
          <a:p>
            <a:pPr algn="ctr" fontAlgn="auto">
              <a:spcBef>
                <a:spcPct val="50000"/>
              </a:spcBef>
              <a:spcAft>
                <a:spcPts val="0"/>
              </a:spcAft>
              <a:defRPr/>
            </a:pPr>
            <a:r>
              <a:rPr lang="pt-BR" sz="2550" kern="0">
                <a:solidFill>
                  <a:schemeClr val="bg1"/>
                </a:solidFill>
                <a:latin typeface="Calibri" panose="020F0502020204030204" pitchFamily="34" charset="0"/>
              </a:rPr>
              <a:t>Ano Seguinte</a:t>
            </a:r>
          </a:p>
        </p:txBody>
      </p:sp>
      <p:sp>
        <p:nvSpPr>
          <p:cNvPr id="149" name="Texto explicativo retangular 2"/>
          <p:cNvSpPr>
            <a:spLocks noChangeArrowheads="1"/>
          </p:cNvSpPr>
          <p:nvPr>
            <p:custDataLst>
              <p:tags r:id="rId8"/>
            </p:custDataLst>
          </p:nvPr>
        </p:nvSpPr>
        <p:spPr bwMode="auto">
          <a:xfrm>
            <a:off x="4222900" y="8447956"/>
            <a:ext cx="3681413" cy="1295400"/>
          </a:xfrm>
          <a:prstGeom prst="wedgeRectCallout">
            <a:avLst>
              <a:gd name="adj1" fmla="val -30342"/>
              <a:gd name="adj2" fmla="val -120127"/>
            </a:avLst>
          </a:prstGeom>
          <a:solidFill>
            <a:srgbClr val="D6D6F5"/>
          </a:solidFill>
          <a:ln>
            <a:noFill/>
          </a:ln>
        </p:spPr>
        <p:txBody>
          <a:bodyPr lIns="130343" tIns="65172" rIns="130343" bIns="65172" anchor="ctr"/>
          <a:lstStyle/>
          <a:p>
            <a:pPr algn="ctr" defTabSz="652463" fontAlgn="auto">
              <a:spcBef>
                <a:spcPts val="0"/>
              </a:spcBef>
              <a:spcAft>
                <a:spcPts val="0"/>
              </a:spcAft>
              <a:defRPr/>
            </a:pPr>
            <a:r>
              <a:rPr lang="pt-BR" sz="1950" kern="0" dirty="0">
                <a:latin typeface="Calibri" panose="020F0502020204030204" pitchFamily="34" charset="0"/>
              </a:rPr>
              <a:t>Projetos em execução não participam do processo de priorização (em tese já estão priorizados)</a:t>
            </a:r>
          </a:p>
        </p:txBody>
      </p:sp>
      <p:sp>
        <p:nvSpPr>
          <p:cNvPr id="150" name="Text Box 132"/>
          <p:cNvSpPr txBox="1">
            <a:spLocks noChangeArrowheads="1"/>
          </p:cNvSpPr>
          <p:nvPr>
            <p:custDataLst>
              <p:tags r:id="rId9"/>
            </p:custDataLst>
          </p:nvPr>
        </p:nvSpPr>
        <p:spPr bwMode="auto">
          <a:xfrm>
            <a:off x="8035280" y="3380657"/>
            <a:ext cx="3024188" cy="500063"/>
          </a:xfrm>
          <a:prstGeom prst="rect">
            <a:avLst/>
          </a:prstGeom>
          <a:noFill/>
          <a:ln w="9525">
            <a:noFill/>
            <a:miter lim="800000"/>
            <a:headEnd/>
            <a:tailEnd/>
          </a:ln>
          <a:effectLst>
            <a:prstShdw prst="shdw17" dist="17961" dir="2700000">
              <a:srgbClr val="0F6FC6">
                <a:gamma/>
                <a:shade val="60000"/>
                <a:invGamma/>
              </a:srgbClr>
            </a:prstShdw>
          </a:effectLst>
        </p:spPr>
        <p:txBody>
          <a:bodyPr lIns="134988" tIns="70194" rIns="134988" bIns="70194"/>
          <a:lstStyle/>
          <a:p>
            <a:pPr algn="ctr" fontAlgn="auto">
              <a:spcBef>
                <a:spcPct val="50000"/>
              </a:spcBef>
              <a:spcAft>
                <a:spcPts val="0"/>
              </a:spcAft>
              <a:defRPr/>
            </a:pPr>
            <a:r>
              <a:rPr lang="pt-BR" kern="0">
                <a:solidFill>
                  <a:sysClr val="windowText" lastClr="000000"/>
                </a:solidFill>
                <a:latin typeface="Calibri" panose="020F0502020204030204" pitchFamily="34" charset="0"/>
              </a:rPr>
              <a:t>Execução</a:t>
            </a:r>
          </a:p>
        </p:txBody>
      </p:sp>
      <p:sp>
        <p:nvSpPr>
          <p:cNvPr id="151" name="Line 182"/>
          <p:cNvSpPr>
            <a:spLocks noChangeShapeType="1"/>
          </p:cNvSpPr>
          <p:nvPr>
            <p:custDataLst>
              <p:tags r:id="rId10"/>
            </p:custDataLst>
          </p:nvPr>
        </p:nvSpPr>
        <p:spPr bwMode="auto">
          <a:xfrm flipH="1">
            <a:off x="4580087" y="4676056"/>
            <a:ext cx="3109913" cy="0"/>
          </a:xfrm>
          <a:prstGeom prst="line">
            <a:avLst/>
          </a:prstGeom>
          <a:noFill/>
          <a:ln w="28575">
            <a:solidFill>
              <a:srgbClr val="000066"/>
            </a:solidFill>
            <a:round/>
            <a:headEnd/>
            <a:tailEnd/>
          </a:ln>
        </p:spPr>
        <p:txBody>
          <a:bodyPr wrap="none" anchor="ctr"/>
          <a:lstStyle/>
          <a:p>
            <a:pPr fontAlgn="auto">
              <a:spcBef>
                <a:spcPts val="0"/>
              </a:spcBef>
              <a:spcAft>
                <a:spcPts val="0"/>
              </a:spcAft>
              <a:defRPr/>
            </a:pPr>
            <a:endParaRPr lang="pt-BR" b="0" kern="0">
              <a:solidFill>
                <a:sysClr val="windowText" lastClr="000000"/>
              </a:solidFill>
              <a:latin typeface="Calibri" panose="020F0502020204030204" pitchFamily="34" charset="0"/>
            </a:endParaRPr>
          </a:p>
        </p:txBody>
      </p:sp>
      <p:sp>
        <p:nvSpPr>
          <p:cNvPr id="152" name="Oval 136"/>
          <p:cNvSpPr>
            <a:spLocks noChangeArrowheads="1"/>
          </p:cNvSpPr>
          <p:nvPr>
            <p:custDataLst>
              <p:tags r:id="rId11"/>
            </p:custDataLst>
          </p:nvPr>
        </p:nvSpPr>
        <p:spPr bwMode="auto">
          <a:xfrm>
            <a:off x="1509935" y="4975890"/>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53" name="Oval 138"/>
          <p:cNvSpPr>
            <a:spLocks noChangeArrowheads="1"/>
          </p:cNvSpPr>
          <p:nvPr>
            <p:custDataLst>
              <p:tags r:id="rId12"/>
            </p:custDataLst>
          </p:nvPr>
        </p:nvSpPr>
        <p:spPr bwMode="auto">
          <a:xfrm>
            <a:off x="1509935" y="3895770"/>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54" name="Oval 139"/>
          <p:cNvSpPr>
            <a:spLocks noChangeArrowheads="1"/>
          </p:cNvSpPr>
          <p:nvPr>
            <p:custDataLst>
              <p:tags r:id="rId13"/>
            </p:custDataLst>
          </p:nvPr>
        </p:nvSpPr>
        <p:spPr bwMode="auto">
          <a:xfrm>
            <a:off x="1509935" y="4435830"/>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55" name="AutoShape 130"/>
          <p:cNvSpPr>
            <a:spLocks noChangeArrowheads="1"/>
          </p:cNvSpPr>
          <p:nvPr>
            <p:custDataLst>
              <p:tags r:id="rId14"/>
            </p:custDataLst>
          </p:nvPr>
        </p:nvSpPr>
        <p:spPr bwMode="auto">
          <a:xfrm rot="16200000">
            <a:off x="1001067" y="3968826"/>
            <a:ext cx="3714750" cy="3009900"/>
          </a:xfrm>
          <a:custGeom>
            <a:avLst/>
            <a:gdLst>
              <a:gd name="T0" fmla="*/ 37 w 21600"/>
              <a:gd name="T1" fmla="*/ 10 h 21600"/>
              <a:gd name="T2" fmla="*/ 22 w 21600"/>
              <a:gd name="T3" fmla="*/ 21 h 21600"/>
              <a:gd name="T4" fmla="*/ 6 w 21600"/>
              <a:gd name="T5" fmla="*/ 10 h 21600"/>
              <a:gd name="T6" fmla="*/ 22 w 21600"/>
              <a:gd name="T7" fmla="*/ 0 h 21600"/>
              <a:gd name="T8" fmla="*/ 0 60000 65536"/>
              <a:gd name="T9" fmla="*/ 0 60000 65536"/>
              <a:gd name="T10" fmla="*/ 0 60000 65536"/>
              <a:gd name="T11" fmla="*/ 0 60000 65536"/>
              <a:gd name="T12" fmla="*/ 4977 w 21600"/>
              <a:gd name="T13" fmla="*/ 4972 h 21600"/>
              <a:gd name="T14" fmla="*/ 16623 w 21600"/>
              <a:gd name="T15" fmla="*/ 16628 h 21600"/>
            </a:gdLst>
            <a:ahLst/>
            <a:cxnLst>
              <a:cxn ang="T8">
                <a:pos x="T0" y="T1"/>
              </a:cxn>
              <a:cxn ang="T9">
                <a:pos x="T2" y="T3"/>
              </a:cxn>
              <a:cxn ang="T10">
                <a:pos x="T4" y="T5"/>
              </a:cxn>
              <a:cxn ang="T11">
                <a:pos x="T6" y="T7"/>
              </a:cxn>
            </a:cxnLst>
            <a:rect l="T12" t="T13" r="T14" b="T15"/>
            <a:pathLst>
              <a:path w="21600" h="21600">
                <a:moveTo>
                  <a:pt x="0" y="0"/>
                </a:moveTo>
                <a:lnTo>
                  <a:pt x="6354" y="21600"/>
                </a:lnTo>
                <a:lnTo>
                  <a:pt x="15246" y="21600"/>
                </a:lnTo>
                <a:lnTo>
                  <a:pt x="21600" y="0"/>
                </a:lnTo>
                <a:lnTo>
                  <a:pt x="0" y="0"/>
                </a:lnTo>
                <a:close/>
              </a:path>
            </a:pathLst>
          </a:custGeom>
          <a:noFill/>
          <a:ln w="28575">
            <a:solidFill>
              <a:srgbClr val="000066"/>
            </a:solidFill>
            <a:miter lim="800000"/>
            <a:headEnd/>
            <a:tailEnd/>
          </a:ln>
        </p:spPr>
        <p:txBody>
          <a:bodyPr vert="eaVert" wrap="none" anchor="ctr"/>
          <a:lstStyle/>
          <a:p>
            <a:pPr fontAlgn="auto">
              <a:spcBef>
                <a:spcPts val="0"/>
              </a:spcBef>
              <a:spcAft>
                <a:spcPts val="0"/>
              </a:spcAft>
              <a:defRPr/>
            </a:pPr>
            <a:endParaRPr lang="pt-BR" b="0" kern="0">
              <a:solidFill>
                <a:sysClr val="windowText" lastClr="000000"/>
              </a:solidFill>
              <a:latin typeface="Calibri" panose="020F0502020204030204" pitchFamily="34" charset="0"/>
            </a:endParaRPr>
          </a:p>
        </p:txBody>
      </p:sp>
      <p:sp>
        <p:nvSpPr>
          <p:cNvPr id="156" name="Line 140"/>
          <p:cNvSpPr>
            <a:spLocks noChangeShapeType="1"/>
          </p:cNvSpPr>
          <p:nvPr>
            <p:custDataLst>
              <p:tags r:id="rId15"/>
            </p:custDataLst>
          </p:nvPr>
        </p:nvSpPr>
        <p:spPr bwMode="auto">
          <a:xfrm>
            <a:off x="2636987" y="4099794"/>
            <a:ext cx="0" cy="2755107"/>
          </a:xfrm>
          <a:prstGeom prst="line">
            <a:avLst/>
          </a:prstGeom>
          <a:noFill/>
          <a:ln w="28575">
            <a:solidFill>
              <a:srgbClr val="000066"/>
            </a:solidFill>
            <a:round/>
            <a:headEnd/>
            <a:tailEnd/>
          </a:ln>
        </p:spPr>
        <p:txBody>
          <a:bodyPr lIns="135000" tIns="70200" rIns="135000" bIns="70200"/>
          <a:lstStyle/>
          <a:p>
            <a:pPr fontAlgn="auto">
              <a:spcBef>
                <a:spcPts val="0"/>
              </a:spcBef>
              <a:spcAft>
                <a:spcPts val="0"/>
              </a:spcAft>
              <a:defRPr/>
            </a:pPr>
            <a:endParaRPr lang="pt-BR" b="0" kern="0">
              <a:solidFill>
                <a:sysClr val="windowText" lastClr="000000"/>
              </a:solidFill>
              <a:latin typeface="Calibri" panose="020F0502020204030204" pitchFamily="34" charset="0"/>
            </a:endParaRPr>
          </a:p>
        </p:txBody>
      </p:sp>
      <p:sp>
        <p:nvSpPr>
          <p:cNvPr id="157" name="Line 141"/>
          <p:cNvSpPr>
            <a:spLocks noChangeShapeType="1"/>
          </p:cNvSpPr>
          <p:nvPr>
            <p:custDataLst>
              <p:tags r:id="rId16"/>
            </p:custDataLst>
          </p:nvPr>
        </p:nvSpPr>
        <p:spPr bwMode="auto">
          <a:xfrm>
            <a:off x="3498999" y="4387926"/>
            <a:ext cx="0" cy="2147888"/>
          </a:xfrm>
          <a:prstGeom prst="line">
            <a:avLst/>
          </a:prstGeom>
          <a:noFill/>
          <a:ln w="28575">
            <a:solidFill>
              <a:srgbClr val="000066"/>
            </a:solidFill>
            <a:round/>
            <a:headEnd/>
            <a:tailEnd/>
          </a:ln>
        </p:spPr>
        <p:txBody>
          <a:bodyPr lIns="135000" tIns="70200" rIns="135000" bIns="70200"/>
          <a:lstStyle/>
          <a:p>
            <a:pPr fontAlgn="auto">
              <a:spcBef>
                <a:spcPts val="0"/>
              </a:spcBef>
              <a:spcAft>
                <a:spcPts val="0"/>
              </a:spcAft>
              <a:defRPr/>
            </a:pPr>
            <a:endParaRPr lang="pt-BR" b="0" kern="0">
              <a:solidFill>
                <a:sysClr val="windowText" lastClr="000000"/>
              </a:solidFill>
              <a:latin typeface="Calibri" panose="020F0502020204030204" pitchFamily="34" charset="0"/>
            </a:endParaRPr>
          </a:p>
        </p:txBody>
      </p:sp>
      <p:sp>
        <p:nvSpPr>
          <p:cNvPr id="158" name="Oval 142"/>
          <p:cNvSpPr>
            <a:spLocks noChangeArrowheads="1"/>
          </p:cNvSpPr>
          <p:nvPr>
            <p:custDataLst>
              <p:tags r:id="rId17"/>
            </p:custDataLst>
          </p:nvPr>
        </p:nvSpPr>
        <p:spPr bwMode="auto">
          <a:xfrm>
            <a:off x="1509935" y="551594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59" name="Oval 145"/>
          <p:cNvSpPr>
            <a:spLocks noChangeArrowheads="1"/>
          </p:cNvSpPr>
          <p:nvPr>
            <p:custDataLst>
              <p:tags r:id="rId18"/>
            </p:custDataLst>
          </p:nvPr>
        </p:nvSpPr>
        <p:spPr bwMode="auto">
          <a:xfrm>
            <a:off x="2893612" y="5450222"/>
            <a:ext cx="433388" cy="433388"/>
          </a:xfrm>
          <a:prstGeom prst="ellipse">
            <a:avLst/>
          </a:prstGeom>
          <a:solidFill>
            <a:srgbClr val="00B05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0" name="Oval 146"/>
          <p:cNvSpPr>
            <a:spLocks noChangeArrowheads="1"/>
          </p:cNvSpPr>
          <p:nvPr>
            <p:custDataLst>
              <p:tags r:id="rId19"/>
            </p:custDataLst>
          </p:nvPr>
        </p:nvSpPr>
        <p:spPr bwMode="auto">
          <a:xfrm>
            <a:off x="2893612" y="4370102"/>
            <a:ext cx="433388" cy="433388"/>
          </a:xfrm>
          <a:prstGeom prst="ellipse">
            <a:avLst/>
          </a:prstGeom>
          <a:solidFill>
            <a:srgbClr val="00B05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1" name="Oval 147"/>
          <p:cNvSpPr>
            <a:spLocks noChangeArrowheads="1"/>
          </p:cNvSpPr>
          <p:nvPr>
            <p:custDataLst>
              <p:tags r:id="rId20"/>
            </p:custDataLst>
          </p:nvPr>
        </p:nvSpPr>
        <p:spPr bwMode="auto">
          <a:xfrm>
            <a:off x="2893612" y="4910162"/>
            <a:ext cx="433388" cy="433388"/>
          </a:xfrm>
          <a:prstGeom prst="ellipse">
            <a:avLst/>
          </a:prstGeom>
          <a:solidFill>
            <a:srgbClr val="00B05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2" name="Oval 150"/>
          <p:cNvSpPr>
            <a:spLocks noChangeArrowheads="1"/>
          </p:cNvSpPr>
          <p:nvPr>
            <p:custDataLst>
              <p:tags r:id="rId21"/>
            </p:custDataLst>
          </p:nvPr>
        </p:nvSpPr>
        <p:spPr bwMode="auto">
          <a:xfrm>
            <a:off x="2034742" y="475852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3" name="Oval 151"/>
          <p:cNvSpPr>
            <a:spLocks noChangeArrowheads="1"/>
          </p:cNvSpPr>
          <p:nvPr>
            <p:custDataLst>
              <p:tags r:id="rId22"/>
            </p:custDataLst>
          </p:nvPr>
        </p:nvSpPr>
        <p:spPr bwMode="auto">
          <a:xfrm>
            <a:off x="2034742" y="421846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4" name="Oval 152"/>
          <p:cNvSpPr>
            <a:spLocks noChangeArrowheads="1"/>
          </p:cNvSpPr>
          <p:nvPr>
            <p:custDataLst>
              <p:tags r:id="rId23"/>
            </p:custDataLst>
          </p:nvPr>
        </p:nvSpPr>
        <p:spPr bwMode="auto">
          <a:xfrm>
            <a:off x="2034742" y="529858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5" name="Oval 153"/>
          <p:cNvSpPr>
            <a:spLocks noChangeArrowheads="1"/>
          </p:cNvSpPr>
          <p:nvPr>
            <p:custDataLst>
              <p:tags r:id="rId24"/>
            </p:custDataLst>
          </p:nvPr>
        </p:nvSpPr>
        <p:spPr bwMode="auto">
          <a:xfrm>
            <a:off x="3716773" y="5234195"/>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66" name="Oval 154"/>
          <p:cNvSpPr>
            <a:spLocks noChangeArrowheads="1"/>
          </p:cNvSpPr>
          <p:nvPr>
            <p:custDataLst>
              <p:tags r:id="rId25"/>
            </p:custDataLst>
          </p:nvPr>
        </p:nvSpPr>
        <p:spPr bwMode="auto">
          <a:xfrm>
            <a:off x="3716773" y="4694138"/>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67" name="Oval 155"/>
          <p:cNvSpPr>
            <a:spLocks noChangeArrowheads="1"/>
          </p:cNvSpPr>
          <p:nvPr>
            <p:custDataLst>
              <p:tags r:id="rId26"/>
            </p:custDataLst>
          </p:nvPr>
        </p:nvSpPr>
        <p:spPr bwMode="auto">
          <a:xfrm>
            <a:off x="1509935" y="6596070"/>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8" name="Oval 157"/>
          <p:cNvSpPr>
            <a:spLocks noChangeArrowheads="1"/>
          </p:cNvSpPr>
          <p:nvPr>
            <p:custDataLst>
              <p:tags r:id="rId27"/>
            </p:custDataLst>
          </p:nvPr>
        </p:nvSpPr>
        <p:spPr bwMode="auto">
          <a:xfrm>
            <a:off x="1509935" y="6056010"/>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69" name="Oval 159"/>
          <p:cNvSpPr>
            <a:spLocks noChangeArrowheads="1"/>
          </p:cNvSpPr>
          <p:nvPr>
            <p:custDataLst>
              <p:tags r:id="rId28"/>
            </p:custDataLst>
          </p:nvPr>
        </p:nvSpPr>
        <p:spPr bwMode="auto">
          <a:xfrm>
            <a:off x="2034742" y="637870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70" name="Oval 160"/>
          <p:cNvSpPr>
            <a:spLocks noChangeArrowheads="1"/>
          </p:cNvSpPr>
          <p:nvPr>
            <p:custDataLst>
              <p:tags r:id="rId29"/>
            </p:custDataLst>
          </p:nvPr>
        </p:nvSpPr>
        <p:spPr bwMode="auto">
          <a:xfrm>
            <a:off x="2034742" y="5838647"/>
            <a:ext cx="433388" cy="433388"/>
          </a:xfrm>
          <a:prstGeom prst="ellipse">
            <a:avLst/>
          </a:prstGeom>
          <a:solidFill>
            <a:srgbClr val="FF000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71" name="Oval 170"/>
          <p:cNvSpPr>
            <a:spLocks noChangeArrowheads="1"/>
          </p:cNvSpPr>
          <p:nvPr>
            <p:custDataLst>
              <p:tags r:id="rId30"/>
            </p:custDataLst>
          </p:nvPr>
        </p:nvSpPr>
        <p:spPr bwMode="auto">
          <a:xfrm>
            <a:off x="2893612" y="5990282"/>
            <a:ext cx="433388" cy="433388"/>
          </a:xfrm>
          <a:prstGeom prst="ellipse">
            <a:avLst/>
          </a:prstGeom>
          <a:solidFill>
            <a:srgbClr val="00B05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172" name="Oval 153"/>
          <p:cNvSpPr>
            <a:spLocks noChangeArrowheads="1"/>
          </p:cNvSpPr>
          <p:nvPr>
            <p:custDataLst>
              <p:tags r:id="rId31"/>
            </p:custDataLst>
          </p:nvPr>
        </p:nvSpPr>
        <p:spPr bwMode="auto">
          <a:xfrm>
            <a:off x="3718111" y="5774258"/>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3" name="Oval 137"/>
          <p:cNvSpPr>
            <a:spLocks noChangeArrowheads="1"/>
          </p:cNvSpPr>
          <p:nvPr>
            <p:custDataLst>
              <p:tags r:id="rId32"/>
            </p:custDataLst>
          </p:nvPr>
        </p:nvSpPr>
        <p:spPr bwMode="auto">
          <a:xfrm>
            <a:off x="2734789"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4" name="Oval 137"/>
          <p:cNvSpPr>
            <a:spLocks noChangeArrowheads="1"/>
          </p:cNvSpPr>
          <p:nvPr>
            <p:custDataLst>
              <p:tags r:id="rId33"/>
            </p:custDataLst>
          </p:nvPr>
        </p:nvSpPr>
        <p:spPr bwMode="auto">
          <a:xfrm>
            <a:off x="2734789"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5" name="Oval 137"/>
          <p:cNvSpPr>
            <a:spLocks noChangeArrowheads="1"/>
          </p:cNvSpPr>
          <p:nvPr>
            <p:custDataLst>
              <p:tags r:id="rId34"/>
            </p:custDataLst>
          </p:nvPr>
        </p:nvSpPr>
        <p:spPr bwMode="auto">
          <a:xfrm>
            <a:off x="2734789" y="762088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6" name="Oval 137"/>
          <p:cNvSpPr>
            <a:spLocks noChangeArrowheads="1"/>
          </p:cNvSpPr>
          <p:nvPr>
            <p:custDataLst>
              <p:tags r:id="rId35"/>
            </p:custDataLst>
          </p:nvPr>
        </p:nvSpPr>
        <p:spPr bwMode="auto">
          <a:xfrm>
            <a:off x="2734789"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7" name="Oval 137"/>
          <p:cNvSpPr>
            <a:spLocks noChangeArrowheads="1"/>
          </p:cNvSpPr>
          <p:nvPr>
            <p:custDataLst>
              <p:tags r:id="rId36"/>
            </p:custDataLst>
          </p:nvPr>
        </p:nvSpPr>
        <p:spPr bwMode="auto">
          <a:xfrm>
            <a:off x="2734789"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8" name="Oval 137"/>
          <p:cNvSpPr>
            <a:spLocks noChangeArrowheads="1"/>
          </p:cNvSpPr>
          <p:nvPr>
            <p:custDataLst>
              <p:tags r:id="rId37"/>
            </p:custDataLst>
          </p:nvPr>
        </p:nvSpPr>
        <p:spPr bwMode="auto">
          <a:xfrm>
            <a:off x="2963389"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79" name="Oval 137"/>
          <p:cNvSpPr>
            <a:spLocks noChangeArrowheads="1"/>
          </p:cNvSpPr>
          <p:nvPr>
            <p:custDataLst>
              <p:tags r:id="rId38"/>
            </p:custDataLst>
          </p:nvPr>
        </p:nvSpPr>
        <p:spPr bwMode="auto">
          <a:xfrm>
            <a:off x="2963389"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0" name="Oval 137"/>
          <p:cNvSpPr>
            <a:spLocks noChangeArrowheads="1"/>
          </p:cNvSpPr>
          <p:nvPr>
            <p:custDataLst>
              <p:tags r:id="rId39"/>
            </p:custDataLst>
          </p:nvPr>
        </p:nvSpPr>
        <p:spPr bwMode="auto">
          <a:xfrm>
            <a:off x="2963389"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1" name="Oval 137"/>
          <p:cNvSpPr>
            <a:spLocks noChangeArrowheads="1"/>
          </p:cNvSpPr>
          <p:nvPr>
            <p:custDataLst>
              <p:tags r:id="rId40"/>
            </p:custDataLst>
          </p:nvPr>
        </p:nvSpPr>
        <p:spPr bwMode="auto">
          <a:xfrm>
            <a:off x="2963389"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2" name="Oval 137"/>
          <p:cNvSpPr>
            <a:spLocks noChangeArrowheads="1"/>
          </p:cNvSpPr>
          <p:nvPr>
            <p:custDataLst>
              <p:tags r:id="rId41"/>
            </p:custDataLst>
          </p:nvPr>
        </p:nvSpPr>
        <p:spPr bwMode="auto">
          <a:xfrm>
            <a:off x="2963389"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3" name="Oval 137"/>
          <p:cNvSpPr>
            <a:spLocks noChangeArrowheads="1"/>
          </p:cNvSpPr>
          <p:nvPr>
            <p:custDataLst>
              <p:tags r:id="rId42"/>
            </p:custDataLst>
          </p:nvPr>
        </p:nvSpPr>
        <p:spPr bwMode="auto">
          <a:xfrm>
            <a:off x="3191989"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4" name="Oval 137"/>
          <p:cNvSpPr>
            <a:spLocks noChangeArrowheads="1"/>
          </p:cNvSpPr>
          <p:nvPr>
            <p:custDataLst>
              <p:tags r:id="rId43"/>
            </p:custDataLst>
          </p:nvPr>
        </p:nvSpPr>
        <p:spPr bwMode="auto">
          <a:xfrm>
            <a:off x="3191989"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5" name="Oval 137"/>
          <p:cNvSpPr>
            <a:spLocks noChangeArrowheads="1"/>
          </p:cNvSpPr>
          <p:nvPr>
            <p:custDataLst>
              <p:tags r:id="rId44"/>
            </p:custDataLst>
          </p:nvPr>
        </p:nvSpPr>
        <p:spPr bwMode="auto">
          <a:xfrm>
            <a:off x="3191989"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6" name="Oval 137"/>
          <p:cNvSpPr>
            <a:spLocks noChangeArrowheads="1"/>
          </p:cNvSpPr>
          <p:nvPr>
            <p:custDataLst>
              <p:tags r:id="rId45"/>
            </p:custDataLst>
          </p:nvPr>
        </p:nvSpPr>
        <p:spPr bwMode="auto">
          <a:xfrm>
            <a:off x="3191989"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7" name="Oval 137"/>
          <p:cNvSpPr>
            <a:spLocks noChangeArrowheads="1"/>
          </p:cNvSpPr>
          <p:nvPr>
            <p:custDataLst>
              <p:tags r:id="rId46"/>
            </p:custDataLst>
          </p:nvPr>
        </p:nvSpPr>
        <p:spPr bwMode="auto">
          <a:xfrm>
            <a:off x="3191989"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8" name="Oval 137"/>
          <p:cNvSpPr>
            <a:spLocks noChangeArrowheads="1"/>
          </p:cNvSpPr>
          <p:nvPr>
            <p:custDataLst>
              <p:tags r:id="rId47"/>
            </p:custDataLst>
          </p:nvPr>
        </p:nvSpPr>
        <p:spPr bwMode="auto">
          <a:xfrm>
            <a:off x="3420589"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89" name="Oval 137"/>
          <p:cNvSpPr>
            <a:spLocks noChangeArrowheads="1"/>
          </p:cNvSpPr>
          <p:nvPr>
            <p:custDataLst>
              <p:tags r:id="rId48"/>
            </p:custDataLst>
          </p:nvPr>
        </p:nvSpPr>
        <p:spPr bwMode="auto">
          <a:xfrm>
            <a:off x="3420589"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0" name="Oval 137"/>
          <p:cNvSpPr>
            <a:spLocks noChangeArrowheads="1"/>
          </p:cNvSpPr>
          <p:nvPr>
            <p:custDataLst>
              <p:tags r:id="rId49"/>
            </p:custDataLst>
          </p:nvPr>
        </p:nvSpPr>
        <p:spPr bwMode="auto">
          <a:xfrm>
            <a:off x="3420589"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1" name="Oval 137"/>
          <p:cNvSpPr>
            <a:spLocks noChangeArrowheads="1"/>
          </p:cNvSpPr>
          <p:nvPr>
            <p:custDataLst>
              <p:tags r:id="rId50"/>
            </p:custDataLst>
          </p:nvPr>
        </p:nvSpPr>
        <p:spPr bwMode="auto">
          <a:xfrm>
            <a:off x="3420589"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2" name="Oval 137"/>
          <p:cNvSpPr>
            <a:spLocks noChangeArrowheads="1"/>
          </p:cNvSpPr>
          <p:nvPr>
            <p:custDataLst>
              <p:tags r:id="rId51"/>
            </p:custDataLst>
          </p:nvPr>
        </p:nvSpPr>
        <p:spPr bwMode="auto">
          <a:xfrm>
            <a:off x="3420589"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3" name="Oval 137"/>
          <p:cNvSpPr>
            <a:spLocks noChangeArrowheads="1"/>
          </p:cNvSpPr>
          <p:nvPr>
            <p:custDataLst>
              <p:tags r:id="rId52"/>
            </p:custDataLst>
          </p:nvPr>
        </p:nvSpPr>
        <p:spPr bwMode="auto">
          <a:xfrm>
            <a:off x="3649190"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4" name="Oval 137"/>
          <p:cNvSpPr>
            <a:spLocks noChangeArrowheads="1"/>
          </p:cNvSpPr>
          <p:nvPr>
            <p:custDataLst>
              <p:tags r:id="rId53"/>
            </p:custDataLst>
          </p:nvPr>
        </p:nvSpPr>
        <p:spPr bwMode="auto">
          <a:xfrm>
            <a:off x="3649190"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5" name="Oval 137"/>
          <p:cNvSpPr>
            <a:spLocks noChangeArrowheads="1"/>
          </p:cNvSpPr>
          <p:nvPr>
            <p:custDataLst>
              <p:tags r:id="rId54"/>
            </p:custDataLst>
          </p:nvPr>
        </p:nvSpPr>
        <p:spPr bwMode="auto">
          <a:xfrm>
            <a:off x="3649190"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6" name="Oval 137"/>
          <p:cNvSpPr>
            <a:spLocks noChangeArrowheads="1"/>
          </p:cNvSpPr>
          <p:nvPr>
            <p:custDataLst>
              <p:tags r:id="rId55"/>
            </p:custDataLst>
          </p:nvPr>
        </p:nvSpPr>
        <p:spPr bwMode="auto">
          <a:xfrm>
            <a:off x="3649190"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7" name="Oval 137"/>
          <p:cNvSpPr>
            <a:spLocks noChangeArrowheads="1"/>
          </p:cNvSpPr>
          <p:nvPr>
            <p:custDataLst>
              <p:tags r:id="rId56"/>
            </p:custDataLst>
          </p:nvPr>
        </p:nvSpPr>
        <p:spPr bwMode="auto">
          <a:xfrm>
            <a:off x="3649190"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8" name="Oval 137"/>
          <p:cNvSpPr>
            <a:spLocks noChangeArrowheads="1"/>
          </p:cNvSpPr>
          <p:nvPr>
            <p:custDataLst>
              <p:tags r:id="rId57"/>
            </p:custDataLst>
          </p:nvPr>
        </p:nvSpPr>
        <p:spPr bwMode="auto">
          <a:xfrm>
            <a:off x="3877790"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199" name="Oval 137"/>
          <p:cNvSpPr>
            <a:spLocks noChangeArrowheads="1"/>
          </p:cNvSpPr>
          <p:nvPr>
            <p:custDataLst>
              <p:tags r:id="rId58"/>
            </p:custDataLst>
          </p:nvPr>
        </p:nvSpPr>
        <p:spPr bwMode="auto">
          <a:xfrm>
            <a:off x="3877790"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0" name="Oval 137"/>
          <p:cNvSpPr>
            <a:spLocks noChangeArrowheads="1"/>
          </p:cNvSpPr>
          <p:nvPr>
            <p:custDataLst>
              <p:tags r:id="rId59"/>
            </p:custDataLst>
          </p:nvPr>
        </p:nvSpPr>
        <p:spPr bwMode="auto">
          <a:xfrm>
            <a:off x="3877790"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1" name="Oval 137"/>
          <p:cNvSpPr>
            <a:spLocks noChangeArrowheads="1"/>
          </p:cNvSpPr>
          <p:nvPr>
            <p:custDataLst>
              <p:tags r:id="rId60"/>
            </p:custDataLst>
          </p:nvPr>
        </p:nvSpPr>
        <p:spPr bwMode="auto">
          <a:xfrm>
            <a:off x="3877790"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2" name="Oval 137"/>
          <p:cNvSpPr>
            <a:spLocks noChangeArrowheads="1"/>
          </p:cNvSpPr>
          <p:nvPr>
            <p:custDataLst>
              <p:tags r:id="rId61"/>
            </p:custDataLst>
          </p:nvPr>
        </p:nvSpPr>
        <p:spPr bwMode="auto">
          <a:xfrm>
            <a:off x="3877790"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3" name="Oval 137"/>
          <p:cNvSpPr>
            <a:spLocks noChangeArrowheads="1"/>
          </p:cNvSpPr>
          <p:nvPr>
            <p:custDataLst>
              <p:tags r:id="rId62"/>
            </p:custDataLst>
          </p:nvPr>
        </p:nvSpPr>
        <p:spPr bwMode="auto">
          <a:xfrm>
            <a:off x="4106390"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4" name="Oval 137"/>
          <p:cNvSpPr>
            <a:spLocks noChangeArrowheads="1"/>
          </p:cNvSpPr>
          <p:nvPr>
            <p:custDataLst>
              <p:tags r:id="rId63"/>
            </p:custDataLst>
          </p:nvPr>
        </p:nvSpPr>
        <p:spPr bwMode="auto">
          <a:xfrm>
            <a:off x="4106390"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5" name="Oval 137"/>
          <p:cNvSpPr>
            <a:spLocks noChangeArrowheads="1"/>
          </p:cNvSpPr>
          <p:nvPr>
            <p:custDataLst>
              <p:tags r:id="rId64"/>
            </p:custDataLst>
          </p:nvPr>
        </p:nvSpPr>
        <p:spPr bwMode="auto">
          <a:xfrm>
            <a:off x="4106390"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6" name="Oval 137"/>
          <p:cNvSpPr>
            <a:spLocks noChangeArrowheads="1"/>
          </p:cNvSpPr>
          <p:nvPr>
            <p:custDataLst>
              <p:tags r:id="rId65"/>
            </p:custDataLst>
          </p:nvPr>
        </p:nvSpPr>
        <p:spPr bwMode="auto">
          <a:xfrm>
            <a:off x="4106390"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7" name="Oval 137"/>
          <p:cNvSpPr>
            <a:spLocks noChangeArrowheads="1"/>
          </p:cNvSpPr>
          <p:nvPr>
            <p:custDataLst>
              <p:tags r:id="rId66"/>
            </p:custDataLst>
          </p:nvPr>
        </p:nvSpPr>
        <p:spPr bwMode="auto">
          <a:xfrm>
            <a:off x="4106390"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8" name="Oval 137"/>
          <p:cNvSpPr>
            <a:spLocks noChangeArrowheads="1"/>
          </p:cNvSpPr>
          <p:nvPr>
            <p:custDataLst>
              <p:tags r:id="rId67"/>
            </p:custDataLst>
          </p:nvPr>
        </p:nvSpPr>
        <p:spPr bwMode="auto">
          <a:xfrm>
            <a:off x="4334990" y="8075076"/>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09" name="Oval 137"/>
          <p:cNvSpPr>
            <a:spLocks noChangeArrowheads="1"/>
          </p:cNvSpPr>
          <p:nvPr>
            <p:custDataLst>
              <p:tags r:id="rId68"/>
            </p:custDataLst>
          </p:nvPr>
        </p:nvSpPr>
        <p:spPr bwMode="auto">
          <a:xfrm>
            <a:off x="4334990" y="784797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0" name="Oval 137"/>
          <p:cNvSpPr>
            <a:spLocks noChangeArrowheads="1"/>
          </p:cNvSpPr>
          <p:nvPr>
            <p:custDataLst>
              <p:tags r:id="rId69"/>
            </p:custDataLst>
          </p:nvPr>
        </p:nvSpPr>
        <p:spPr bwMode="auto">
          <a:xfrm>
            <a:off x="4334990" y="763055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1" name="Oval 137"/>
          <p:cNvSpPr>
            <a:spLocks noChangeArrowheads="1"/>
          </p:cNvSpPr>
          <p:nvPr>
            <p:custDataLst>
              <p:tags r:id="rId70"/>
            </p:custDataLst>
          </p:nvPr>
        </p:nvSpPr>
        <p:spPr bwMode="auto">
          <a:xfrm>
            <a:off x="4334990" y="739378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2" name="Oval 137"/>
          <p:cNvSpPr>
            <a:spLocks noChangeArrowheads="1"/>
          </p:cNvSpPr>
          <p:nvPr>
            <p:custDataLst>
              <p:tags r:id="rId71"/>
            </p:custDataLst>
          </p:nvPr>
        </p:nvSpPr>
        <p:spPr bwMode="auto">
          <a:xfrm>
            <a:off x="4334990" y="830217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3" name="Oval 137"/>
          <p:cNvSpPr>
            <a:spLocks noChangeArrowheads="1"/>
          </p:cNvSpPr>
          <p:nvPr>
            <p:custDataLst>
              <p:tags r:id="rId72"/>
            </p:custDataLst>
          </p:nvPr>
        </p:nvSpPr>
        <p:spPr bwMode="auto">
          <a:xfrm>
            <a:off x="1365658"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4" name="Oval 137"/>
          <p:cNvSpPr>
            <a:spLocks noChangeArrowheads="1"/>
          </p:cNvSpPr>
          <p:nvPr>
            <p:custDataLst>
              <p:tags r:id="rId73"/>
            </p:custDataLst>
          </p:nvPr>
        </p:nvSpPr>
        <p:spPr bwMode="auto">
          <a:xfrm>
            <a:off x="1365658"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5" name="Oval 137"/>
          <p:cNvSpPr>
            <a:spLocks noChangeArrowheads="1"/>
          </p:cNvSpPr>
          <p:nvPr>
            <p:custDataLst>
              <p:tags r:id="rId74"/>
            </p:custDataLst>
          </p:nvPr>
        </p:nvSpPr>
        <p:spPr bwMode="auto">
          <a:xfrm>
            <a:off x="1365658"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6" name="Oval 137"/>
          <p:cNvSpPr>
            <a:spLocks noChangeArrowheads="1"/>
          </p:cNvSpPr>
          <p:nvPr>
            <p:custDataLst>
              <p:tags r:id="rId75"/>
            </p:custDataLst>
          </p:nvPr>
        </p:nvSpPr>
        <p:spPr bwMode="auto">
          <a:xfrm>
            <a:off x="1365658"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7" name="Oval 137"/>
          <p:cNvSpPr>
            <a:spLocks noChangeArrowheads="1"/>
          </p:cNvSpPr>
          <p:nvPr>
            <p:custDataLst>
              <p:tags r:id="rId76"/>
            </p:custDataLst>
          </p:nvPr>
        </p:nvSpPr>
        <p:spPr bwMode="auto">
          <a:xfrm>
            <a:off x="1365658"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8" name="Oval 137"/>
          <p:cNvSpPr>
            <a:spLocks noChangeArrowheads="1"/>
          </p:cNvSpPr>
          <p:nvPr>
            <p:custDataLst>
              <p:tags r:id="rId77"/>
            </p:custDataLst>
          </p:nvPr>
        </p:nvSpPr>
        <p:spPr bwMode="auto">
          <a:xfrm>
            <a:off x="1594258"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19" name="Oval 137"/>
          <p:cNvSpPr>
            <a:spLocks noChangeArrowheads="1"/>
          </p:cNvSpPr>
          <p:nvPr>
            <p:custDataLst>
              <p:tags r:id="rId78"/>
            </p:custDataLst>
          </p:nvPr>
        </p:nvSpPr>
        <p:spPr bwMode="auto">
          <a:xfrm>
            <a:off x="1594258"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0" name="Oval 137"/>
          <p:cNvSpPr>
            <a:spLocks noChangeArrowheads="1"/>
          </p:cNvSpPr>
          <p:nvPr>
            <p:custDataLst>
              <p:tags r:id="rId79"/>
            </p:custDataLst>
          </p:nvPr>
        </p:nvSpPr>
        <p:spPr bwMode="auto">
          <a:xfrm>
            <a:off x="1594258"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1" name="Oval 137"/>
          <p:cNvSpPr>
            <a:spLocks noChangeArrowheads="1"/>
          </p:cNvSpPr>
          <p:nvPr>
            <p:custDataLst>
              <p:tags r:id="rId80"/>
            </p:custDataLst>
          </p:nvPr>
        </p:nvSpPr>
        <p:spPr bwMode="auto">
          <a:xfrm>
            <a:off x="1594258"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2" name="Oval 137"/>
          <p:cNvSpPr>
            <a:spLocks noChangeArrowheads="1"/>
          </p:cNvSpPr>
          <p:nvPr>
            <p:custDataLst>
              <p:tags r:id="rId81"/>
            </p:custDataLst>
          </p:nvPr>
        </p:nvSpPr>
        <p:spPr bwMode="auto">
          <a:xfrm>
            <a:off x="1594258"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3" name="Oval 137"/>
          <p:cNvSpPr>
            <a:spLocks noChangeArrowheads="1"/>
          </p:cNvSpPr>
          <p:nvPr>
            <p:custDataLst>
              <p:tags r:id="rId82"/>
            </p:custDataLst>
          </p:nvPr>
        </p:nvSpPr>
        <p:spPr bwMode="auto">
          <a:xfrm>
            <a:off x="1822859"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4" name="Oval 137"/>
          <p:cNvSpPr>
            <a:spLocks noChangeArrowheads="1"/>
          </p:cNvSpPr>
          <p:nvPr>
            <p:custDataLst>
              <p:tags r:id="rId83"/>
            </p:custDataLst>
          </p:nvPr>
        </p:nvSpPr>
        <p:spPr bwMode="auto">
          <a:xfrm>
            <a:off x="1822859"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5" name="Oval 137"/>
          <p:cNvSpPr>
            <a:spLocks noChangeArrowheads="1"/>
          </p:cNvSpPr>
          <p:nvPr>
            <p:custDataLst>
              <p:tags r:id="rId84"/>
            </p:custDataLst>
          </p:nvPr>
        </p:nvSpPr>
        <p:spPr bwMode="auto">
          <a:xfrm>
            <a:off x="1822859"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6" name="Oval 137"/>
          <p:cNvSpPr>
            <a:spLocks noChangeArrowheads="1"/>
          </p:cNvSpPr>
          <p:nvPr>
            <p:custDataLst>
              <p:tags r:id="rId85"/>
            </p:custDataLst>
          </p:nvPr>
        </p:nvSpPr>
        <p:spPr bwMode="auto">
          <a:xfrm>
            <a:off x="1822859"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7" name="Oval 137"/>
          <p:cNvSpPr>
            <a:spLocks noChangeArrowheads="1"/>
          </p:cNvSpPr>
          <p:nvPr>
            <p:custDataLst>
              <p:tags r:id="rId86"/>
            </p:custDataLst>
          </p:nvPr>
        </p:nvSpPr>
        <p:spPr bwMode="auto">
          <a:xfrm>
            <a:off x="1822859"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8" name="Oval 137"/>
          <p:cNvSpPr>
            <a:spLocks noChangeArrowheads="1"/>
          </p:cNvSpPr>
          <p:nvPr>
            <p:custDataLst>
              <p:tags r:id="rId87"/>
            </p:custDataLst>
          </p:nvPr>
        </p:nvSpPr>
        <p:spPr bwMode="auto">
          <a:xfrm>
            <a:off x="2051459"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29" name="Oval 137"/>
          <p:cNvSpPr>
            <a:spLocks noChangeArrowheads="1"/>
          </p:cNvSpPr>
          <p:nvPr>
            <p:custDataLst>
              <p:tags r:id="rId88"/>
            </p:custDataLst>
          </p:nvPr>
        </p:nvSpPr>
        <p:spPr bwMode="auto">
          <a:xfrm>
            <a:off x="2051459"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0" name="Oval 137"/>
          <p:cNvSpPr>
            <a:spLocks noChangeArrowheads="1"/>
          </p:cNvSpPr>
          <p:nvPr>
            <p:custDataLst>
              <p:tags r:id="rId89"/>
            </p:custDataLst>
          </p:nvPr>
        </p:nvSpPr>
        <p:spPr bwMode="auto">
          <a:xfrm>
            <a:off x="2051459"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1" name="Oval 137"/>
          <p:cNvSpPr>
            <a:spLocks noChangeArrowheads="1"/>
          </p:cNvSpPr>
          <p:nvPr>
            <p:custDataLst>
              <p:tags r:id="rId90"/>
            </p:custDataLst>
          </p:nvPr>
        </p:nvSpPr>
        <p:spPr bwMode="auto">
          <a:xfrm>
            <a:off x="2051459"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2" name="Oval 137"/>
          <p:cNvSpPr>
            <a:spLocks noChangeArrowheads="1"/>
          </p:cNvSpPr>
          <p:nvPr>
            <p:custDataLst>
              <p:tags r:id="rId91"/>
            </p:custDataLst>
          </p:nvPr>
        </p:nvSpPr>
        <p:spPr bwMode="auto">
          <a:xfrm>
            <a:off x="2051459"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3" name="Oval 137"/>
          <p:cNvSpPr>
            <a:spLocks noChangeArrowheads="1"/>
          </p:cNvSpPr>
          <p:nvPr>
            <p:custDataLst>
              <p:tags r:id="rId92"/>
            </p:custDataLst>
          </p:nvPr>
        </p:nvSpPr>
        <p:spPr bwMode="auto">
          <a:xfrm>
            <a:off x="2280059"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4" name="Oval 137"/>
          <p:cNvSpPr>
            <a:spLocks noChangeArrowheads="1"/>
          </p:cNvSpPr>
          <p:nvPr>
            <p:custDataLst>
              <p:tags r:id="rId93"/>
            </p:custDataLst>
          </p:nvPr>
        </p:nvSpPr>
        <p:spPr bwMode="auto">
          <a:xfrm>
            <a:off x="2280059"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5" name="Oval 137"/>
          <p:cNvSpPr>
            <a:spLocks noChangeArrowheads="1"/>
          </p:cNvSpPr>
          <p:nvPr>
            <p:custDataLst>
              <p:tags r:id="rId94"/>
            </p:custDataLst>
          </p:nvPr>
        </p:nvSpPr>
        <p:spPr bwMode="auto">
          <a:xfrm>
            <a:off x="2280059"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6" name="Oval 137"/>
          <p:cNvSpPr>
            <a:spLocks noChangeArrowheads="1"/>
          </p:cNvSpPr>
          <p:nvPr>
            <p:custDataLst>
              <p:tags r:id="rId95"/>
            </p:custDataLst>
          </p:nvPr>
        </p:nvSpPr>
        <p:spPr bwMode="auto">
          <a:xfrm>
            <a:off x="2280059"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7" name="Oval 137"/>
          <p:cNvSpPr>
            <a:spLocks noChangeArrowheads="1"/>
          </p:cNvSpPr>
          <p:nvPr>
            <p:custDataLst>
              <p:tags r:id="rId96"/>
            </p:custDataLst>
          </p:nvPr>
        </p:nvSpPr>
        <p:spPr bwMode="auto">
          <a:xfrm>
            <a:off x="2280059"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8" name="Oval 137"/>
          <p:cNvSpPr>
            <a:spLocks noChangeArrowheads="1"/>
          </p:cNvSpPr>
          <p:nvPr>
            <p:custDataLst>
              <p:tags r:id="rId97"/>
            </p:custDataLst>
          </p:nvPr>
        </p:nvSpPr>
        <p:spPr bwMode="auto">
          <a:xfrm>
            <a:off x="2508659" y="8070154"/>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39" name="Oval 137"/>
          <p:cNvSpPr>
            <a:spLocks noChangeArrowheads="1"/>
          </p:cNvSpPr>
          <p:nvPr>
            <p:custDataLst>
              <p:tags r:id="rId98"/>
            </p:custDataLst>
          </p:nvPr>
        </p:nvSpPr>
        <p:spPr bwMode="auto">
          <a:xfrm>
            <a:off x="2508659" y="7843057"/>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0" name="Oval 137"/>
          <p:cNvSpPr>
            <a:spLocks noChangeArrowheads="1"/>
          </p:cNvSpPr>
          <p:nvPr>
            <p:custDataLst>
              <p:tags r:id="rId99"/>
            </p:custDataLst>
          </p:nvPr>
        </p:nvSpPr>
        <p:spPr bwMode="auto">
          <a:xfrm>
            <a:off x="2508659" y="762563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1" name="Oval 137"/>
          <p:cNvSpPr>
            <a:spLocks noChangeArrowheads="1"/>
          </p:cNvSpPr>
          <p:nvPr>
            <p:custDataLst>
              <p:tags r:id="rId100"/>
            </p:custDataLst>
          </p:nvPr>
        </p:nvSpPr>
        <p:spPr bwMode="auto">
          <a:xfrm>
            <a:off x="2508659" y="738886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2" name="Oval 137"/>
          <p:cNvSpPr>
            <a:spLocks noChangeArrowheads="1"/>
          </p:cNvSpPr>
          <p:nvPr>
            <p:custDataLst>
              <p:tags r:id="rId101"/>
            </p:custDataLst>
          </p:nvPr>
        </p:nvSpPr>
        <p:spPr bwMode="auto">
          <a:xfrm>
            <a:off x="2508659" y="8297253"/>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3" name="Text Box 132"/>
          <p:cNvSpPr txBox="1">
            <a:spLocks noChangeArrowheads="1"/>
          </p:cNvSpPr>
          <p:nvPr>
            <p:custDataLst>
              <p:tags r:id="rId102"/>
            </p:custDataLst>
          </p:nvPr>
        </p:nvSpPr>
        <p:spPr bwMode="auto">
          <a:xfrm rot="16200000">
            <a:off x="-679748" y="7705750"/>
            <a:ext cx="2281238" cy="885825"/>
          </a:xfrm>
          <a:prstGeom prst="rect">
            <a:avLst/>
          </a:prstGeom>
          <a:noFill/>
          <a:ln w="9525">
            <a:noFill/>
            <a:miter lim="800000"/>
            <a:headEnd/>
            <a:tailEnd/>
          </a:ln>
          <a:effectLst>
            <a:prstShdw prst="shdw17" dist="17961" dir="2700000">
              <a:srgbClr val="0F6FC6">
                <a:gamma/>
                <a:shade val="60000"/>
                <a:invGamma/>
              </a:srgbClr>
            </a:prstShdw>
          </a:effectLst>
        </p:spPr>
        <p:txBody>
          <a:bodyPr lIns="134988" tIns="70194" rIns="134988" bIns="70194"/>
          <a:lstStyle/>
          <a:p>
            <a:pPr algn="ctr" fontAlgn="auto">
              <a:spcBef>
                <a:spcPct val="50000"/>
              </a:spcBef>
              <a:spcAft>
                <a:spcPts val="0"/>
              </a:spcAft>
              <a:defRPr/>
            </a:pPr>
            <a:r>
              <a:rPr lang="pt-BR" dirty="0">
                <a:solidFill>
                  <a:sysClr val="windowText" lastClr="000000"/>
                </a:solidFill>
                <a:latin typeface="Calibri" panose="020F0502020204030204" pitchFamily="34" charset="0"/>
              </a:rPr>
              <a:t>Outras iniciativas que consomem recursos</a:t>
            </a:r>
            <a:endParaRPr lang="pt-BR" kern="0" dirty="0">
              <a:solidFill>
                <a:sysClr val="windowText" lastClr="000000"/>
              </a:solidFill>
              <a:latin typeface="Calibri" panose="020F0502020204030204" pitchFamily="34" charset="0"/>
            </a:endParaRPr>
          </a:p>
        </p:txBody>
      </p:sp>
      <p:sp>
        <p:nvSpPr>
          <p:cNvPr id="244" name="Oval 154"/>
          <p:cNvSpPr>
            <a:spLocks noChangeArrowheads="1"/>
          </p:cNvSpPr>
          <p:nvPr>
            <p:custDataLst>
              <p:tags r:id="rId103"/>
            </p:custDataLst>
          </p:nvPr>
        </p:nvSpPr>
        <p:spPr bwMode="auto">
          <a:xfrm>
            <a:off x="7819889" y="4738451"/>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5" name="Oval 154"/>
          <p:cNvSpPr>
            <a:spLocks noChangeArrowheads="1"/>
          </p:cNvSpPr>
          <p:nvPr/>
        </p:nvSpPr>
        <p:spPr bwMode="auto">
          <a:xfrm>
            <a:off x="8591903" y="5199683"/>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46" name="Line 183"/>
          <p:cNvSpPr>
            <a:spLocks noChangeShapeType="1"/>
          </p:cNvSpPr>
          <p:nvPr/>
        </p:nvSpPr>
        <p:spPr bwMode="auto">
          <a:xfrm>
            <a:off x="9116367" y="5430913"/>
            <a:ext cx="3781425"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247" name="Oval 145"/>
          <p:cNvSpPr>
            <a:spLocks noChangeArrowheads="1"/>
          </p:cNvSpPr>
          <p:nvPr>
            <p:custDataLst>
              <p:tags r:id="rId104"/>
            </p:custDataLst>
          </p:nvPr>
        </p:nvSpPr>
        <p:spPr bwMode="auto">
          <a:xfrm>
            <a:off x="9069067" y="6170451"/>
            <a:ext cx="433388" cy="433388"/>
          </a:xfrm>
          <a:prstGeom prst="ellipse">
            <a:avLst/>
          </a:prstGeom>
          <a:solidFill>
            <a:srgbClr val="00B05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fontAlgn="auto">
              <a:spcBef>
                <a:spcPts val="0"/>
              </a:spcBef>
              <a:spcAft>
                <a:spcPts val="0"/>
              </a:spcAft>
              <a:defRPr/>
            </a:pPr>
            <a:endParaRPr lang="pt-BR" sz="2550" kern="0">
              <a:solidFill>
                <a:sysClr val="windowText" lastClr="000000"/>
              </a:solidFill>
              <a:latin typeface="Calibri" panose="020F0502020204030204" pitchFamily="34" charset="0"/>
            </a:endParaRPr>
          </a:p>
        </p:txBody>
      </p:sp>
      <p:sp>
        <p:nvSpPr>
          <p:cNvPr id="248" name="Line 183"/>
          <p:cNvSpPr>
            <a:spLocks noChangeShapeType="1"/>
          </p:cNvSpPr>
          <p:nvPr>
            <p:custDataLst>
              <p:tags r:id="rId105"/>
            </p:custDataLst>
          </p:nvPr>
        </p:nvSpPr>
        <p:spPr bwMode="auto">
          <a:xfrm>
            <a:off x="9592617" y="6378651"/>
            <a:ext cx="3305175"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249" name="Oval 137"/>
          <p:cNvSpPr>
            <a:spLocks noChangeArrowheads="1"/>
          </p:cNvSpPr>
          <p:nvPr>
            <p:custDataLst>
              <p:tags r:id="rId106"/>
            </p:custDataLst>
          </p:nvPr>
        </p:nvSpPr>
        <p:spPr bwMode="auto">
          <a:xfrm>
            <a:off x="7821226" y="807626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0" name="Oval 137"/>
          <p:cNvSpPr>
            <a:spLocks noChangeArrowheads="1"/>
          </p:cNvSpPr>
          <p:nvPr>
            <p:custDataLst>
              <p:tags r:id="rId107"/>
            </p:custDataLst>
          </p:nvPr>
        </p:nvSpPr>
        <p:spPr bwMode="auto">
          <a:xfrm>
            <a:off x="7821226" y="784916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1" name="Oval 137"/>
          <p:cNvSpPr>
            <a:spLocks noChangeArrowheads="1"/>
          </p:cNvSpPr>
          <p:nvPr>
            <p:custDataLst>
              <p:tags r:id="rId108"/>
            </p:custDataLst>
          </p:nvPr>
        </p:nvSpPr>
        <p:spPr bwMode="auto">
          <a:xfrm>
            <a:off x="7821226" y="763173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2" name="Oval 137"/>
          <p:cNvSpPr>
            <a:spLocks noChangeArrowheads="1"/>
          </p:cNvSpPr>
          <p:nvPr>
            <p:custDataLst>
              <p:tags r:id="rId109"/>
            </p:custDataLst>
          </p:nvPr>
        </p:nvSpPr>
        <p:spPr bwMode="auto">
          <a:xfrm>
            <a:off x="7821226" y="739497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3" name="Oval 137"/>
          <p:cNvSpPr>
            <a:spLocks noChangeArrowheads="1"/>
          </p:cNvSpPr>
          <p:nvPr>
            <p:custDataLst>
              <p:tags r:id="rId110"/>
            </p:custDataLst>
          </p:nvPr>
        </p:nvSpPr>
        <p:spPr bwMode="auto">
          <a:xfrm>
            <a:off x="7821226" y="830336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4" name="Oval 137"/>
          <p:cNvSpPr>
            <a:spLocks noChangeArrowheads="1"/>
          </p:cNvSpPr>
          <p:nvPr>
            <p:custDataLst>
              <p:tags r:id="rId111"/>
            </p:custDataLst>
          </p:nvPr>
        </p:nvSpPr>
        <p:spPr bwMode="auto">
          <a:xfrm>
            <a:off x="8049826" y="807626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5" name="Oval 137"/>
          <p:cNvSpPr>
            <a:spLocks noChangeArrowheads="1"/>
          </p:cNvSpPr>
          <p:nvPr>
            <p:custDataLst>
              <p:tags r:id="rId112"/>
            </p:custDataLst>
          </p:nvPr>
        </p:nvSpPr>
        <p:spPr bwMode="auto">
          <a:xfrm>
            <a:off x="8049826" y="784916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6" name="Oval 137"/>
          <p:cNvSpPr>
            <a:spLocks noChangeArrowheads="1"/>
          </p:cNvSpPr>
          <p:nvPr>
            <p:custDataLst>
              <p:tags r:id="rId113"/>
            </p:custDataLst>
          </p:nvPr>
        </p:nvSpPr>
        <p:spPr bwMode="auto">
          <a:xfrm>
            <a:off x="8049826" y="763173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7" name="Oval 137"/>
          <p:cNvSpPr>
            <a:spLocks noChangeArrowheads="1"/>
          </p:cNvSpPr>
          <p:nvPr>
            <p:custDataLst>
              <p:tags r:id="rId114"/>
            </p:custDataLst>
          </p:nvPr>
        </p:nvSpPr>
        <p:spPr bwMode="auto">
          <a:xfrm>
            <a:off x="8049826" y="739497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8" name="Oval 137"/>
          <p:cNvSpPr>
            <a:spLocks noChangeArrowheads="1"/>
          </p:cNvSpPr>
          <p:nvPr>
            <p:custDataLst>
              <p:tags r:id="rId115"/>
            </p:custDataLst>
          </p:nvPr>
        </p:nvSpPr>
        <p:spPr bwMode="auto">
          <a:xfrm>
            <a:off x="8049826" y="830336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59" name="Oval 137"/>
          <p:cNvSpPr>
            <a:spLocks noChangeArrowheads="1"/>
          </p:cNvSpPr>
          <p:nvPr>
            <p:custDataLst>
              <p:tags r:id="rId116"/>
            </p:custDataLst>
          </p:nvPr>
        </p:nvSpPr>
        <p:spPr bwMode="auto">
          <a:xfrm>
            <a:off x="8278426" y="807626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0" name="Oval 137"/>
          <p:cNvSpPr>
            <a:spLocks noChangeArrowheads="1"/>
          </p:cNvSpPr>
          <p:nvPr>
            <p:custDataLst>
              <p:tags r:id="rId117"/>
            </p:custDataLst>
          </p:nvPr>
        </p:nvSpPr>
        <p:spPr bwMode="auto">
          <a:xfrm>
            <a:off x="8278426" y="784916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1" name="Oval 137"/>
          <p:cNvSpPr>
            <a:spLocks noChangeArrowheads="1"/>
          </p:cNvSpPr>
          <p:nvPr>
            <p:custDataLst>
              <p:tags r:id="rId118"/>
            </p:custDataLst>
          </p:nvPr>
        </p:nvSpPr>
        <p:spPr bwMode="auto">
          <a:xfrm>
            <a:off x="8278426" y="763173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2" name="Oval 137"/>
          <p:cNvSpPr>
            <a:spLocks noChangeArrowheads="1"/>
          </p:cNvSpPr>
          <p:nvPr>
            <p:custDataLst>
              <p:tags r:id="rId119"/>
            </p:custDataLst>
          </p:nvPr>
        </p:nvSpPr>
        <p:spPr bwMode="auto">
          <a:xfrm>
            <a:off x="8278426" y="739497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3" name="Oval 137"/>
          <p:cNvSpPr>
            <a:spLocks noChangeArrowheads="1"/>
          </p:cNvSpPr>
          <p:nvPr>
            <p:custDataLst>
              <p:tags r:id="rId120"/>
            </p:custDataLst>
          </p:nvPr>
        </p:nvSpPr>
        <p:spPr bwMode="auto">
          <a:xfrm>
            <a:off x="8278426" y="830336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4" name="Oval 137"/>
          <p:cNvSpPr>
            <a:spLocks noChangeArrowheads="1"/>
          </p:cNvSpPr>
          <p:nvPr>
            <p:custDataLst>
              <p:tags r:id="rId121"/>
            </p:custDataLst>
          </p:nvPr>
        </p:nvSpPr>
        <p:spPr bwMode="auto">
          <a:xfrm>
            <a:off x="8507026" y="8076262"/>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5" name="Oval 137"/>
          <p:cNvSpPr>
            <a:spLocks noChangeArrowheads="1"/>
          </p:cNvSpPr>
          <p:nvPr>
            <p:custDataLst>
              <p:tags r:id="rId122"/>
            </p:custDataLst>
          </p:nvPr>
        </p:nvSpPr>
        <p:spPr bwMode="auto">
          <a:xfrm>
            <a:off x="8507026" y="7849165"/>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6" name="Oval 137"/>
          <p:cNvSpPr>
            <a:spLocks noChangeArrowheads="1"/>
          </p:cNvSpPr>
          <p:nvPr>
            <p:custDataLst>
              <p:tags r:id="rId123"/>
            </p:custDataLst>
          </p:nvPr>
        </p:nvSpPr>
        <p:spPr bwMode="auto">
          <a:xfrm>
            <a:off x="8507026" y="7631739"/>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7" name="Oval 137"/>
          <p:cNvSpPr>
            <a:spLocks noChangeArrowheads="1"/>
          </p:cNvSpPr>
          <p:nvPr>
            <p:custDataLst>
              <p:tags r:id="rId124"/>
            </p:custDataLst>
          </p:nvPr>
        </p:nvSpPr>
        <p:spPr bwMode="auto">
          <a:xfrm>
            <a:off x="8507026" y="739497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8" name="Oval 137"/>
          <p:cNvSpPr>
            <a:spLocks noChangeArrowheads="1"/>
          </p:cNvSpPr>
          <p:nvPr>
            <p:custDataLst>
              <p:tags r:id="rId125"/>
            </p:custDataLst>
          </p:nvPr>
        </p:nvSpPr>
        <p:spPr bwMode="auto">
          <a:xfrm>
            <a:off x="8507026" y="8303361"/>
            <a:ext cx="216695" cy="216693"/>
          </a:xfrm>
          <a:prstGeom prst="ellipse">
            <a:avLst/>
          </a:prstGeom>
          <a:solidFill>
            <a:srgbClr val="000066"/>
          </a:solidFill>
          <a:ln w="9525" algn="ctr">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69" name="Line 183"/>
          <p:cNvSpPr>
            <a:spLocks noChangeShapeType="1"/>
          </p:cNvSpPr>
          <p:nvPr>
            <p:custDataLst>
              <p:tags r:id="rId126"/>
            </p:custDataLst>
          </p:nvPr>
        </p:nvSpPr>
        <p:spPr bwMode="auto">
          <a:xfrm>
            <a:off x="9116367" y="7978851"/>
            <a:ext cx="3781425"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270" name="Line 183"/>
          <p:cNvSpPr>
            <a:spLocks noChangeShapeType="1"/>
          </p:cNvSpPr>
          <p:nvPr>
            <p:custDataLst>
              <p:tags r:id="rId127"/>
            </p:custDataLst>
          </p:nvPr>
        </p:nvSpPr>
        <p:spPr bwMode="auto">
          <a:xfrm flipV="1">
            <a:off x="5465912" y="6854901"/>
            <a:ext cx="7431881"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271" name="Oval 154"/>
          <p:cNvSpPr>
            <a:spLocks noChangeArrowheads="1"/>
          </p:cNvSpPr>
          <p:nvPr>
            <p:custDataLst>
              <p:tags r:id="rId128"/>
            </p:custDataLst>
          </p:nvPr>
        </p:nvSpPr>
        <p:spPr bwMode="auto">
          <a:xfrm>
            <a:off x="4904903" y="6574655"/>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72" name="Line 183"/>
          <p:cNvSpPr>
            <a:spLocks noChangeShapeType="1"/>
          </p:cNvSpPr>
          <p:nvPr>
            <p:custDataLst>
              <p:tags r:id="rId129"/>
            </p:custDataLst>
          </p:nvPr>
        </p:nvSpPr>
        <p:spPr bwMode="auto">
          <a:xfrm flipV="1">
            <a:off x="5465912" y="7331151"/>
            <a:ext cx="7431881"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273" name="Oval 154"/>
          <p:cNvSpPr>
            <a:spLocks noChangeArrowheads="1"/>
          </p:cNvSpPr>
          <p:nvPr>
            <p:custDataLst>
              <p:tags r:id="rId130"/>
            </p:custDataLst>
          </p:nvPr>
        </p:nvSpPr>
        <p:spPr bwMode="auto">
          <a:xfrm>
            <a:off x="4904903" y="7113375"/>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74" name="AutoShape 189"/>
          <p:cNvSpPr>
            <a:spLocks noChangeArrowheads="1"/>
          </p:cNvSpPr>
          <p:nvPr>
            <p:custDataLst>
              <p:tags r:id="rId131"/>
            </p:custDataLst>
          </p:nvPr>
        </p:nvSpPr>
        <p:spPr bwMode="auto">
          <a:xfrm>
            <a:off x="5558780" y="4964189"/>
            <a:ext cx="2045495" cy="2764631"/>
          </a:xfrm>
          <a:prstGeom prst="rightArrow">
            <a:avLst>
              <a:gd name="adj1" fmla="val 50000"/>
              <a:gd name="adj2" fmla="val 35528"/>
            </a:avLst>
          </a:prstGeom>
          <a:solidFill>
            <a:srgbClr val="DBF5F9"/>
          </a:solidFill>
          <a:ln>
            <a:noFill/>
          </a:ln>
        </p:spPr>
        <p:txBody>
          <a:bodyPr lIns="134988" tIns="70194" rIns="134988" bIns="70194" anchor="ctr"/>
          <a:lstStyle/>
          <a:p>
            <a:pPr algn="ctr" fontAlgn="auto">
              <a:spcBef>
                <a:spcPts val="0"/>
              </a:spcBef>
              <a:spcAft>
                <a:spcPts val="0"/>
              </a:spcAft>
              <a:defRPr/>
            </a:pPr>
            <a:r>
              <a:rPr lang="pt-BR" sz="2550" kern="0">
                <a:solidFill>
                  <a:sysClr val="windowText" lastClr="000000"/>
                </a:solidFill>
                <a:latin typeface="Calibri" panose="020F0502020204030204" pitchFamily="34" charset="0"/>
              </a:rPr>
              <a:t>Tomada de decisão</a:t>
            </a:r>
          </a:p>
        </p:txBody>
      </p:sp>
      <p:sp>
        <p:nvSpPr>
          <p:cNvPr id="275" name="Oval 154"/>
          <p:cNvSpPr>
            <a:spLocks noChangeArrowheads="1"/>
          </p:cNvSpPr>
          <p:nvPr>
            <p:custDataLst>
              <p:tags r:id="rId132"/>
            </p:custDataLst>
          </p:nvPr>
        </p:nvSpPr>
        <p:spPr bwMode="auto">
          <a:xfrm>
            <a:off x="8159225" y="5694627"/>
            <a:ext cx="433388" cy="433388"/>
          </a:xfrm>
          <a:prstGeom prst="ellipse">
            <a:avLst/>
          </a:prstGeom>
          <a:solidFill>
            <a:srgbClr val="00B0F0"/>
          </a:solidFill>
          <a:ln w="9525">
            <a:noFill/>
            <a:round/>
            <a:headEnd/>
            <a:tailEnd/>
          </a:ln>
          <a:effectLst/>
          <a:scene3d>
            <a:camera prst="orthographicFront">
              <a:rot lat="0" lon="0" rev="0"/>
            </a:camera>
            <a:lightRig rig="contrasting" dir="t">
              <a:rot lat="0" lon="0" rev="1500000"/>
            </a:lightRig>
          </a:scene3d>
          <a:sp3d prstMaterial="metal">
            <a:bevelT w="88900" h="88900"/>
          </a:sp3d>
        </p:spPr>
        <p:txBody>
          <a:bodyPr wrap="none" lIns="135000" tIns="70200" rIns="135000" bIns="70200" anchor="ctr"/>
          <a:lstStyle/>
          <a:p>
            <a:pPr>
              <a:defRPr/>
            </a:pPr>
            <a:endParaRPr lang="pt-BR" sz="2550">
              <a:latin typeface="Calibri" panose="020F0502020204030204" pitchFamily="34" charset="0"/>
            </a:endParaRPr>
          </a:p>
        </p:txBody>
      </p:sp>
      <p:sp>
        <p:nvSpPr>
          <p:cNvPr id="276" name="Line 183"/>
          <p:cNvSpPr>
            <a:spLocks noChangeShapeType="1"/>
          </p:cNvSpPr>
          <p:nvPr>
            <p:custDataLst>
              <p:tags r:id="rId133"/>
            </p:custDataLst>
          </p:nvPr>
        </p:nvSpPr>
        <p:spPr bwMode="auto">
          <a:xfrm>
            <a:off x="8706792" y="5904781"/>
            <a:ext cx="4191000" cy="0"/>
          </a:xfrm>
          <a:prstGeom prst="line">
            <a:avLst/>
          </a:prstGeom>
          <a:noFill/>
          <a:ln w="38100" cap="flat" cmpd="sng" algn="ctr">
            <a:solidFill>
              <a:srgbClr val="10CF9B"/>
            </a:solidFill>
            <a:prstDash val="solid"/>
            <a:headEnd type="none" w="med" len="med"/>
            <a:tailEnd type="arrow" w="med" len="med"/>
          </a:ln>
          <a:effectLst>
            <a:outerShdw blurRad="57150" dist="38100" dir="5400000" algn="ctr" rotWithShape="0">
              <a:srgbClr val="10CF9B">
                <a:shade val="9000"/>
                <a:satMod val="105000"/>
                <a:alpha val="48000"/>
              </a:srgbClr>
            </a:outerShdw>
          </a:effectLst>
        </p:spPr>
        <p:txBody>
          <a:bodyPr lIns="135000" tIns="70200" rIns="135000" bIns="70200"/>
          <a:lstStyle/>
          <a:p>
            <a:pPr fontAlgn="auto">
              <a:spcBef>
                <a:spcPts val="0"/>
              </a:spcBef>
              <a:spcAft>
                <a:spcPts val="0"/>
              </a:spcAft>
              <a:defRPr/>
            </a:pPr>
            <a:endParaRPr lang="pt-BR" sz="2550" kern="0">
              <a:solidFill>
                <a:sysClr val="windowText" lastClr="000000"/>
              </a:solidFill>
              <a:latin typeface="Calibri" panose="020F0502020204030204" pitchFamily="34" charset="0"/>
              <a:cs typeface="+mn-cs"/>
            </a:endParaRPr>
          </a:p>
        </p:txBody>
      </p:sp>
      <p:sp>
        <p:nvSpPr>
          <p:cNvPr id="108909" name="Retângulo 276"/>
          <p:cNvSpPr>
            <a:spLocks noChangeArrowheads="1"/>
          </p:cNvSpPr>
          <p:nvPr/>
        </p:nvSpPr>
        <p:spPr bwMode="auto">
          <a:xfrm>
            <a:off x="376238" y="1147763"/>
            <a:ext cx="12637295" cy="10156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0"/>
              </a:spcBef>
              <a:buFontTx/>
              <a:buNone/>
            </a:pPr>
            <a:r>
              <a:rPr lang="en-US" altLang="pt-BR" sz="3000">
                <a:solidFill>
                  <a:schemeClr val="tx1"/>
                </a:solidFill>
                <a:latin typeface="Calibri" panose="020F0502020204030204" pitchFamily="34" charset="0"/>
              </a:rPr>
              <a:t>Selecionar projetos significa escolher dentre os projetos candidatos, quais de fato serão realizados no próximo ciclo de execução (próximo ano fiscal).</a:t>
            </a:r>
          </a:p>
        </p:txBody>
      </p:sp>
      <p:sp>
        <p:nvSpPr>
          <p:cNvPr id="148" name="Texto explicativo retangular 2"/>
          <p:cNvSpPr>
            <a:spLocks noChangeArrowheads="1"/>
          </p:cNvSpPr>
          <p:nvPr>
            <p:custDataLst>
              <p:tags r:id="rId134"/>
            </p:custDataLst>
          </p:nvPr>
        </p:nvSpPr>
        <p:spPr bwMode="auto">
          <a:xfrm>
            <a:off x="2744142" y="2547219"/>
            <a:ext cx="4533900" cy="1326357"/>
          </a:xfrm>
          <a:prstGeom prst="wedgeRectCallout">
            <a:avLst>
              <a:gd name="adj1" fmla="val -29287"/>
              <a:gd name="adj2" fmla="val 84122"/>
            </a:avLst>
          </a:prstGeom>
          <a:solidFill>
            <a:srgbClr val="D6D6F5"/>
          </a:solidFill>
          <a:ln>
            <a:noFill/>
          </a:ln>
        </p:spPr>
        <p:txBody>
          <a:bodyPr lIns="130343" tIns="65172" rIns="130343" bIns="65172" anchor="ctr"/>
          <a:lstStyle/>
          <a:p>
            <a:pPr algn="ctr" defTabSz="652463" fontAlgn="auto">
              <a:spcBef>
                <a:spcPts val="0"/>
              </a:spcBef>
              <a:spcAft>
                <a:spcPts val="0"/>
              </a:spcAft>
              <a:defRPr/>
            </a:pPr>
            <a:r>
              <a:rPr lang="pt-BR" sz="1950" kern="0" dirty="0">
                <a:latin typeface="Calibri" panose="020F0502020204030204" pitchFamily="34" charset="0"/>
              </a:rPr>
              <a:t>São objetos de priorização os projetos que estarão potencialmente maduros para serem executados no ano</a:t>
            </a:r>
          </a:p>
        </p:txBody>
      </p:sp>
      <p:sp>
        <p:nvSpPr>
          <p:cNvPr id="108911" name="Text Box 3"/>
          <p:cNvSpPr txBox="1">
            <a:spLocks noChangeArrowheads="1"/>
          </p:cNvSpPr>
          <p:nvPr/>
        </p:nvSpPr>
        <p:spPr bwMode="auto">
          <a:xfrm>
            <a:off x="1" y="173833"/>
            <a:ext cx="945594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eaLnBrk="1" hangingPunct="1">
              <a:spcBef>
                <a:spcPct val="50000"/>
              </a:spcBef>
              <a:buFontTx/>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Selecionando os Projetos do Portfólio</a:t>
            </a:r>
          </a:p>
        </p:txBody>
      </p:sp>
    </p:spTree>
    <p:extLst>
      <p:ext uri="{BB962C8B-B14F-4D97-AF65-F5344CB8AC3E}">
        <p14:creationId xmlns:p14="http://schemas.microsoft.com/office/powerpoint/2010/main" val="2867808868"/>
      </p:ext>
    </p:extLst>
  </p:cSld>
  <p:clrMapOvr>
    <a:masterClrMapping/>
  </p:clrMapOvr>
  <p:transition>
    <p:strips dir="rd"/>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tângulo 48"/>
          <p:cNvSpPr/>
          <p:nvPr/>
        </p:nvSpPr>
        <p:spPr bwMode="auto">
          <a:xfrm>
            <a:off x="5317332" y="7253288"/>
            <a:ext cx="1807368" cy="94535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a:lstStyle/>
          <a:p>
            <a:pPr>
              <a:defRPr/>
            </a:pPr>
            <a:endParaRPr lang="pt-BR" sz="1500">
              <a:latin typeface="Helvetica" charset="0"/>
            </a:endParaRPr>
          </a:p>
        </p:txBody>
      </p:sp>
      <p:sp>
        <p:nvSpPr>
          <p:cNvPr id="48" name="Retângulo 47"/>
          <p:cNvSpPr/>
          <p:nvPr/>
        </p:nvSpPr>
        <p:spPr bwMode="auto">
          <a:xfrm>
            <a:off x="5855495" y="5769770"/>
            <a:ext cx="1269206" cy="945356"/>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a:lstStyle/>
          <a:p>
            <a:pPr>
              <a:defRPr/>
            </a:pPr>
            <a:endParaRPr lang="pt-BR" sz="1500">
              <a:latin typeface="Helvetica" charset="0"/>
            </a:endParaRPr>
          </a:p>
        </p:txBody>
      </p:sp>
      <p:sp>
        <p:nvSpPr>
          <p:cNvPr id="2" name="Retângulo 1"/>
          <p:cNvSpPr/>
          <p:nvPr/>
        </p:nvSpPr>
        <p:spPr bwMode="auto">
          <a:xfrm>
            <a:off x="5834063" y="4217195"/>
            <a:ext cx="1269207" cy="9429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a:lstStyle/>
          <a:p>
            <a:pPr>
              <a:defRPr/>
            </a:pPr>
            <a:endParaRPr lang="pt-BR" sz="1500">
              <a:latin typeface="Helvetica" charset="0"/>
            </a:endParaRPr>
          </a:p>
        </p:txBody>
      </p:sp>
      <p:sp>
        <p:nvSpPr>
          <p:cNvPr id="109573" name="Text Box 3"/>
          <p:cNvSpPr txBox="1">
            <a:spLocks noChangeArrowheads="1"/>
          </p:cNvSpPr>
          <p:nvPr/>
        </p:nvSpPr>
        <p:spPr bwMode="auto">
          <a:xfrm>
            <a:off x="809626" y="585788"/>
            <a:ext cx="9322595" cy="896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807"/>
              </a:lnSpc>
              <a:spcBef>
                <a:spcPct val="0"/>
              </a:spcBef>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Selecionar os Projetos do Portfólio </a:t>
            </a:r>
          </a:p>
          <a:p>
            <a:pPr>
              <a:lnSpc>
                <a:spcPts val="3807"/>
              </a:lnSpc>
              <a:spcBef>
                <a:spcPct val="0"/>
              </a:spcBef>
              <a:buNone/>
            </a:pPr>
            <a:endParaRPr lang="pt-BR" altLang="pt-BR" sz="1500" dirty="0">
              <a:solidFill>
                <a:schemeClr val="tx1"/>
              </a:solidFill>
              <a:latin typeface="Arial" panose="020B0604020202020204" pitchFamily="34" charset="0"/>
            </a:endParaRPr>
          </a:p>
        </p:txBody>
      </p:sp>
      <p:sp>
        <p:nvSpPr>
          <p:cNvPr id="109574" name="Text Box 4"/>
          <p:cNvSpPr txBox="1">
            <a:spLocks noChangeArrowheads="1"/>
          </p:cNvSpPr>
          <p:nvPr/>
        </p:nvSpPr>
        <p:spPr bwMode="auto">
          <a:xfrm>
            <a:off x="7112795" y="3083720"/>
            <a:ext cx="178895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000000"/>
                </a:solidFill>
                <a:latin typeface="Arial" panose="020B0604020202020204" pitchFamily="34" charset="0"/>
              </a:rPr>
              <a:t>Projetos Candidatos </a:t>
            </a:r>
          </a:p>
          <a:p>
            <a:pPr>
              <a:lnSpc>
                <a:spcPts val="2363"/>
              </a:lnSpc>
              <a:spcBef>
                <a:spcPct val="0"/>
              </a:spcBef>
              <a:buNone/>
            </a:pPr>
            <a:endParaRPr lang="pt-BR" altLang="pt-BR" sz="1500">
              <a:solidFill>
                <a:srgbClr val="000000"/>
              </a:solidFill>
              <a:latin typeface="Arial" panose="020B0604020202020204" pitchFamily="34" charset="0"/>
            </a:endParaRPr>
          </a:p>
        </p:txBody>
      </p:sp>
      <p:sp>
        <p:nvSpPr>
          <p:cNvPr id="109575" name="Text Box 5"/>
          <p:cNvSpPr txBox="1">
            <a:spLocks noChangeArrowheads="1"/>
          </p:cNvSpPr>
          <p:nvPr/>
        </p:nvSpPr>
        <p:spPr bwMode="auto">
          <a:xfrm>
            <a:off x="6757988" y="3438525"/>
            <a:ext cx="2508700" cy="961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000000"/>
                </a:solidFill>
                <a:latin typeface="Arial" panose="020B0604020202020204" pitchFamily="34" charset="0"/>
              </a:rPr>
              <a:t>já Categorizados, Avaliados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e em Ordem  p/ </a:t>
            </a:r>
            <a:r>
              <a:rPr lang="pt-BR" altLang="pt-BR" sz="2100">
                <a:solidFill>
                  <a:srgbClr val="FF0000"/>
                </a:solidFill>
                <a:latin typeface="Arial" panose="020B0604020202020204" pitchFamily="34" charset="0"/>
              </a:rPr>
              <a:t>Seleção: </a:t>
            </a:r>
          </a:p>
          <a:p>
            <a:pPr>
              <a:lnSpc>
                <a:spcPts val="2494"/>
              </a:lnSpc>
              <a:spcBef>
                <a:spcPct val="0"/>
              </a:spcBef>
              <a:buNone/>
            </a:pPr>
            <a:endParaRPr lang="pt-BR" altLang="pt-BR" sz="1500">
              <a:solidFill>
                <a:srgbClr val="000000"/>
              </a:solidFill>
              <a:latin typeface="Arial" panose="020B0604020202020204" pitchFamily="34" charset="0"/>
            </a:endParaRPr>
          </a:p>
        </p:txBody>
      </p:sp>
      <p:sp>
        <p:nvSpPr>
          <p:cNvPr id="109576" name="Text Box 6"/>
          <p:cNvSpPr txBox="1">
            <a:spLocks noChangeArrowheads="1"/>
          </p:cNvSpPr>
          <p:nvPr/>
        </p:nvSpPr>
        <p:spPr bwMode="auto">
          <a:xfrm>
            <a:off x="7486651" y="4110038"/>
            <a:ext cx="137858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000000"/>
                </a:solidFill>
                <a:latin typeface="Arial" panose="020B0604020202020204" pitchFamily="34" charset="0"/>
              </a:rPr>
              <a:t>Projeto F - $ 50 </a:t>
            </a:r>
          </a:p>
          <a:p>
            <a:pPr>
              <a:lnSpc>
                <a:spcPts val="2363"/>
              </a:lnSpc>
              <a:spcBef>
                <a:spcPct val="0"/>
              </a:spcBef>
              <a:buNone/>
            </a:pPr>
            <a:endParaRPr lang="pt-BR" altLang="pt-BR" sz="1500">
              <a:solidFill>
                <a:srgbClr val="000000"/>
              </a:solidFill>
              <a:latin typeface="Arial" panose="020B0604020202020204" pitchFamily="34" charset="0"/>
            </a:endParaRPr>
          </a:p>
        </p:txBody>
      </p:sp>
      <p:sp>
        <p:nvSpPr>
          <p:cNvPr id="109577" name="Text Box 7"/>
          <p:cNvSpPr txBox="1">
            <a:spLocks noChangeArrowheads="1"/>
          </p:cNvSpPr>
          <p:nvPr/>
        </p:nvSpPr>
        <p:spPr bwMode="auto">
          <a:xfrm>
            <a:off x="5955508" y="4417220"/>
            <a:ext cx="8896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1838"/>
              </a:lnSpc>
              <a:spcBef>
                <a:spcPct val="0"/>
              </a:spcBef>
              <a:buNone/>
            </a:pPr>
            <a:r>
              <a:rPr lang="pt-BR" altLang="pt-BR" sz="1500">
                <a:solidFill>
                  <a:srgbClr val="666599"/>
                </a:solidFill>
                <a:latin typeface="Arial" panose="020B0604020202020204" pitchFamily="34" charset="0"/>
              </a:rPr>
              <a:t>Categoria </a:t>
            </a:r>
          </a:p>
          <a:p>
            <a:pPr>
              <a:lnSpc>
                <a:spcPts val="1838"/>
              </a:lnSpc>
              <a:spcBef>
                <a:spcPct val="0"/>
              </a:spcBef>
              <a:buNone/>
            </a:pPr>
            <a:endParaRPr lang="pt-BR" altLang="pt-BR" sz="1500">
              <a:solidFill>
                <a:srgbClr val="666599"/>
              </a:solidFill>
              <a:latin typeface="Arial" panose="020B0604020202020204" pitchFamily="34" charset="0"/>
            </a:endParaRPr>
          </a:p>
        </p:txBody>
      </p:sp>
      <p:sp>
        <p:nvSpPr>
          <p:cNvPr id="109578" name="Text Box 8"/>
          <p:cNvSpPr txBox="1">
            <a:spLocks noChangeArrowheads="1"/>
          </p:cNvSpPr>
          <p:nvPr/>
        </p:nvSpPr>
        <p:spPr bwMode="auto">
          <a:xfrm>
            <a:off x="5938838" y="4695826"/>
            <a:ext cx="91050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666599"/>
                </a:solidFill>
                <a:latin typeface="Arial" panose="020B0604020202020204" pitchFamily="34" charset="0"/>
              </a:rPr>
              <a:t>Expansão </a:t>
            </a:r>
          </a:p>
          <a:p>
            <a:pPr>
              <a:lnSpc>
                <a:spcPts val="2363"/>
              </a:lnSpc>
              <a:spcBef>
                <a:spcPct val="0"/>
              </a:spcBef>
              <a:buNone/>
            </a:pPr>
            <a:endParaRPr lang="pt-BR" altLang="pt-BR" sz="1500">
              <a:solidFill>
                <a:srgbClr val="666599"/>
              </a:solidFill>
              <a:latin typeface="Arial" panose="020B0604020202020204" pitchFamily="34" charset="0"/>
            </a:endParaRPr>
          </a:p>
        </p:txBody>
      </p:sp>
      <p:sp>
        <p:nvSpPr>
          <p:cNvPr id="109579" name="Text Box 9"/>
          <p:cNvSpPr txBox="1">
            <a:spLocks noChangeArrowheads="1"/>
          </p:cNvSpPr>
          <p:nvPr/>
        </p:nvSpPr>
        <p:spPr bwMode="auto">
          <a:xfrm>
            <a:off x="5957888" y="5910263"/>
            <a:ext cx="889667"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666599"/>
                </a:solidFill>
                <a:latin typeface="Arial" panose="020B0604020202020204" pitchFamily="34" charset="0"/>
              </a:rPr>
              <a:t>Categoria </a:t>
            </a:r>
          </a:p>
          <a:p>
            <a:pPr>
              <a:lnSpc>
                <a:spcPts val="2363"/>
              </a:lnSpc>
              <a:spcBef>
                <a:spcPct val="0"/>
              </a:spcBef>
              <a:buNone/>
            </a:pPr>
            <a:endParaRPr lang="pt-BR" altLang="pt-BR" sz="1500">
              <a:solidFill>
                <a:srgbClr val="666599"/>
              </a:solidFill>
              <a:latin typeface="Arial" panose="020B0604020202020204" pitchFamily="34" charset="0"/>
            </a:endParaRPr>
          </a:p>
        </p:txBody>
      </p:sp>
      <p:sp>
        <p:nvSpPr>
          <p:cNvPr id="109580" name="Text Box 10"/>
          <p:cNvSpPr txBox="1">
            <a:spLocks noChangeArrowheads="1"/>
          </p:cNvSpPr>
          <p:nvPr/>
        </p:nvSpPr>
        <p:spPr bwMode="auto">
          <a:xfrm>
            <a:off x="6005513" y="6274595"/>
            <a:ext cx="793487"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666599"/>
                </a:solidFill>
                <a:latin typeface="Arial" panose="020B0604020202020204" pitchFamily="34" charset="0"/>
              </a:rPr>
              <a:t>Melhoria </a:t>
            </a:r>
          </a:p>
          <a:p>
            <a:pPr>
              <a:lnSpc>
                <a:spcPts val="2363"/>
              </a:lnSpc>
              <a:spcBef>
                <a:spcPct val="0"/>
              </a:spcBef>
              <a:buNone/>
            </a:pPr>
            <a:endParaRPr lang="pt-BR" altLang="pt-BR" sz="1500">
              <a:solidFill>
                <a:srgbClr val="666599"/>
              </a:solidFill>
              <a:latin typeface="Arial" panose="020B0604020202020204" pitchFamily="34" charset="0"/>
            </a:endParaRPr>
          </a:p>
        </p:txBody>
      </p:sp>
      <p:sp>
        <p:nvSpPr>
          <p:cNvPr id="109581" name="Text Box 11"/>
          <p:cNvSpPr txBox="1">
            <a:spLocks noChangeArrowheads="1"/>
          </p:cNvSpPr>
          <p:nvPr/>
        </p:nvSpPr>
        <p:spPr bwMode="auto">
          <a:xfrm>
            <a:off x="5372101" y="7412832"/>
            <a:ext cx="1649491" cy="961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indent="88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666599"/>
                </a:solidFill>
                <a:latin typeface="Arial" panose="020B0604020202020204" pitchFamily="34" charset="0"/>
              </a:rPr>
              <a:t>Categoria </a:t>
            </a:r>
            <a:br>
              <a:rPr lang="pt-BR" altLang="pt-BR" sz="1500">
                <a:solidFill>
                  <a:srgbClr val="666599"/>
                </a:solidFill>
                <a:latin typeface="Arial" panose="020B0604020202020204" pitchFamily="34" charset="0"/>
              </a:rPr>
            </a:br>
            <a:r>
              <a:rPr lang="pt-BR" altLang="pt-BR" sz="1500">
                <a:solidFill>
                  <a:srgbClr val="666599"/>
                </a:solidFill>
                <a:latin typeface="Arial" panose="020B0604020202020204" pitchFamily="34" charset="0"/>
              </a:rPr>
              <a:t>Redução de Custo </a:t>
            </a:r>
          </a:p>
          <a:p>
            <a:pPr>
              <a:lnSpc>
                <a:spcPts val="2494"/>
              </a:lnSpc>
              <a:spcBef>
                <a:spcPct val="0"/>
              </a:spcBef>
              <a:buNone/>
            </a:pPr>
            <a:endParaRPr lang="pt-BR" altLang="pt-BR" sz="1500">
              <a:solidFill>
                <a:srgbClr val="666599"/>
              </a:solidFill>
              <a:latin typeface="Arial" panose="020B0604020202020204" pitchFamily="34" charset="0"/>
            </a:endParaRPr>
          </a:p>
        </p:txBody>
      </p:sp>
      <p:sp>
        <p:nvSpPr>
          <p:cNvPr id="109582" name="Text Box 12"/>
          <p:cNvSpPr txBox="1">
            <a:spLocks noChangeArrowheads="1"/>
          </p:cNvSpPr>
          <p:nvPr/>
        </p:nvSpPr>
        <p:spPr bwMode="auto">
          <a:xfrm>
            <a:off x="7472363" y="4419600"/>
            <a:ext cx="1389804" cy="961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000000"/>
                </a:solidFill>
                <a:latin typeface="Arial" panose="020B0604020202020204" pitchFamily="34" charset="0"/>
              </a:rPr>
              <a:t>Projeto B - $ 1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A - $ 50 </a:t>
            </a:r>
          </a:p>
          <a:p>
            <a:pPr>
              <a:lnSpc>
                <a:spcPts val="2494"/>
              </a:lnSpc>
              <a:spcBef>
                <a:spcPct val="0"/>
              </a:spcBef>
              <a:buNone/>
            </a:pPr>
            <a:endParaRPr lang="pt-BR" altLang="pt-BR" sz="1500">
              <a:solidFill>
                <a:srgbClr val="000000"/>
              </a:solidFill>
              <a:latin typeface="Arial" panose="020B0604020202020204" pitchFamily="34" charset="0"/>
            </a:endParaRPr>
          </a:p>
        </p:txBody>
      </p:sp>
      <p:sp>
        <p:nvSpPr>
          <p:cNvPr id="109583" name="Text Box 13"/>
          <p:cNvSpPr txBox="1">
            <a:spLocks noChangeArrowheads="1"/>
          </p:cNvSpPr>
          <p:nvPr/>
        </p:nvSpPr>
        <p:spPr bwMode="auto">
          <a:xfrm>
            <a:off x="7536657" y="5093495"/>
            <a:ext cx="1293624"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363"/>
              </a:lnSpc>
              <a:spcBef>
                <a:spcPct val="0"/>
              </a:spcBef>
              <a:buNone/>
            </a:pPr>
            <a:r>
              <a:rPr lang="pt-BR" altLang="pt-BR" sz="1500">
                <a:solidFill>
                  <a:srgbClr val="000000"/>
                </a:solidFill>
                <a:latin typeface="Arial" panose="020B0604020202020204" pitchFamily="34" charset="0"/>
              </a:rPr>
              <a:t>Projeto G $ 30 </a:t>
            </a:r>
          </a:p>
          <a:p>
            <a:pPr>
              <a:lnSpc>
                <a:spcPts val="2363"/>
              </a:lnSpc>
              <a:spcBef>
                <a:spcPct val="0"/>
              </a:spcBef>
              <a:buNone/>
            </a:pPr>
            <a:endParaRPr lang="pt-BR" altLang="pt-BR" sz="1500">
              <a:solidFill>
                <a:srgbClr val="000000"/>
              </a:solidFill>
              <a:latin typeface="Arial" panose="020B0604020202020204" pitchFamily="34" charset="0"/>
            </a:endParaRPr>
          </a:p>
        </p:txBody>
      </p:sp>
      <p:sp>
        <p:nvSpPr>
          <p:cNvPr id="109584" name="Text Box 14"/>
          <p:cNvSpPr txBox="1">
            <a:spLocks noChangeArrowheads="1"/>
          </p:cNvSpPr>
          <p:nvPr/>
        </p:nvSpPr>
        <p:spPr bwMode="auto">
          <a:xfrm>
            <a:off x="7469983" y="5545932"/>
            <a:ext cx="1401025" cy="192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000000"/>
                </a:solidFill>
                <a:latin typeface="Arial" panose="020B0604020202020204" pitchFamily="34" charset="0"/>
              </a:rPr>
              <a:t>Projeto K - $ 1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D - $ 1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C - $ 1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J - $ 3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E - $20 </a:t>
            </a:r>
          </a:p>
          <a:p>
            <a:pPr>
              <a:lnSpc>
                <a:spcPts val="2494"/>
              </a:lnSpc>
              <a:spcBef>
                <a:spcPct val="0"/>
              </a:spcBef>
              <a:buNone/>
            </a:pPr>
            <a:endParaRPr lang="pt-BR" altLang="pt-BR" sz="1500">
              <a:solidFill>
                <a:srgbClr val="000000"/>
              </a:solidFill>
              <a:latin typeface="Arial" panose="020B0604020202020204" pitchFamily="34" charset="0"/>
            </a:endParaRPr>
          </a:p>
        </p:txBody>
      </p:sp>
      <p:sp>
        <p:nvSpPr>
          <p:cNvPr id="109585" name="Text Box 15"/>
          <p:cNvSpPr txBox="1">
            <a:spLocks noChangeArrowheads="1"/>
          </p:cNvSpPr>
          <p:nvPr/>
        </p:nvSpPr>
        <p:spPr bwMode="auto">
          <a:xfrm>
            <a:off x="7469983" y="7196138"/>
            <a:ext cx="1401025" cy="961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000000"/>
                </a:solidFill>
                <a:latin typeface="Arial" panose="020B0604020202020204" pitchFamily="34" charset="0"/>
              </a:rPr>
              <a:t>Projeto N - $ 10 </a:t>
            </a:r>
            <a:br>
              <a:rPr lang="pt-BR" altLang="pt-BR" sz="1500">
                <a:solidFill>
                  <a:srgbClr val="000000"/>
                </a:solidFill>
                <a:latin typeface="Arial" panose="020B0604020202020204" pitchFamily="34" charset="0"/>
              </a:rPr>
            </a:br>
            <a:r>
              <a:rPr lang="pt-BR" altLang="pt-BR" sz="1500">
                <a:solidFill>
                  <a:srgbClr val="000000"/>
                </a:solidFill>
                <a:latin typeface="Arial" panose="020B0604020202020204" pitchFamily="34" charset="0"/>
              </a:rPr>
              <a:t>Projeto M - $ 5 </a:t>
            </a:r>
          </a:p>
          <a:p>
            <a:pPr>
              <a:lnSpc>
                <a:spcPts val="2494"/>
              </a:lnSpc>
              <a:spcBef>
                <a:spcPct val="0"/>
              </a:spcBef>
              <a:buNone/>
            </a:pPr>
            <a:endParaRPr lang="pt-BR" altLang="pt-BR" sz="1500">
              <a:solidFill>
                <a:srgbClr val="000000"/>
              </a:solidFill>
              <a:latin typeface="Arial" panose="020B0604020202020204" pitchFamily="34" charset="0"/>
            </a:endParaRPr>
          </a:p>
        </p:txBody>
      </p:sp>
      <p:sp>
        <p:nvSpPr>
          <p:cNvPr id="109586" name="Text Box 16"/>
          <p:cNvSpPr txBox="1">
            <a:spLocks noChangeArrowheads="1"/>
          </p:cNvSpPr>
          <p:nvPr/>
        </p:nvSpPr>
        <p:spPr bwMode="auto">
          <a:xfrm>
            <a:off x="7441407" y="7736682"/>
            <a:ext cx="1280094" cy="128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indent="254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dirty="0">
                <a:solidFill>
                  <a:srgbClr val="000000"/>
                </a:solidFill>
                <a:latin typeface="Arial" panose="020B0604020202020204" pitchFamily="34" charset="0"/>
              </a:rPr>
              <a:t>Projeto L - $ 5 </a:t>
            </a:r>
            <a:br>
              <a:rPr lang="pt-BR" altLang="pt-BR" sz="1500" dirty="0">
                <a:solidFill>
                  <a:srgbClr val="000000"/>
                </a:solidFill>
                <a:latin typeface="Arial" panose="020B0604020202020204" pitchFamily="34" charset="0"/>
              </a:rPr>
            </a:br>
            <a:r>
              <a:rPr lang="pt-BR" altLang="pt-BR" sz="1500" dirty="0">
                <a:solidFill>
                  <a:srgbClr val="000000"/>
                </a:solidFill>
                <a:latin typeface="Arial" panose="020B0604020202020204" pitchFamily="34" charset="0"/>
              </a:rPr>
              <a:t>Projeto H - $ 5</a:t>
            </a:r>
          </a:p>
          <a:p>
            <a:pPr>
              <a:lnSpc>
                <a:spcPts val="2494"/>
              </a:lnSpc>
              <a:spcBef>
                <a:spcPct val="0"/>
              </a:spcBef>
              <a:buNone/>
            </a:pPr>
            <a:r>
              <a:rPr lang="pt-BR" altLang="pt-BR" sz="1500" dirty="0">
                <a:solidFill>
                  <a:srgbClr val="000000"/>
                </a:solidFill>
                <a:latin typeface="Arial" panose="020B0604020202020204" pitchFamily="34" charset="0"/>
              </a:rPr>
              <a:t>Projeto I - $ 5 </a:t>
            </a:r>
          </a:p>
          <a:p>
            <a:pPr>
              <a:lnSpc>
                <a:spcPts val="2494"/>
              </a:lnSpc>
              <a:spcBef>
                <a:spcPct val="0"/>
              </a:spcBef>
              <a:buNone/>
            </a:pPr>
            <a:endParaRPr lang="pt-BR" altLang="pt-BR" sz="1500" dirty="0">
              <a:solidFill>
                <a:srgbClr val="000000"/>
              </a:solidFill>
              <a:latin typeface="Arial" panose="020B0604020202020204" pitchFamily="34" charset="0"/>
            </a:endParaRPr>
          </a:p>
        </p:txBody>
      </p:sp>
      <p:sp>
        <p:nvSpPr>
          <p:cNvPr id="109587" name="Text Box 18"/>
          <p:cNvSpPr txBox="1">
            <a:spLocks noChangeArrowheads="1"/>
          </p:cNvSpPr>
          <p:nvPr/>
        </p:nvSpPr>
        <p:spPr bwMode="auto">
          <a:xfrm>
            <a:off x="9570245" y="3843338"/>
            <a:ext cx="3400425" cy="564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232"/>
              </a:lnSpc>
              <a:spcBef>
                <a:spcPct val="0"/>
              </a:spcBef>
              <a:buNone/>
            </a:pPr>
            <a:r>
              <a:rPr lang="pt-BR" altLang="pt-BR" sz="1800" u="sng">
                <a:solidFill>
                  <a:srgbClr val="FF0000"/>
                </a:solidFill>
                <a:latin typeface="Arial" panose="020B0604020202020204" pitchFamily="34" charset="0"/>
              </a:rPr>
              <a:t>Orçamento Disponível: $100K</a:t>
            </a:r>
          </a:p>
          <a:p>
            <a:pPr>
              <a:lnSpc>
                <a:spcPts val="2232"/>
              </a:lnSpc>
              <a:spcBef>
                <a:spcPct val="0"/>
              </a:spcBef>
              <a:buNone/>
            </a:pPr>
            <a:endParaRPr lang="pt-BR" altLang="pt-BR" sz="1500">
              <a:solidFill>
                <a:srgbClr val="000000"/>
              </a:solidFill>
              <a:latin typeface="Arial" panose="020B0604020202020204" pitchFamily="34" charset="0"/>
            </a:endParaRPr>
          </a:p>
        </p:txBody>
      </p:sp>
      <p:sp>
        <p:nvSpPr>
          <p:cNvPr id="109588" name="Text Box 19"/>
          <p:cNvSpPr txBox="1">
            <a:spLocks noChangeArrowheads="1"/>
          </p:cNvSpPr>
          <p:nvPr/>
        </p:nvSpPr>
        <p:spPr bwMode="auto">
          <a:xfrm>
            <a:off x="9610725" y="4169570"/>
            <a:ext cx="2678907"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100"/>
              </a:lnSpc>
              <a:spcBef>
                <a:spcPct val="0"/>
              </a:spcBef>
              <a:buNone/>
            </a:pPr>
            <a:r>
              <a:rPr lang="pt-BR" altLang="pt-BR" sz="1800" u="sng">
                <a:solidFill>
                  <a:srgbClr val="FF0000"/>
                </a:solidFill>
                <a:latin typeface="Arial" panose="020B0604020202020204" pitchFamily="34" charset="0"/>
              </a:rPr>
              <a:t>Linhas de Corte: </a:t>
            </a:r>
          </a:p>
          <a:p>
            <a:pPr>
              <a:lnSpc>
                <a:spcPts val="2100"/>
              </a:lnSpc>
              <a:spcBef>
                <a:spcPct val="0"/>
              </a:spcBef>
              <a:buNone/>
            </a:pPr>
            <a:endParaRPr lang="pt-BR" altLang="pt-BR" sz="1500">
              <a:solidFill>
                <a:srgbClr val="000000"/>
              </a:solidFill>
              <a:latin typeface="Arial" panose="020B0604020202020204" pitchFamily="34" charset="0"/>
            </a:endParaRPr>
          </a:p>
        </p:txBody>
      </p:sp>
      <p:sp>
        <p:nvSpPr>
          <p:cNvPr id="109589" name="Text Box 20"/>
          <p:cNvSpPr txBox="1">
            <a:spLocks noChangeArrowheads="1"/>
          </p:cNvSpPr>
          <p:nvPr/>
        </p:nvSpPr>
        <p:spPr bwMode="auto">
          <a:xfrm>
            <a:off x="9579770" y="4557713"/>
            <a:ext cx="3926681"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232"/>
              </a:lnSpc>
              <a:spcBef>
                <a:spcPct val="0"/>
              </a:spcBef>
              <a:buNone/>
            </a:pPr>
            <a:r>
              <a:rPr lang="pt-BR" altLang="pt-BR" sz="1800">
                <a:solidFill>
                  <a:srgbClr val="000000"/>
                </a:solidFill>
                <a:latin typeface="Arial" panose="020B0604020202020204" pitchFamily="34" charset="0"/>
              </a:rPr>
              <a:t>60% do Orçamento para </a:t>
            </a:r>
            <a:br>
              <a:rPr lang="pt-BR" altLang="pt-BR" sz="1800">
                <a:solidFill>
                  <a:srgbClr val="000000"/>
                </a:solidFill>
                <a:latin typeface="Arial" panose="020B0604020202020204" pitchFamily="34" charset="0"/>
              </a:rPr>
            </a:br>
            <a:r>
              <a:rPr lang="pt-BR" altLang="pt-BR" sz="1800">
                <a:solidFill>
                  <a:srgbClr val="000000"/>
                </a:solidFill>
                <a:latin typeface="Arial" panose="020B0604020202020204" pitchFamily="34" charset="0"/>
              </a:rPr>
              <a:t>Expansão </a:t>
            </a:r>
          </a:p>
          <a:p>
            <a:pPr>
              <a:lnSpc>
                <a:spcPts val="2232"/>
              </a:lnSpc>
              <a:spcBef>
                <a:spcPct val="0"/>
              </a:spcBef>
              <a:buNone/>
            </a:pPr>
            <a:endParaRPr lang="pt-BR" altLang="pt-BR" sz="1800">
              <a:solidFill>
                <a:srgbClr val="000000"/>
              </a:solidFill>
              <a:latin typeface="Arial" panose="020B0604020202020204" pitchFamily="34" charset="0"/>
            </a:endParaRPr>
          </a:p>
        </p:txBody>
      </p:sp>
      <p:sp>
        <p:nvSpPr>
          <p:cNvPr id="109590" name="Text Box 21"/>
          <p:cNvSpPr txBox="1">
            <a:spLocks noChangeArrowheads="1"/>
          </p:cNvSpPr>
          <p:nvPr/>
        </p:nvSpPr>
        <p:spPr bwMode="auto">
          <a:xfrm>
            <a:off x="9627395" y="5841207"/>
            <a:ext cx="3871913"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232"/>
              </a:lnSpc>
              <a:spcBef>
                <a:spcPct val="0"/>
              </a:spcBef>
              <a:buNone/>
            </a:pPr>
            <a:r>
              <a:rPr lang="pt-BR" altLang="pt-BR" sz="1800">
                <a:solidFill>
                  <a:srgbClr val="000000"/>
                </a:solidFill>
                <a:latin typeface="Arial" panose="020B0604020202020204" pitchFamily="34" charset="0"/>
              </a:rPr>
              <a:t>20% do Orçamento para </a:t>
            </a:r>
            <a:br>
              <a:rPr lang="pt-BR" altLang="pt-BR" sz="1800">
                <a:solidFill>
                  <a:srgbClr val="000000"/>
                </a:solidFill>
                <a:latin typeface="Arial" panose="020B0604020202020204" pitchFamily="34" charset="0"/>
              </a:rPr>
            </a:br>
            <a:r>
              <a:rPr lang="pt-BR" altLang="pt-BR" sz="1800">
                <a:solidFill>
                  <a:srgbClr val="000000"/>
                </a:solidFill>
                <a:latin typeface="Arial" panose="020B0604020202020204" pitchFamily="34" charset="0"/>
              </a:rPr>
              <a:t>Melhoria </a:t>
            </a:r>
          </a:p>
          <a:p>
            <a:pPr>
              <a:lnSpc>
                <a:spcPts val="2232"/>
              </a:lnSpc>
              <a:spcBef>
                <a:spcPct val="0"/>
              </a:spcBef>
              <a:buNone/>
            </a:pPr>
            <a:endParaRPr lang="pt-BR" altLang="pt-BR" sz="1500">
              <a:solidFill>
                <a:srgbClr val="000000"/>
              </a:solidFill>
              <a:latin typeface="Arial" panose="020B0604020202020204" pitchFamily="34" charset="0"/>
            </a:endParaRPr>
          </a:p>
        </p:txBody>
      </p:sp>
      <p:sp>
        <p:nvSpPr>
          <p:cNvPr id="109591" name="Text Box 22"/>
          <p:cNvSpPr txBox="1">
            <a:spLocks noChangeArrowheads="1"/>
          </p:cNvSpPr>
          <p:nvPr/>
        </p:nvSpPr>
        <p:spPr bwMode="auto">
          <a:xfrm>
            <a:off x="9586913" y="7303295"/>
            <a:ext cx="386953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100"/>
              </a:lnSpc>
              <a:spcBef>
                <a:spcPct val="0"/>
              </a:spcBef>
              <a:buNone/>
            </a:pPr>
            <a:r>
              <a:rPr lang="pt-BR" altLang="pt-BR" sz="1800">
                <a:solidFill>
                  <a:srgbClr val="000000"/>
                </a:solidFill>
                <a:latin typeface="Arial" panose="020B0604020202020204" pitchFamily="34" charset="0"/>
              </a:rPr>
              <a:t>20% do Orçamento para </a:t>
            </a:r>
            <a:br>
              <a:rPr lang="pt-BR" altLang="pt-BR" sz="1800">
                <a:solidFill>
                  <a:srgbClr val="000000"/>
                </a:solidFill>
                <a:latin typeface="Arial" panose="020B0604020202020204" pitchFamily="34" charset="0"/>
              </a:rPr>
            </a:br>
            <a:r>
              <a:rPr lang="pt-BR" altLang="pt-BR" sz="1800">
                <a:solidFill>
                  <a:srgbClr val="000000"/>
                </a:solidFill>
                <a:latin typeface="Arial" panose="020B0604020202020204" pitchFamily="34" charset="0"/>
              </a:rPr>
              <a:t>Redução de Custo</a:t>
            </a:r>
          </a:p>
          <a:p>
            <a:pPr>
              <a:lnSpc>
                <a:spcPts val="2100"/>
              </a:lnSpc>
              <a:spcBef>
                <a:spcPct val="0"/>
              </a:spcBef>
              <a:buNone/>
            </a:pPr>
            <a:endParaRPr lang="pt-BR" altLang="pt-BR" sz="1500">
              <a:solidFill>
                <a:srgbClr val="000000"/>
              </a:solidFill>
              <a:latin typeface="Arial" panose="020B0604020202020204" pitchFamily="34" charset="0"/>
            </a:endParaRPr>
          </a:p>
        </p:txBody>
      </p:sp>
      <p:sp>
        <p:nvSpPr>
          <p:cNvPr id="109592" name="Text Box 11"/>
          <p:cNvSpPr txBox="1">
            <a:spLocks noChangeArrowheads="1"/>
          </p:cNvSpPr>
          <p:nvPr/>
        </p:nvSpPr>
        <p:spPr bwMode="auto">
          <a:xfrm>
            <a:off x="954883" y="7346157"/>
            <a:ext cx="1649491" cy="96180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indent="889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494"/>
              </a:lnSpc>
              <a:spcBef>
                <a:spcPct val="0"/>
              </a:spcBef>
              <a:buNone/>
            </a:pPr>
            <a:r>
              <a:rPr lang="pt-BR" altLang="pt-BR" sz="1500">
                <a:solidFill>
                  <a:srgbClr val="666599"/>
                </a:solidFill>
                <a:latin typeface="Arial" panose="020B0604020202020204" pitchFamily="34" charset="0"/>
              </a:rPr>
              <a:t>Categoria </a:t>
            </a:r>
            <a:br>
              <a:rPr lang="pt-BR" altLang="pt-BR" sz="1500">
                <a:solidFill>
                  <a:srgbClr val="666599"/>
                </a:solidFill>
                <a:latin typeface="Arial" panose="020B0604020202020204" pitchFamily="34" charset="0"/>
              </a:rPr>
            </a:br>
            <a:r>
              <a:rPr lang="pt-BR" altLang="pt-BR" sz="1500">
                <a:solidFill>
                  <a:srgbClr val="666599"/>
                </a:solidFill>
                <a:latin typeface="Arial" panose="020B0604020202020204" pitchFamily="34" charset="0"/>
              </a:rPr>
              <a:t>Redução de Custo </a:t>
            </a:r>
          </a:p>
          <a:p>
            <a:pPr>
              <a:lnSpc>
                <a:spcPts val="2494"/>
              </a:lnSpc>
              <a:spcBef>
                <a:spcPct val="0"/>
              </a:spcBef>
              <a:buNone/>
            </a:pPr>
            <a:endParaRPr lang="pt-BR" altLang="pt-BR" sz="1500">
              <a:solidFill>
                <a:srgbClr val="666599"/>
              </a:solidFill>
              <a:latin typeface="Arial" panose="020B0604020202020204" pitchFamily="34" charset="0"/>
            </a:endParaRPr>
          </a:p>
        </p:txBody>
      </p:sp>
      <p:sp>
        <p:nvSpPr>
          <p:cNvPr id="60" name="Retângulo 59"/>
          <p:cNvSpPr/>
          <p:nvPr/>
        </p:nvSpPr>
        <p:spPr bwMode="auto">
          <a:xfrm>
            <a:off x="954882" y="1924050"/>
            <a:ext cx="11772900" cy="1133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pt-BR"/>
          </a:p>
        </p:txBody>
      </p:sp>
      <p:sp>
        <p:nvSpPr>
          <p:cNvPr id="109594" name="Picture 25" descr="http://t2.gstatic.com/images?q=tbn:ANd9GcRINC-VtLuM0MRHanU78wyyUNnoWRO5obIJtKPC1WBXjN41gd8s"/>
          <p:cNvSpPr>
            <a:spLocks noChangeAspect="1" noChangeArrowheads="1"/>
          </p:cNvSpPr>
          <p:nvPr/>
        </p:nvSpPr>
        <p:spPr bwMode="auto">
          <a:xfrm>
            <a:off x="10660858" y="7960520"/>
            <a:ext cx="2726531" cy="204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sp>
        <p:nvSpPr>
          <p:cNvPr id="109595" name="Text Box 20"/>
          <p:cNvSpPr txBox="1">
            <a:spLocks noChangeArrowheads="1"/>
          </p:cNvSpPr>
          <p:nvPr/>
        </p:nvSpPr>
        <p:spPr bwMode="auto">
          <a:xfrm>
            <a:off x="1307308" y="5160170"/>
            <a:ext cx="1259681" cy="10772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757"/>
              </a:lnSpc>
              <a:spcBef>
                <a:spcPct val="0"/>
              </a:spcBef>
              <a:buNone/>
            </a:pPr>
            <a:r>
              <a:rPr lang="pt-BR" altLang="pt-BR" sz="1800">
                <a:solidFill>
                  <a:srgbClr val="FF0000"/>
                </a:solidFill>
                <a:latin typeface="Arial" panose="020B0604020202020204" pitchFamily="34" charset="0"/>
              </a:rPr>
              <a:t>Categoria</a:t>
            </a:r>
          </a:p>
          <a:p>
            <a:pPr>
              <a:lnSpc>
                <a:spcPts val="2757"/>
              </a:lnSpc>
              <a:spcBef>
                <a:spcPct val="0"/>
              </a:spcBef>
              <a:buNone/>
            </a:pPr>
            <a:r>
              <a:rPr lang="pt-BR" altLang="pt-BR" sz="1800">
                <a:solidFill>
                  <a:srgbClr val="FF0000"/>
                </a:solidFill>
                <a:latin typeface="Arial" panose="020B0604020202020204" pitchFamily="34" charset="0"/>
              </a:rPr>
              <a:t>Expansão </a:t>
            </a:r>
          </a:p>
          <a:p>
            <a:pPr>
              <a:lnSpc>
                <a:spcPts val="2757"/>
              </a:lnSpc>
              <a:spcBef>
                <a:spcPct val="0"/>
              </a:spcBef>
              <a:buNone/>
            </a:pPr>
            <a:endParaRPr lang="pt-BR" altLang="pt-BR" sz="2100">
              <a:solidFill>
                <a:srgbClr val="666599"/>
              </a:solidFill>
              <a:latin typeface="Arial" panose="020B0604020202020204" pitchFamily="34" charset="0"/>
            </a:endParaRPr>
          </a:p>
        </p:txBody>
      </p:sp>
      <p:sp>
        <p:nvSpPr>
          <p:cNvPr id="109596" name="Text Box 22"/>
          <p:cNvSpPr txBox="1">
            <a:spLocks noChangeArrowheads="1"/>
          </p:cNvSpPr>
          <p:nvPr/>
        </p:nvSpPr>
        <p:spPr bwMode="auto">
          <a:xfrm>
            <a:off x="1362076" y="6307932"/>
            <a:ext cx="1150145" cy="71814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757"/>
              </a:lnSpc>
              <a:spcBef>
                <a:spcPct val="0"/>
              </a:spcBef>
              <a:buNone/>
            </a:pPr>
            <a:r>
              <a:rPr lang="pt-BR" altLang="pt-BR" sz="1800">
                <a:solidFill>
                  <a:srgbClr val="FF0000"/>
                </a:solidFill>
                <a:latin typeface="Arial" panose="020B0604020202020204" pitchFamily="34" charset="0"/>
              </a:rPr>
              <a:t>Categoria </a:t>
            </a:r>
          </a:p>
          <a:p>
            <a:pPr>
              <a:lnSpc>
                <a:spcPts val="2757"/>
              </a:lnSpc>
              <a:spcBef>
                <a:spcPct val="0"/>
              </a:spcBef>
              <a:buNone/>
            </a:pPr>
            <a:endParaRPr lang="pt-BR" altLang="pt-BR" sz="1800">
              <a:solidFill>
                <a:srgbClr val="FF0000"/>
              </a:solidFill>
              <a:latin typeface="Arial" panose="020B0604020202020204" pitchFamily="34" charset="0"/>
            </a:endParaRPr>
          </a:p>
        </p:txBody>
      </p:sp>
      <p:sp>
        <p:nvSpPr>
          <p:cNvPr id="109597" name="Text Box 23"/>
          <p:cNvSpPr txBox="1">
            <a:spLocks noChangeArrowheads="1"/>
          </p:cNvSpPr>
          <p:nvPr/>
        </p:nvSpPr>
        <p:spPr bwMode="auto">
          <a:xfrm>
            <a:off x="1385888" y="6838951"/>
            <a:ext cx="948978" cy="71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757"/>
              </a:lnSpc>
              <a:spcBef>
                <a:spcPct val="0"/>
              </a:spcBef>
              <a:buNone/>
            </a:pPr>
            <a:r>
              <a:rPr lang="pt-BR" altLang="pt-BR" sz="1800">
                <a:solidFill>
                  <a:srgbClr val="FF0000"/>
                </a:solidFill>
                <a:latin typeface="Arial" panose="020B0604020202020204" pitchFamily="34" charset="0"/>
              </a:rPr>
              <a:t>Melhoria</a:t>
            </a:r>
            <a:r>
              <a:rPr lang="pt-BR" altLang="pt-BR" sz="1800">
                <a:solidFill>
                  <a:srgbClr val="666599"/>
                </a:solidFill>
                <a:latin typeface="Arial" panose="020B0604020202020204" pitchFamily="34" charset="0"/>
              </a:rPr>
              <a:t> </a:t>
            </a:r>
          </a:p>
          <a:p>
            <a:pPr>
              <a:lnSpc>
                <a:spcPts val="2757"/>
              </a:lnSpc>
              <a:spcBef>
                <a:spcPct val="0"/>
              </a:spcBef>
              <a:buNone/>
            </a:pPr>
            <a:endParaRPr lang="pt-BR" altLang="pt-BR" sz="1800">
              <a:solidFill>
                <a:srgbClr val="666599"/>
              </a:solidFill>
              <a:latin typeface="Arial" panose="020B0604020202020204" pitchFamily="34" charset="0"/>
            </a:endParaRPr>
          </a:p>
        </p:txBody>
      </p:sp>
      <p:sp>
        <p:nvSpPr>
          <p:cNvPr id="109598" name="Text Box 24"/>
          <p:cNvSpPr txBox="1">
            <a:spLocks noChangeArrowheads="1"/>
          </p:cNvSpPr>
          <p:nvPr/>
        </p:nvSpPr>
        <p:spPr bwMode="auto">
          <a:xfrm>
            <a:off x="485776" y="7412833"/>
            <a:ext cx="2081213" cy="18594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indent="101600">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2888"/>
              </a:lnSpc>
              <a:spcBef>
                <a:spcPct val="0"/>
              </a:spcBef>
              <a:buNone/>
            </a:pPr>
            <a:r>
              <a:rPr lang="pt-BR" altLang="pt-BR" sz="2100">
                <a:solidFill>
                  <a:srgbClr val="666599"/>
                </a:solidFill>
                <a:latin typeface="Arial" panose="020B0604020202020204" pitchFamily="34" charset="0"/>
              </a:rPr>
              <a:t>     </a:t>
            </a:r>
          </a:p>
          <a:p>
            <a:pPr algn="ctr">
              <a:lnSpc>
                <a:spcPts val="2888"/>
              </a:lnSpc>
              <a:spcBef>
                <a:spcPct val="0"/>
              </a:spcBef>
              <a:buNone/>
            </a:pPr>
            <a:r>
              <a:rPr lang="pt-BR" altLang="pt-BR" sz="1800">
                <a:solidFill>
                  <a:srgbClr val="FF0000"/>
                </a:solidFill>
                <a:latin typeface="Arial" panose="020B0604020202020204" pitchFamily="34" charset="0"/>
              </a:rPr>
              <a:t>Categoria</a:t>
            </a:r>
          </a:p>
          <a:p>
            <a:pPr algn="ctr">
              <a:lnSpc>
                <a:spcPts val="2888"/>
              </a:lnSpc>
              <a:spcBef>
                <a:spcPct val="0"/>
              </a:spcBef>
              <a:buNone/>
            </a:pPr>
            <a:r>
              <a:rPr lang="pt-BR" altLang="pt-BR" sz="1800">
                <a:solidFill>
                  <a:srgbClr val="FF0000"/>
                </a:solidFill>
                <a:latin typeface="Arial" panose="020B0604020202020204" pitchFamily="34" charset="0"/>
              </a:rPr>
              <a:t>Redução de </a:t>
            </a:r>
          </a:p>
          <a:p>
            <a:pPr algn="ctr">
              <a:lnSpc>
                <a:spcPts val="2888"/>
              </a:lnSpc>
              <a:spcBef>
                <a:spcPct val="0"/>
              </a:spcBef>
              <a:buNone/>
            </a:pPr>
            <a:r>
              <a:rPr lang="pt-BR" altLang="pt-BR" sz="1800">
                <a:solidFill>
                  <a:srgbClr val="FF0000"/>
                </a:solidFill>
                <a:latin typeface="Arial" panose="020B0604020202020204" pitchFamily="34" charset="0"/>
              </a:rPr>
              <a:t>Custo</a:t>
            </a:r>
          </a:p>
          <a:p>
            <a:pPr>
              <a:lnSpc>
                <a:spcPts val="2888"/>
              </a:lnSpc>
              <a:spcBef>
                <a:spcPct val="0"/>
              </a:spcBef>
              <a:buNone/>
            </a:pPr>
            <a:endParaRPr lang="pt-BR" altLang="pt-BR" sz="2100">
              <a:solidFill>
                <a:srgbClr val="666599"/>
              </a:solidFill>
              <a:latin typeface="Arial" panose="020B0604020202020204" pitchFamily="34" charset="0"/>
            </a:endParaRPr>
          </a:p>
        </p:txBody>
      </p:sp>
      <p:pic>
        <p:nvPicPr>
          <p:cNvPr id="66" name="Picture 2" descr="F:\01.Bibliotecas\1.1 Banco de Imagens\MC_Projetos.jpg"/>
          <p:cNvPicPr>
            <a:picLocks noChangeAspect="1" noChangeArrowheads="1"/>
          </p:cNvPicPr>
          <p:nvPr/>
        </p:nvPicPr>
        <p:blipFill>
          <a:blip r:embed="rId4" cstate="print"/>
          <a:srcRect/>
          <a:stretch>
            <a:fillRect/>
          </a:stretch>
        </p:blipFill>
        <p:spPr bwMode="auto">
          <a:xfrm>
            <a:off x="809328" y="2011153"/>
            <a:ext cx="2631060" cy="23522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9600" name="Retângulo 12"/>
          <p:cNvSpPr>
            <a:spLocks noChangeArrowheads="1"/>
          </p:cNvSpPr>
          <p:nvPr/>
        </p:nvSpPr>
        <p:spPr bwMode="auto">
          <a:xfrm>
            <a:off x="2436020" y="5076825"/>
            <a:ext cx="1871663" cy="367665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nvGrpSpPr>
          <p:cNvPr id="109601" name="Grupo 4"/>
          <p:cNvGrpSpPr>
            <a:grpSpLocks/>
          </p:cNvGrpSpPr>
          <p:nvPr/>
        </p:nvGrpSpPr>
        <p:grpSpPr bwMode="auto">
          <a:xfrm>
            <a:off x="2433638" y="5055396"/>
            <a:ext cx="1748866" cy="1081088"/>
            <a:chOff x="1671639" y="3063108"/>
            <a:chExt cx="1166802" cy="720775"/>
          </a:xfrm>
        </p:grpSpPr>
        <p:sp>
          <p:nvSpPr>
            <p:cNvPr id="109615" name="CaixaDeTexto 2"/>
            <p:cNvSpPr txBox="1">
              <a:spLocks noChangeArrowheads="1"/>
            </p:cNvSpPr>
            <p:nvPr/>
          </p:nvSpPr>
          <p:spPr bwMode="auto">
            <a:xfrm>
              <a:off x="1844675" y="3063108"/>
              <a:ext cx="993766" cy="677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500">
                  <a:solidFill>
                    <a:schemeClr val="tx1"/>
                  </a:solidFill>
                  <a:latin typeface="Helvetica" panose="020B0500000000000000" pitchFamily="34" charset="0"/>
                </a:rPr>
                <a:t>Projeto A - $50</a:t>
              </a:r>
            </a:p>
            <a:p>
              <a:pPr>
                <a:spcBef>
                  <a:spcPct val="0"/>
                </a:spcBef>
                <a:buFontTx/>
                <a:buNone/>
              </a:pPr>
              <a:r>
                <a:rPr lang="pt-BR" altLang="pt-BR" sz="1500">
                  <a:solidFill>
                    <a:schemeClr val="tx1"/>
                  </a:solidFill>
                  <a:latin typeface="Helvetica" panose="020B0500000000000000" pitchFamily="34" charset="0"/>
                </a:rPr>
                <a:t>Projeto B - $10</a:t>
              </a:r>
            </a:p>
            <a:p>
              <a:pPr>
                <a:spcBef>
                  <a:spcPct val="0"/>
                </a:spcBef>
                <a:buFontTx/>
                <a:buNone/>
              </a:pPr>
              <a:r>
                <a:rPr lang="pt-BR" altLang="pt-BR" sz="1500">
                  <a:solidFill>
                    <a:schemeClr val="tx1"/>
                  </a:solidFill>
                  <a:latin typeface="Helvetica" panose="020B0500000000000000" pitchFamily="34" charset="0"/>
                </a:rPr>
                <a:t>Projeto F - $50</a:t>
              </a:r>
            </a:p>
            <a:p>
              <a:pPr>
                <a:spcBef>
                  <a:spcPct val="0"/>
                </a:spcBef>
                <a:buFontTx/>
                <a:buNone/>
              </a:pPr>
              <a:r>
                <a:rPr lang="pt-BR" altLang="pt-BR" sz="1500">
                  <a:solidFill>
                    <a:schemeClr val="tx1"/>
                  </a:solidFill>
                  <a:latin typeface="Helvetica" panose="020B0500000000000000" pitchFamily="34" charset="0"/>
                </a:rPr>
                <a:t>Projeto G - $30</a:t>
              </a:r>
            </a:p>
          </p:txBody>
        </p:sp>
        <p:sp>
          <p:nvSpPr>
            <p:cNvPr id="109616" name="Chave esquerda 3"/>
            <p:cNvSpPr>
              <a:spLocks/>
            </p:cNvSpPr>
            <p:nvPr/>
          </p:nvSpPr>
          <p:spPr bwMode="auto">
            <a:xfrm>
              <a:off x="1671639" y="3063108"/>
              <a:ext cx="146748" cy="720775"/>
            </a:xfrm>
            <a:prstGeom prst="leftBrace">
              <a:avLst>
                <a:gd name="adj1" fmla="val 8323"/>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109602" name="Grupo 7"/>
          <p:cNvGrpSpPr>
            <a:grpSpLocks/>
          </p:cNvGrpSpPr>
          <p:nvPr/>
        </p:nvGrpSpPr>
        <p:grpSpPr bwMode="auto">
          <a:xfrm>
            <a:off x="2388395" y="6188873"/>
            <a:ext cx="2869406" cy="1428751"/>
            <a:chOff x="3620613" y="5364126"/>
            <a:chExt cx="1912360" cy="952357"/>
          </a:xfrm>
        </p:grpSpPr>
        <p:sp>
          <p:nvSpPr>
            <p:cNvPr id="109613" name="CaixaDeTexto 33"/>
            <p:cNvSpPr txBox="1">
              <a:spLocks noChangeArrowheads="1"/>
            </p:cNvSpPr>
            <p:nvPr/>
          </p:nvSpPr>
          <p:spPr bwMode="auto">
            <a:xfrm>
              <a:off x="3788827" y="5373216"/>
              <a:ext cx="1744146" cy="83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500">
                  <a:solidFill>
                    <a:schemeClr val="tx1"/>
                  </a:solidFill>
                  <a:latin typeface="Helvetica" panose="020B0500000000000000" pitchFamily="34" charset="0"/>
                </a:rPr>
                <a:t>Projeto C  -$10</a:t>
              </a:r>
            </a:p>
            <a:p>
              <a:pPr>
                <a:spcBef>
                  <a:spcPct val="0"/>
                </a:spcBef>
                <a:buFontTx/>
                <a:buNone/>
              </a:pPr>
              <a:r>
                <a:rPr lang="pt-BR" altLang="pt-BR" sz="1500">
                  <a:solidFill>
                    <a:schemeClr val="tx1"/>
                  </a:solidFill>
                  <a:latin typeface="Helvetica" panose="020B0500000000000000" pitchFamily="34" charset="0"/>
                </a:rPr>
                <a:t>Projeto D - $10</a:t>
              </a:r>
            </a:p>
            <a:p>
              <a:pPr>
                <a:spcBef>
                  <a:spcPct val="0"/>
                </a:spcBef>
                <a:buFontTx/>
                <a:buNone/>
              </a:pPr>
              <a:r>
                <a:rPr lang="pt-BR" altLang="pt-BR" sz="1500">
                  <a:solidFill>
                    <a:schemeClr val="tx1"/>
                  </a:solidFill>
                  <a:latin typeface="Helvetica" panose="020B0500000000000000" pitchFamily="34" charset="0"/>
                </a:rPr>
                <a:t>Projeto E - $20</a:t>
              </a:r>
            </a:p>
            <a:p>
              <a:pPr>
                <a:spcBef>
                  <a:spcPct val="0"/>
                </a:spcBef>
                <a:buFontTx/>
                <a:buNone/>
              </a:pPr>
              <a:r>
                <a:rPr lang="pt-BR" altLang="pt-BR" sz="1500">
                  <a:solidFill>
                    <a:schemeClr val="tx1"/>
                  </a:solidFill>
                  <a:latin typeface="Helvetica" panose="020B0500000000000000" pitchFamily="34" charset="0"/>
                </a:rPr>
                <a:t>Projeto J - $30</a:t>
              </a:r>
            </a:p>
            <a:p>
              <a:pPr>
                <a:spcBef>
                  <a:spcPct val="0"/>
                </a:spcBef>
                <a:buFontTx/>
                <a:buNone/>
              </a:pPr>
              <a:r>
                <a:rPr lang="pt-BR" altLang="pt-BR" sz="1500">
                  <a:solidFill>
                    <a:schemeClr val="tx1"/>
                  </a:solidFill>
                  <a:latin typeface="Helvetica" panose="020B0500000000000000" pitchFamily="34" charset="0"/>
                </a:rPr>
                <a:t>Projeto K -$10</a:t>
              </a:r>
            </a:p>
          </p:txBody>
        </p:sp>
        <p:sp>
          <p:nvSpPr>
            <p:cNvPr id="109614" name="Chave esquerda 34"/>
            <p:cNvSpPr>
              <a:spLocks/>
            </p:cNvSpPr>
            <p:nvPr/>
          </p:nvSpPr>
          <p:spPr bwMode="auto">
            <a:xfrm>
              <a:off x="3620613" y="5364126"/>
              <a:ext cx="245569" cy="952357"/>
            </a:xfrm>
            <a:prstGeom prst="leftBrace">
              <a:avLst>
                <a:gd name="adj1" fmla="val 8331"/>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grpSp>
        <p:nvGrpSpPr>
          <p:cNvPr id="109603" name="Grupo 11"/>
          <p:cNvGrpSpPr>
            <a:grpSpLocks/>
          </p:cNvGrpSpPr>
          <p:nvPr/>
        </p:nvGrpSpPr>
        <p:grpSpPr bwMode="auto">
          <a:xfrm>
            <a:off x="2457452" y="7689054"/>
            <a:ext cx="1554728" cy="1279031"/>
            <a:chOff x="1844676" y="5686425"/>
            <a:chExt cx="1036449" cy="852452"/>
          </a:xfrm>
        </p:grpSpPr>
        <p:sp>
          <p:nvSpPr>
            <p:cNvPr id="109611" name="CaixaDeTexto 9"/>
            <p:cNvSpPr txBox="1">
              <a:spLocks noChangeArrowheads="1"/>
            </p:cNvSpPr>
            <p:nvPr/>
          </p:nvSpPr>
          <p:spPr bwMode="auto">
            <a:xfrm>
              <a:off x="1894565" y="5686425"/>
              <a:ext cx="986560" cy="83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500">
                  <a:solidFill>
                    <a:schemeClr val="tx1"/>
                  </a:solidFill>
                  <a:latin typeface="Helvetica" panose="020B0500000000000000" pitchFamily="34" charset="0"/>
                </a:rPr>
                <a:t>Projeto H - $5</a:t>
              </a:r>
            </a:p>
            <a:p>
              <a:pPr>
                <a:spcBef>
                  <a:spcPct val="0"/>
                </a:spcBef>
                <a:buFontTx/>
                <a:buNone/>
              </a:pPr>
              <a:r>
                <a:rPr lang="pt-BR" altLang="pt-BR" sz="1500">
                  <a:solidFill>
                    <a:schemeClr val="tx1"/>
                  </a:solidFill>
                  <a:latin typeface="Helvetica" panose="020B0500000000000000" pitchFamily="34" charset="0"/>
                </a:rPr>
                <a:t>Projeto I - $5</a:t>
              </a:r>
            </a:p>
            <a:p>
              <a:pPr>
                <a:spcBef>
                  <a:spcPct val="0"/>
                </a:spcBef>
                <a:buFontTx/>
                <a:buNone/>
              </a:pPr>
              <a:r>
                <a:rPr lang="pt-BR" altLang="pt-BR" sz="1500">
                  <a:solidFill>
                    <a:schemeClr val="tx1"/>
                  </a:solidFill>
                  <a:latin typeface="Helvetica" panose="020B0500000000000000" pitchFamily="34" charset="0"/>
                </a:rPr>
                <a:t>Projeto L -$5</a:t>
              </a:r>
            </a:p>
            <a:p>
              <a:pPr>
                <a:spcBef>
                  <a:spcPct val="0"/>
                </a:spcBef>
                <a:buFontTx/>
                <a:buNone/>
              </a:pPr>
              <a:r>
                <a:rPr lang="pt-BR" altLang="pt-BR" sz="1500">
                  <a:solidFill>
                    <a:schemeClr val="tx1"/>
                  </a:solidFill>
                  <a:latin typeface="Helvetica" panose="020B0500000000000000" pitchFamily="34" charset="0"/>
                </a:rPr>
                <a:t>Projeto M - $5</a:t>
              </a:r>
            </a:p>
            <a:p>
              <a:pPr>
                <a:spcBef>
                  <a:spcPct val="0"/>
                </a:spcBef>
                <a:buFontTx/>
                <a:buNone/>
              </a:pPr>
              <a:r>
                <a:rPr lang="pt-BR" altLang="pt-BR" sz="1500">
                  <a:solidFill>
                    <a:schemeClr val="tx1"/>
                  </a:solidFill>
                  <a:latin typeface="Helvetica" panose="020B0500000000000000" pitchFamily="34" charset="0"/>
                </a:rPr>
                <a:t>Projeto N - $10</a:t>
              </a:r>
            </a:p>
          </p:txBody>
        </p:sp>
        <p:sp>
          <p:nvSpPr>
            <p:cNvPr id="109612" name="Chave esquerda 10"/>
            <p:cNvSpPr>
              <a:spLocks/>
            </p:cNvSpPr>
            <p:nvPr/>
          </p:nvSpPr>
          <p:spPr bwMode="auto">
            <a:xfrm>
              <a:off x="1844676" y="5686425"/>
              <a:ext cx="99778" cy="852452"/>
            </a:xfrm>
            <a:prstGeom prst="leftBrace">
              <a:avLst>
                <a:gd name="adj1" fmla="val 8346"/>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sp>
        <p:nvSpPr>
          <p:cNvPr id="42" name="Content Placeholder 2"/>
          <p:cNvSpPr txBox="1">
            <a:spLocks/>
          </p:cNvSpPr>
          <p:nvPr/>
        </p:nvSpPr>
        <p:spPr bwMode="auto">
          <a:xfrm>
            <a:off x="3614418" y="1741753"/>
            <a:ext cx="9420225" cy="726282"/>
          </a:xfrm>
          <a:prstGeom prst="rect">
            <a:avLst/>
          </a:prstGeom>
          <a:noFill/>
          <a:ln>
            <a:noFill/>
          </a:ln>
        </p:spPr>
        <p:txBody>
          <a:bodyPr lIns="120143" tIns="60072" rIns="120143" bIns="60072"/>
          <a:lstStyle>
            <a:lvl1pPr marL="342900" indent="-342900" algn="l" rtl="0" eaLnBrk="0" fontAlgn="base" hangingPunct="0">
              <a:spcBef>
                <a:spcPct val="20000"/>
              </a:spcBef>
              <a:spcAft>
                <a:spcPct val="0"/>
              </a:spcAft>
              <a:buChar char="•"/>
              <a:defRPr sz="3200">
                <a:solidFill>
                  <a:srgbClr val="404040"/>
                </a:solidFill>
                <a:latin typeface="+mn-lt"/>
                <a:ea typeface="+mn-ea"/>
                <a:cs typeface="+mn-cs"/>
              </a:defRPr>
            </a:lvl1pPr>
            <a:lvl2pPr marL="742950" indent="-285750" algn="l" rtl="0" eaLnBrk="0" fontAlgn="base" hangingPunct="0">
              <a:spcBef>
                <a:spcPct val="20000"/>
              </a:spcBef>
              <a:spcAft>
                <a:spcPct val="0"/>
              </a:spcAft>
              <a:buChar char="–"/>
              <a:defRPr sz="2800">
                <a:solidFill>
                  <a:srgbClr val="404040"/>
                </a:solidFill>
                <a:latin typeface="+mn-lt"/>
              </a:defRPr>
            </a:lvl2pPr>
            <a:lvl3pPr marL="1143000" indent="-228600" algn="l" rtl="0" eaLnBrk="0" fontAlgn="base" hangingPunct="0">
              <a:spcBef>
                <a:spcPct val="20000"/>
              </a:spcBef>
              <a:spcAft>
                <a:spcPct val="0"/>
              </a:spcAft>
              <a:buChar char="•"/>
              <a:defRPr sz="2400">
                <a:solidFill>
                  <a:srgbClr val="404040"/>
                </a:solidFill>
                <a:latin typeface="+mn-lt"/>
              </a:defRPr>
            </a:lvl3pPr>
            <a:lvl4pPr marL="1600200" indent="-228600" algn="l" rtl="0" eaLnBrk="0" fontAlgn="base" hangingPunct="0">
              <a:spcBef>
                <a:spcPct val="20000"/>
              </a:spcBef>
              <a:spcAft>
                <a:spcPct val="0"/>
              </a:spcAft>
              <a:buChar char="–"/>
              <a:defRPr sz="2000">
                <a:solidFill>
                  <a:srgbClr val="404040"/>
                </a:solidFill>
                <a:latin typeface="+mn-lt"/>
              </a:defRPr>
            </a:lvl4pPr>
            <a:lvl5pPr marL="2057400" indent="-228600" algn="l" rtl="0" eaLnBrk="0" fontAlgn="base" hangingPunct="0">
              <a:spcBef>
                <a:spcPct val="20000"/>
              </a:spcBef>
              <a:spcAft>
                <a:spcPct val="0"/>
              </a:spcAft>
              <a:buChar char="»"/>
              <a:defRPr sz="2000">
                <a:solidFill>
                  <a:srgbClr val="404040"/>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algn="just" eaLnBrk="1" hangingPunct="1">
              <a:buClr>
                <a:srgbClr val="FF0000"/>
              </a:buClr>
              <a:buFont typeface="Wingdings" panose="05000000000000000000" pitchFamily="2" charset="2"/>
              <a:buChar char="ü"/>
              <a:defRPr/>
            </a:pPr>
            <a:r>
              <a:rPr lang="pt-BR" altLang="pt-BR" sz="2400" kern="0" dirty="0">
                <a:latin typeface="Calibri" panose="020F0502020204030204" pitchFamily="34" charset="0"/>
                <a:ea typeface="MS PGothic" panose="020B0600070205080204" pitchFamily="34" charset="-128"/>
              </a:rPr>
              <a:t>Encontrar o conjunto de iniciativas que entrega a maior valor aos objetivos estratégicos, dada as </a:t>
            </a:r>
            <a:r>
              <a:rPr lang="pt-BR" altLang="pt-BR" sz="2400" kern="0" dirty="0">
                <a:solidFill>
                  <a:srgbClr val="FF0000"/>
                </a:solidFill>
                <a:latin typeface="Calibri" panose="020F0502020204030204" pitchFamily="34" charset="0"/>
                <a:ea typeface="MS PGothic" panose="020B0600070205080204" pitchFamily="34" charset="-128"/>
              </a:rPr>
              <a:t>limitações de recursos (humanos e financeiros).</a:t>
            </a:r>
          </a:p>
        </p:txBody>
      </p:sp>
      <p:cxnSp>
        <p:nvCxnSpPr>
          <p:cNvPr id="109605" name="Conector de seta reta 2"/>
          <p:cNvCxnSpPr>
            <a:cxnSpLocks noChangeShapeType="1"/>
          </p:cNvCxnSpPr>
          <p:nvPr/>
        </p:nvCxnSpPr>
        <p:spPr bwMode="auto">
          <a:xfrm>
            <a:off x="9013033" y="8296275"/>
            <a:ext cx="1119188" cy="0"/>
          </a:xfrm>
          <a:prstGeom prst="straightConnector1">
            <a:avLst/>
          </a:prstGeom>
          <a:noFill/>
          <a:ln w="254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9606" name="CaixaDeTexto 3"/>
          <p:cNvSpPr txBox="1">
            <a:spLocks noChangeArrowheads="1"/>
          </p:cNvSpPr>
          <p:nvPr/>
        </p:nvSpPr>
        <p:spPr bwMode="auto">
          <a:xfrm>
            <a:off x="10046495" y="8020051"/>
            <a:ext cx="22199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400">
                <a:solidFill>
                  <a:srgbClr val="FF0000"/>
                </a:solidFill>
                <a:latin typeface="Calibri" panose="020F0502020204030204" pitchFamily="34" charset="0"/>
              </a:rPr>
              <a:t>Pendente (Wait)</a:t>
            </a:r>
          </a:p>
        </p:txBody>
      </p:sp>
      <p:cxnSp>
        <p:nvCxnSpPr>
          <p:cNvPr id="109607" name="Conector reto 5"/>
          <p:cNvCxnSpPr>
            <a:cxnSpLocks noChangeShapeType="1"/>
          </p:cNvCxnSpPr>
          <p:nvPr/>
        </p:nvCxnSpPr>
        <p:spPr bwMode="auto">
          <a:xfrm>
            <a:off x="7441407" y="4750595"/>
            <a:ext cx="157162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09608" name="Conector reto 47"/>
          <p:cNvCxnSpPr>
            <a:cxnSpLocks noChangeShapeType="1"/>
          </p:cNvCxnSpPr>
          <p:nvPr/>
        </p:nvCxnSpPr>
        <p:spPr bwMode="auto">
          <a:xfrm>
            <a:off x="7339013" y="6224588"/>
            <a:ext cx="157162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09609" name="Conector reto 48"/>
          <p:cNvCxnSpPr>
            <a:cxnSpLocks noChangeShapeType="1"/>
          </p:cNvCxnSpPr>
          <p:nvPr/>
        </p:nvCxnSpPr>
        <p:spPr bwMode="auto">
          <a:xfrm>
            <a:off x="7441407" y="8065295"/>
            <a:ext cx="157162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109610" name="Imagem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664828" y="8505232"/>
            <a:ext cx="1092993" cy="122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780094573"/>
      </p:ext>
    </p:extLst>
  </p:cSld>
  <p:clrMapOvr>
    <a:masterClrMapping/>
  </p:clrMapOvr>
  <p:transition spd="slow">
    <p:strips dir="rd"/>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tângulo 2"/>
          <p:cNvSpPr>
            <a:spLocks noChangeArrowheads="1"/>
          </p:cNvSpPr>
          <p:nvPr/>
        </p:nvSpPr>
        <p:spPr bwMode="auto">
          <a:xfrm>
            <a:off x="921545" y="233363"/>
            <a:ext cx="82125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Priorizando os Projetos do Portfólio </a:t>
            </a:r>
          </a:p>
        </p:txBody>
      </p:sp>
      <p:grpSp>
        <p:nvGrpSpPr>
          <p:cNvPr id="111619" name="Grupo 3"/>
          <p:cNvGrpSpPr>
            <a:grpSpLocks/>
          </p:cNvGrpSpPr>
          <p:nvPr/>
        </p:nvGrpSpPr>
        <p:grpSpPr bwMode="auto">
          <a:xfrm>
            <a:off x="-486816" y="679004"/>
            <a:ext cx="13416374" cy="8609931"/>
            <a:chOff x="-14388" y="617538"/>
            <a:chExt cx="9333285" cy="5739954"/>
          </a:xfrm>
        </p:grpSpPr>
        <p:grpSp>
          <p:nvGrpSpPr>
            <p:cNvPr id="111620" name="Grupo 2"/>
            <p:cNvGrpSpPr>
              <a:grpSpLocks/>
            </p:cNvGrpSpPr>
            <p:nvPr/>
          </p:nvGrpSpPr>
          <p:grpSpPr bwMode="auto">
            <a:xfrm>
              <a:off x="-14388" y="617538"/>
              <a:ext cx="9333285" cy="5739954"/>
              <a:chOff x="503238" y="165100"/>
              <a:chExt cx="7974966" cy="6324186"/>
            </a:xfrm>
          </p:grpSpPr>
          <p:sp>
            <p:nvSpPr>
              <p:cNvPr id="111624" name="Text Box 3"/>
              <p:cNvSpPr txBox="1">
                <a:spLocks noChangeArrowheads="1"/>
              </p:cNvSpPr>
              <p:nvPr/>
            </p:nvSpPr>
            <p:spPr bwMode="auto">
              <a:xfrm>
                <a:off x="503238" y="165100"/>
                <a:ext cx="7686734" cy="715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lnSpc>
                    <a:spcPts val="3807"/>
                  </a:lnSpc>
                  <a:spcBef>
                    <a:spcPct val="0"/>
                  </a:spcBef>
                  <a:buNone/>
                </a:pPr>
                <a:r>
                  <a:rPr lang="pt-BR" altLang="pt-BR" sz="3600">
                    <a:solidFill>
                      <a:srgbClr val="FFFFFF"/>
                    </a:solidFill>
                    <a:latin typeface="Arial" panose="020B0604020202020204" pitchFamily="34" charset="0"/>
                  </a:rPr>
                  <a:t> </a:t>
                </a:r>
              </a:p>
              <a:p>
                <a:pPr>
                  <a:lnSpc>
                    <a:spcPts val="3807"/>
                  </a:lnSpc>
                  <a:spcBef>
                    <a:spcPct val="0"/>
                  </a:spcBef>
                  <a:buNone/>
                </a:pPr>
                <a:endParaRPr lang="pt-BR" altLang="pt-BR" sz="3150">
                  <a:solidFill>
                    <a:srgbClr val="FFFEFF"/>
                  </a:solidFill>
                  <a:latin typeface="Arial" panose="020B0604020202020204" pitchFamily="34" charset="0"/>
                </a:endParaRPr>
              </a:p>
            </p:txBody>
          </p:sp>
          <p:sp>
            <p:nvSpPr>
              <p:cNvPr id="18" name="Text Box 4"/>
              <p:cNvSpPr txBox="1">
                <a:spLocks noChangeArrowheads="1"/>
              </p:cNvSpPr>
              <p:nvPr/>
            </p:nvSpPr>
            <p:spPr bwMode="auto">
              <a:xfrm>
                <a:off x="1542241" y="2501872"/>
                <a:ext cx="1219898" cy="706465"/>
              </a:xfrm>
              <a:prstGeom prst="rect">
                <a:avLst/>
              </a:prstGeom>
              <a:noFill/>
              <a:ln>
                <a:noFill/>
              </a:ln>
            </p:spPr>
            <p:txBody>
              <a:bodyPr wrap="none" lIns="0" tIns="0" rIns="0" bIns="0">
                <a:spAutoFit/>
              </a:bodyPr>
              <a:lstStyle>
                <a:lvl1pPr>
                  <a:tabLst>
                    <a:tab pos="292100" algn="l"/>
                  </a:tabLst>
                  <a:defRPr i="1">
                    <a:solidFill>
                      <a:schemeClr val="bg2"/>
                    </a:solidFill>
                    <a:latin typeface="Arial" charset="0"/>
                  </a:defRPr>
                </a:lvl1pPr>
                <a:lvl2pPr marL="742950" indent="-285750">
                  <a:tabLst>
                    <a:tab pos="292100" algn="l"/>
                  </a:tabLst>
                  <a:defRPr i="1">
                    <a:solidFill>
                      <a:schemeClr val="bg2"/>
                    </a:solidFill>
                    <a:latin typeface="Arial" charset="0"/>
                  </a:defRPr>
                </a:lvl2pPr>
                <a:lvl3pPr marL="1143000" indent="-228600">
                  <a:tabLst>
                    <a:tab pos="292100" algn="l"/>
                  </a:tabLst>
                  <a:defRPr i="1">
                    <a:solidFill>
                      <a:schemeClr val="bg2"/>
                    </a:solidFill>
                    <a:latin typeface="Arial" charset="0"/>
                  </a:defRPr>
                </a:lvl3pPr>
                <a:lvl4pPr marL="1600200" indent="-228600">
                  <a:tabLst>
                    <a:tab pos="292100" algn="l"/>
                  </a:tabLst>
                  <a:defRPr i="1">
                    <a:solidFill>
                      <a:schemeClr val="bg2"/>
                    </a:solidFill>
                    <a:latin typeface="Arial" charset="0"/>
                  </a:defRPr>
                </a:lvl4pPr>
                <a:lvl5pPr marL="2057400" indent="-228600">
                  <a:tabLst>
                    <a:tab pos="292100" algn="l"/>
                  </a:tabLst>
                  <a:defRPr i="1">
                    <a:solidFill>
                      <a:schemeClr val="bg2"/>
                    </a:solidFill>
                    <a:latin typeface="Arial" charset="0"/>
                  </a:defRPr>
                </a:lvl5pPr>
                <a:lvl6pPr marL="2514600" indent="-228600" algn="ctr" eaLnBrk="0" fontAlgn="base" hangingPunct="0">
                  <a:spcBef>
                    <a:spcPct val="0"/>
                  </a:spcBef>
                  <a:spcAft>
                    <a:spcPct val="0"/>
                  </a:spcAft>
                  <a:tabLst>
                    <a:tab pos="292100" algn="l"/>
                  </a:tabLst>
                  <a:defRPr i="1">
                    <a:solidFill>
                      <a:schemeClr val="bg2"/>
                    </a:solidFill>
                    <a:latin typeface="Arial" charset="0"/>
                  </a:defRPr>
                </a:lvl6pPr>
                <a:lvl7pPr marL="2971800" indent="-228600" algn="ctr" eaLnBrk="0" fontAlgn="base" hangingPunct="0">
                  <a:spcBef>
                    <a:spcPct val="0"/>
                  </a:spcBef>
                  <a:spcAft>
                    <a:spcPct val="0"/>
                  </a:spcAft>
                  <a:tabLst>
                    <a:tab pos="292100" algn="l"/>
                  </a:tabLst>
                  <a:defRPr i="1">
                    <a:solidFill>
                      <a:schemeClr val="bg2"/>
                    </a:solidFill>
                    <a:latin typeface="Arial" charset="0"/>
                  </a:defRPr>
                </a:lvl7pPr>
                <a:lvl8pPr marL="3429000" indent="-228600" algn="ctr" eaLnBrk="0" fontAlgn="base" hangingPunct="0">
                  <a:spcBef>
                    <a:spcPct val="0"/>
                  </a:spcBef>
                  <a:spcAft>
                    <a:spcPct val="0"/>
                  </a:spcAft>
                  <a:tabLst>
                    <a:tab pos="292100" algn="l"/>
                  </a:tabLst>
                  <a:defRPr i="1">
                    <a:solidFill>
                      <a:schemeClr val="bg2"/>
                    </a:solidFill>
                    <a:latin typeface="Arial" charset="0"/>
                  </a:defRPr>
                </a:lvl8pPr>
                <a:lvl9pPr marL="3886200" indent="-228600" algn="ctr" eaLnBrk="0" fontAlgn="base" hangingPunct="0">
                  <a:spcBef>
                    <a:spcPct val="0"/>
                  </a:spcBef>
                  <a:spcAft>
                    <a:spcPct val="0"/>
                  </a:spcAft>
                  <a:tabLst>
                    <a:tab pos="292100" algn="l"/>
                  </a:tabLst>
                  <a:defRPr i="1">
                    <a:solidFill>
                      <a:schemeClr val="bg2"/>
                    </a:solidFill>
                    <a:latin typeface="Arial" charset="0"/>
                  </a:defRPr>
                </a:lvl9pPr>
              </a:lstStyle>
              <a:p>
                <a:pPr fontAlgn="auto">
                  <a:lnSpc>
                    <a:spcPts val="2494"/>
                  </a:lnSpc>
                  <a:spcBef>
                    <a:spcPts val="0"/>
                  </a:spcBef>
                  <a:spcAft>
                    <a:spcPts val="0"/>
                  </a:spcAft>
                  <a:defRPr/>
                </a:pPr>
                <a:r>
                  <a:rPr lang="pt-BR" i="0" kern="0">
                    <a:solidFill>
                      <a:srgbClr val="FF0000"/>
                    </a:solidFill>
                    <a:cs typeface="Arial"/>
                  </a:rPr>
                  <a:t>Portfólio de Projetos </a:t>
                </a:r>
                <a:br>
                  <a:rPr lang="pt-BR" i="0" kern="0">
                    <a:solidFill>
                      <a:srgbClr val="FF0000"/>
                    </a:solidFill>
                    <a:cs typeface="Arial"/>
                  </a:rPr>
                </a:br>
                <a:r>
                  <a:rPr lang="pt-BR" i="0" kern="0">
                    <a:solidFill>
                      <a:srgbClr val="FF0000"/>
                    </a:solidFill>
                    <a:cs typeface="Arial"/>
                  </a:rPr>
                  <a:t>	já selecionado </a:t>
                </a:r>
              </a:p>
              <a:p>
                <a:pPr fontAlgn="auto">
                  <a:lnSpc>
                    <a:spcPts val="2494"/>
                  </a:lnSpc>
                  <a:spcBef>
                    <a:spcPts val="0"/>
                  </a:spcBef>
                  <a:spcAft>
                    <a:spcPts val="0"/>
                  </a:spcAft>
                  <a:defRPr/>
                </a:pPr>
                <a:endParaRPr lang="pt-BR" i="0" kern="0">
                  <a:solidFill>
                    <a:srgbClr val="000000"/>
                  </a:solidFill>
                  <a:cs typeface="Arial"/>
                </a:endParaRPr>
              </a:p>
            </p:txBody>
          </p:sp>
          <p:sp>
            <p:nvSpPr>
              <p:cNvPr id="19" name="Text Box 5"/>
              <p:cNvSpPr txBox="1">
                <a:spLocks noChangeArrowheads="1"/>
              </p:cNvSpPr>
              <p:nvPr/>
            </p:nvSpPr>
            <p:spPr bwMode="auto">
              <a:xfrm>
                <a:off x="1779610" y="3170021"/>
                <a:ext cx="956926" cy="1412930"/>
              </a:xfrm>
              <a:prstGeom prst="rect">
                <a:avLst/>
              </a:prstGeom>
              <a:noFill/>
              <a:ln>
                <a:noFill/>
              </a:ln>
            </p:spPr>
            <p:txBody>
              <a:bodyPr wrap="none" lIns="0" tIns="0" rIns="0" bIns="0">
                <a:spAutoFit/>
              </a:bodyPr>
              <a:lstStyle>
                <a:lvl1pPr indent="11113">
                  <a:defRPr i="1">
                    <a:solidFill>
                      <a:schemeClr val="bg2"/>
                    </a:solidFill>
                    <a:latin typeface="Arial" charset="0"/>
                  </a:defRPr>
                </a:lvl1pPr>
                <a:lvl2pPr marL="742950" indent="-285750">
                  <a:defRPr i="1">
                    <a:solidFill>
                      <a:schemeClr val="bg2"/>
                    </a:solidFill>
                    <a:latin typeface="Arial" charset="0"/>
                  </a:defRPr>
                </a:lvl2pPr>
                <a:lvl3pPr marL="1143000" indent="-228600">
                  <a:defRPr i="1">
                    <a:solidFill>
                      <a:schemeClr val="bg2"/>
                    </a:solidFill>
                    <a:latin typeface="Arial" charset="0"/>
                  </a:defRPr>
                </a:lvl3pPr>
                <a:lvl4pPr marL="1600200" indent="-228600">
                  <a:defRPr i="1">
                    <a:solidFill>
                      <a:schemeClr val="bg2"/>
                    </a:solidFill>
                    <a:latin typeface="Arial" charset="0"/>
                  </a:defRPr>
                </a:lvl4pPr>
                <a:lvl5pPr marL="2057400" indent="-228600">
                  <a:defRPr i="1">
                    <a:solidFill>
                      <a:schemeClr val="bg2"/>
                    </a:solidFill>
                    <a:latin typeface="Arial" charset="0"/>
                  </a:defRPr>
                </a:lvl5pPr>
                <a:lvl6pPr marL="2514600" indent="-228600" algn="ctr" eaLnBrk="0" fontAlgn="base" hangingPunct="0">
                  <a:spcBef>
                    <a:spcPct val="0"/>
                  </a:spcBef>
                  <a:spcAft>
                    <a:spcPct val="0"/>
                  </a:spcAft>
                  <a:defRPr i="1">
                    <a:solidFill>
                      <a:schemeClr val="bg2"/>
                    </a:solidFill>
                    <a:latin typeface="Arial" charset="0"/>
                  </a:defRPr>
                </a:lvl6pPr>
                <a:lvl7pPr marL="2971800" indent="-228600" algn="ctr" eaLnBrk="0" fontAlgn="base" hangingPunct="0">
                  <a:spcBef>
                    <a:spcPct val="0"/>
                  </a:spcBef>
                  <a:spcAft>
                    <a:spcPct val="0"/>
                  </a:spcAft>
                  <a:defRPr i="1">
                    <a:solidFill>
                      <a:schemeClr val="bg2"/>
                    </a:solidFill>
                    <a:latin typeface="Arial" charset="0"/>
                  </a:defRPr>
                </a:lvl7pPr>
                <a:lvl8pPr marL="3429000" indent="-228600" algn="ctr" eaLnBrk="0" fontAlgn="base" hangingPunct="0">
                  <a:spcBef>
                    <a:spcPct val="0"/>
                  </a:spcBef>
                  <a:spcAft>
                    <a:spcPct val="0"/>
                  </a:spcAft>
                  <a:defRPr i="1">
                    <a:solidFill>
                      <a:schemeClr val="bg2"/>
                    </a:solidFill>
                    <a:latin typeface="Arial" charset="0"/>
                  </a:defRPr>
                </a:lvl8pPr>
                <a:lvl9pPr marL="3886200" indent="-228600" algn="ctr" eaLnBrk="0" fontAlgn="base" hangingPunct="0">
                  <a:spcBef>
                    <a:spcPct val="0"/>
                  </a:spcBef>
                  <a:spcAft>
                    <a:spcPct val="0"/>
                  </a:spcAft>
                  <a:defRPr i="1">
                    <a:solidFill>
                      <a:schemeClr val="bg2"/>
                    </a:solidFill>
                    <a:latin typeface="Arial" charset="0"/>
                  </a:defRPr>
                </a:lvl9pPr>
              </a:lstStyle>
              <a:p>
                <a:pPr fontAlgn="auto">
                  <a:lnSpc>
                    <a:spcPts val="2494"/>
                  </a:lnSpc>
                  <a:spcBef>
                    <a:spcPts val="0"/>
                  </a:spcBef>
                  <a:spcAft>
                    <a:spcPts val="0"/>
                  </a:spcAft>
                  <a:defRPr/>
                </a:pPr>
                <a:r>
                  <a:rPr lang="pt-BR" i="0" kern="0" dirty="0">
                    <a:solidFill>
                      <a:srgbClr val="000000"/>
                    </a:solidFill>
                    <a:cs typeface="Arial"/>
                  </a:rPr>
                  <a:t>Projeto F - $ 50 </a:t>
                </a:r>
                <a:br>
                  <a:rPr lang="pt-BR" i="0" kern="0" dirty="0">
                    <a:solidFill>
                      <a:srgbClr val="000000"/>
                    </a:solidFill>
                    <a:cs typeface="Arial"/>
                  </a:rPr>
                </a:br>
                <a:r>
                  <a:rPr lang="pt-BR" i="0" kern="0" dirty="0">
                    <a:solidFill>
                      <a:srgbClr val="000000"/>
                    </a:solidFill>
                    <a:cs typeface="Arial"/>
                  </a:rPr>
                  <a:t>Projeto B - $ 10 </a:t>
                </a:r>
                <a:br>
                  <a:rPr lang="pt-BR" i="0" kern="0" dirty="0">
                    <a:solidFill>
                      <a:srgbClr val="000000"/>
                    </a:solidFill>
                    <a:cs typeface="Arial"/>
                  </a:rPr>
                </a:br>
                <a:r>
                  <a:rPr lang="pt-BR" i="0" kern="0" dirty="0">
                    <a:solidFill>
                      <a:srgbClr val="000000"/>
                    </a:solidFill>
                    <a:cs typeface="Arial"/>
                  </a:rPr>
                  <a:t>Projeto K - $ 10 </a:t>
                </a:r>
                <a:br>
                  <a:rPr lang="pt-BR" i="0" kern="0" dirty="0">
                    <a:solidFill>
                      <a:srgbClr val="000000"/>
                    </a:solidFill>
                    <a:cs typeface="Arial"/>
                  </a:rPr>
                </a:br>
                <a:r>
                  <a:rPr lang="pt-BR" i="0" kern="0" dirty="0">
                    <a:solidFill>
                      <a:srgbClr val="000000"/>
                    </a:solidFill>
                    <a:cs typeface="Arial"/>
                  </a:rPr>
                  <a:t>Projeto D - $ 10 </a:t>
                </a:r>
                <a:br>
                  <a:rPr lang="pt-BR" i="0" kern="0" dirty="0">
                    <a:solidFill>
                      <a:srgbClr val="000000"/>
                    </a:solidFill>
                    <a:cs typeface="Arial"/>
                  </a:rPr>
                </a:br>
                <a:r>
                  <a:rPr lang="pt-BR" i="0" kern="0" dirty="0">
                    <a:solidFill>
                      <a:srgbClr val="000000"/>
                    </a:solidFill>
                    <a:cs typeface="Arial"/>
                  </a:rPr>
                  <a:t>Projeto N - $ 10 </a:t>
                </a:r>
              </a:p>
              <a:p>
                <a:pPr fontAlgn="auto">
                  <a:lnSpc>
                    <a:spcPts val="2494"/>
                  </a:lnSpc>
                  <a:spcBef>
                    <a:spcPts val="0"/>
                  </a:spcBef>
                  <a:spcAft>
                    <a:spcPts val="0"/>
                  </a:spcAft>
                  <a:defRPr/>
                </a:pPr>
                <a:endParaRPr lang="pt-BR" i="0" kern="0" dirty="0">
                  <a:solidFill>
                    <a:srgbClr val="000000"/>
                  </a:solidFill>
                  <a:cs typeface="Arial"/>
                </a:endParaRPr>
              </a:p>
            </p:txBody>
          </p:sp>
          <p:sp>
            <p:nvSpPr>
              <p:cNvPr id="20" name="Text Box 6"/>
              <p:cNvSpPr txBox="1">
                <a:spLocks noChangeArrowheads="1"/>
              </p:cNvSpPr>
              <p:nvPr/>
            </p:nvSpPr>
            <p:spPr bwMode="auto">
              <a:xfrm>
                <a:off x="1798600" y="4369891"/>
                <a:ext cx="898487" cy="706465"/>
              </a:xfrm>
              <a:prstGeom prst="rect">
                <a:avLst/>
              </a:prstGeom>
              <a:noFill/>
              <a:ln>
                <a:noFill/>
              </a:ln>
            </p:spPr>
            <p:txBody>
              <a:bodyPr wrap="none" lIns="0" tIns="0" rIns="0" bIns="0">
                <a:spAutoFit/>
              </a:bodyPr>
              <a:lstStyle>
                <a:lvl1pPr>
                  <a:defRPr i="1">
                    <a:solidFill>
                      <a:schemeClr val="bg2"/>
                    </a:solidFill>
                    <a:latin typeface="Arial" charset="0"/>
                  </a:defRPr>
                </a:lvl1pPr>
                <a:lvl2pPr marL="742950" indent="-285750">
                  <a:defRPr i="1">
                    <a:solidFill>
                      <a:schemeClr val="bg2"/>
                    </a:solidFill>
                    <a:latin typeface="Arial" charset="0"/>
                  </a:defRPr>
                </a:lvl2pPr>
                <a:lvl3pPr marL="1143000" indent="-228600">
                  <a:defRPr i="1">
                    <a:solidFill>
                      <a:schemeClr val="bg2"/>
                    </a:solidFill>
                    <a:latin typeface="Arial" charset="0"/>
                  </a:defRPr>
                </a:lvl3pPr>
                <a:lvl4pPr marL="1600200" indent="-228600">
                  <a:defRPr i="1">
                    <a:solidFill>
                      <a:schemeClr val="bg2"/>
                    </a:solidFill>
                    <a:latin typeface="Arial" charset="0"/>
                  </a:defRPr>
                </a:lvl4pPr>
                <a:lvl5pPr marL="2057400" indent="-228600">
                  <a:defRPr i="1">
                    <a:solidFill>
                      <a:schemeClr val="bg2"/>
                    </a:solidFill>
                    <a:latin typeface="Arial" charset="0"/>
                  </a:defRPr>
                </a:lvl5pPr>
                <a:lvl6pPr marL="2514600" indent="-228600" algn="ctr" eaLnBrk="0" fontAlgn="base" hangingPunct="0">
                  <a:spcBef>
                    <a:spcPct val="0"/>
                  </a:spcBef>
                  <a:spcAft>
                    <a:spcPct val="0"/>
                  </a:spcAft>
                  <a:defRPr i="1">
                    <a:solidFill>
                      <a:schemeClr val="bg2"/>
                    </a:solidFill>
                    <a:latin typeface="Arial" charset="0"/>
                  </a:defRPr>
                </a:lvl6pPr>
                <a:lvl7pPr marL="2971800" indent="-228600" algn="ctr" eaLnBrk="0" fontAlgn="base" hangingPunct="0">
                  <a:spcBef>
                    <a:spcPct val="0"/>
                  </a:spcBef>
                  <a:spcAft>
                    <a:spcPct val="0"/>
                  </a:spcAft>
                  <a:defRPr i="1">
                    <a:solidFill>
                      <a:schemeClr val="bg2"/>
                    </a:solidFill>
                    <a:latin typeface="Arial" charset="0"/>
                  </a:defRPr>
                </a:lvl7pPr>
                <a:lvl8pPr marL="3429000" indent="-228600" algn="ctr" eaLnBrk="0" fontAlgn="base" hangingPunct="0">
                  <a:spcBef>
                    <a:spcPct val="0"/>
                  </a:spcBef>
                  <a:spcAft>
                    <a:spcPct val="0"/>
                  </a:spcAft>
                  <a:defRPr i="1">
                    <a:solidFill>
                      <a:schemeClr val="bg2"/>
                    </a:solidFill>
                    <a:latin typeface="Arial" charset="0"/>
                  </a:defRPr>
                </a:lvl8pPr>
                <a:lvl9pPr marL="3886200" indent="-228600" algn="ctr" eaLnBrk="0" fontAlgn="base" hangingPunct="0">
                  <a:spcBef>
                    <a:spcPct val="0"/>
                  </a:spcBef>
                  <a:spcAft>
                    <a:spcPct val="0"/>
                  </a:spcAft>
                  <a:defRPr i="1">
                    <a:solidFill>
                      <a:schemeClr val="bg2"/>
                    </a:solidFill>
                    <a:latin typeface="Arial" charset="0"/>
                  </a:defRPr>
                </a:lvl9pPr>
              </a:lstStyle>
              <a:p>
                <a:pPr fontAlgn="auto">
                  <a:lnSpc>
                    <a:spcPts val="2494"/>
                  </a:lnSpc>
                  <a:spcBef>
                    <a:spcPts val="0"/>
                  </a:spcBef>
                  <a:spcAft>
                    <a:spcPts val="0"/>
                  </a:spcAft>
                  <a:defRPr/>
                </a:pPr>
                <a:r>
                  <a:rPr lang="pt-BR" i="0" kern="0" dirty="0">
                    <a:solidFill>
                      <a:srgbClr val="000000"/>
                    </a:solidFill>
                    <a:cs typeface="Arial"/>
                  </a:rPr>
                  <a:t>Projeto M - $ 5 </a:t>
                </a:r>
                <a:br>
                  <a:rPr lang="pt-BR" i="0" kern="0" dirty="0">
                    <a:solidFill>
                      <a:srgbClr val="000000"/>
                    </a:solidFill>
                    <a:cs typeface="Arial"/>
                  </a:rPr>
                </a:br>
                <a:r>
                  <a:rPr lang="pt-BR" i="0" kern="0" dirty="0">
                    <a:solidFill>
                      <a:srgbClr val="000000"/>
                    </a:solidFill>
                    <a:cs typeface="Arial"/>
                  </a:rPr>
                  <a:t>Projeto L - $ 5 </a:t>
                </a:r>
              </a:p>
              <a:p>
                <a:pPr fontAlgn="auto">
                  <a:lnSpc>
                    <a:spcPts val="2494"/>
                  </a:lnSpc>
                  <a:spcBef>
                    <a:spcPts val="0"/>
                  </a:spcBef>
                  <a:spcAft>
                    <a:spcPts val="0"/>
                  </a:spcAft>
                  <a:defRPr/>
                </a:pPr>
                <a:endParaRPr lang="pt-BR" i="0" kern="0" dirty="0">
                  <a:solidFill>
                    <a:srgbClr val="000000"/>
                  </a:solidFill>
                  <a:cs typeface="Arial"/>
                </a:endParaRPr>
              </a:p>
            </p:txBody>
          </p:sp>
          <p:sp>
            <p:nvSpPr>
              <p:cNvPr id="21" name="Text Box 7"/>
              <p:cNvSpPr txBox="1">
                <a:spLocks noChangeArrowheads="1"/>
              </p:cNvSpPr>
              <p:nvPr/>
            </p:nvSpPr>
            <p:spPr bwMode="auto">
              <a:xfrm>
                <a:off x="5407979" y="2477385"/>
                <a:ext cx="1482870" cy="706465"/>
              </a:xfrm>
              <a:prstGeom prst="rect">
                <a:avLst/>
              </a:prstGeom>
              <a:noFill/>
              <a:ln>
                <a:noFill/>
              </a:ln>
            </p:spPr>
            <p:txBody>
              <a:bodyPr wrap="none" lIns="0" tIns="0" rIns="0" bIns="0">
                <a:spAutoFit/>
              </a:bodyPr>
              <a:lstStyle>
                <a:lvl1pPr indent="88900">
                  <a:defRPr i="1">
                    <a:solidFill>
                      <a:schemeClr val="bg2"/>
                    </a:solidFill>
                    <a:latin typeface="Arial" charset="0"/>
                  </a:defRPr>
                </a:lvl1pPr>
                <a:lvl2pPr marL="742950" indent="-285750">
                  <a:defRPr i="1">
                    <a:solidFill>
                      <a:schemeClr val="bg2"/>
                    </a:solidFill>
                    <a:latin typeface="Arial" charset="0"/>
                  </a:defRPr>
                </a:lvl2pPr>
                <a:lvl3pPr marL="1143000" indent="-228600">
                  <a:defRPr i="1">
                    <a:solidFill>
                      <a:schemeClr val="bg2"/>
                    </a:solidFill>
                    <a:latin typeface="Arial" charset="0"/>
                  </a:defRPr>
                </a:lvl3pPr>
                <a:lvl4pPr marL="1600200" indent="-228600">
                  <a:defRPr i="1">
                    <a:solidFill>
                      <a:schemeClr val="bg2"/>
                    </a:solidFill>
                    <a:latin typeface="Arial" charset="0"/>
                  </a:defRPr>
                </a:lvl4pPr>
                <a:lvl5pPr marL="2057400" indent="-228600">
                  <a:defRPr i="1">
                    <a:solidFill>
                      <a:schemeClr val="bg2"/>
                    </a:solidFill>
                    <a:latin typeface="Arial" charset="0"/>
                  </a:defRPr>
                </a:lvl5pPr>
                <a:lvl6pPr marL="2514600" indent="-228600" algn="ctr" eaLnBrk="0" fontAlgn="base" hangingPunct="0">
                  <a:spcBef>
                    <a:spcPct val="0"/>
                  </a:spcBef>
                  <a:spcAft>
                    <a:spcPct val="0"/>
                  </a:spcAft>
                  <a:defRPr i="1">
                    <a:solidFill>
                      <a:schemeClr val="bg2"/>
                    </a:solidFill>
                    <a:latin typeface="Arial" charset="0"/>
                  </a:defRPr>
                </a:lvl6pPr>
                <a:lvl7pPr marL="2971800" indent="-228600" algn="ctr" eaLnBrk="0" fontAlgn="base" hangingPunct="0">
                  <a:spcBef>
                    <a:spcPct val="0"/>
                  </a:spcBef>
                  <a:spcAft>
                    <a:spcPct val="0"/>
                  </a:spcAft>
                  <a:defRPr i="1">
                    <a:solidFill>
                      <a:schemeClr val="bg2"/>
                    </a:solidFill>
                    <a:latin typeface="Arial" charset="0"/>
                  </a:defRPr>
                </a:lvl7pPr>
                <a:lvl8pPr marL="3429000" indent="-228600" algn="ctr" eaLnBrk="0" fontAlgn="base" hangingPunct="0">
                  <a:spcBef>
                    <a:spcPct val="0"/>
                  </a:spcBef>
                  <a:spcAft>
                    <a:spcPct val="0"/>
                  </a:spcAft>
                  <a:defRPr i="1">
                    <a:solidFill>
                      <a:schemeClr val="bg2"/>
                    </a:solidFill>
                    <a:latin typeface="Arial" charset="0"/>
                  </a:defRPr>
                </a:lvl8pPr>
                <a:lvl9pPr marL="3886200" indent="-228600" algn="ctr" eaLnBrk="0" fontAlgn="base" hangingPunct="0">
                  <a:spcBef>
                    <a:spcPct val="0"/>
                  </a:spcBef>
                  <a:spcAft>
                    <a:spcPct val="0"/>
                  </a:spcAft>
                  <a:defRPr i="1">
                    <a:solidFill>
                      <a:schemeClr val="bg2"/>
                    </a:solidFill>
                    <a:latin typeface="Arial" charset="0"/>
                  </a:defRPr>
                </a:lvl9pPr>
              </a:lstStyle>
              <a:p>
                <a:pPr fontAlgn="auto">
                  <a:lnSpc>
                    <a:spcPts val="2494"/>
                  </a:lnSpc>
                  <a:spcBef>
                    <a:spcPts val="0"/>
                  </a:spcBef>
                  <a:spcAft>
                    <a:spcPts val="0"/>
                  </a:spcAft>
                  <a:defRPr/>
                </a:pPr>
                <a:r>
                  <a:rPr lang="pt-BR" i="0" kern="0">
                    <a:solidFill>
                      <a:srgbClr val="FF0000"/>
                    </a:solidFill>
                    <a:cs typeface="Arial"/>
                  </a:rPr>
                  <a:t>Portfólio de Projetos já </a:t>
                </a:r>
                <a:br>
                  <a:rPr lang="pt-BR" i="0" kern="0">
                    <a:solidFill>
                      <a:srgbClr val="FF0000"/>
                    </a:solidFill>
                    <a:cs typeface="Arial"/>
                  </a:rPr>
                </a:br>
                <a:r>
                  <a:rPr lang="pt-BR" i="0" kern="0">
                    <a:solidFill>
                      <a:srgbClr val="FF0000"/>
                    </a:solidFill>
                    <a:cs typeface="Arial"/>
                  </a:rPr>
                  <a:t>Ordenado por Prioridade </a:t>
                </a:r>
              </a:p>
              <a:p>
                <a:pPr fontAlgn="auto">
                  <a:lnSpc>
                    <a:spcPts val="2494"/>
                  </a:lnSpc>
                  <a:spcBef>
                    <a:spcPts val="0"/>
                  </a:spcBef>
                  <a:spcAft>
                    <a:spcPts val="0"/>
                  </a:spcAft>
                  <a:defRPr/>
                </a:pPr>
                <a:endParaRPr lang="pt-BR" i="0" kern="0">
                  <a:solidFill>
                    <a:srgbClr val="000000"/>
                  </a:solidFill>
                  <a:cs typeface="Arial"/>
                </a:endParaRPr>
              </a:p>
            </p:txBody>
          </p:sp>
          <p:sp>
            <p:nvSpPr>
              <p:cNvPr id="22" name="Text Box 8"/>
              <p:cNvSpPr txBox="1">
                <a:spLocks noChangeArrowheads="1"/>
              </p:cNvSpPr>
              <p:nvPr/>
            </p:nvSpPr>
            <p:spPr bwMode="auto">
              <a:xfrm>
                <a:off x="5832532" y="3145534"/>
                <a:ext cx="956926" cy="1883906"/>
              </a:xfrm>
              <a:prstGeom prst="rect">
                <a:avLst/>
              </a:prstGeom>
              <a:noFill/>
              <a:ln>
                <a:noFill/>
              </a:ln>
            </p:spPr>
            <p:txBody>
              <a:bodyPr wrap="none" lIns="0" tIns="0" rIns="0" bIns="0">
                <a:spAutoFit/>
              </a:bodyPr>
              <a:lstStyle>
                <a:lvl1pPr>
                  <a:tabLst>
                    <a:tab pos="76200" algn="l"/>
                  </a:tabLst>
                  <a:defRPr i="1">
                    <a:solidFill>
                      <a:schemeClr val="bg2"/>
                    </a:solidFill>
                    <a:latin typeface="Arial" charset="0"/>
                  </a:defRPr>
                </a:lvl1pPr>
                <a:lvl2pPr marL="742950" indent="-285750">
                  <a:tabLst>
                    <a:tab pos="76200" algn="l"/>
                  </a:tabLst>
                  <a:defRPr i="1">
                    <a:solidFill>
                      <a:schemeClr val="bg2"/>
                    </a:solidFill>
                    <a:latin typeface="Arial" charset="0"/>
                  </a:defRPr>
                </a:lvl2pPr>
                <a:lvl3pPr marL="1143000" indent="-228600">
                  <a:tabLst>
                    <a:tab pos="76200" algn="l"/>
                  </a:tabLst>
                  <a:defRPr i="1">
                    <a:solidFill>
                      <a:schemeClr val="bg2"/>
                    </a:solidFill>
                    <a:latin typeface="Arial" charset="0"/>
                  </a:defRPr>
                </a:lvl3pPr>
                <a:lvl4pPr marL="1600200" indent="-228600">
                  <a:tabLst>
                    <a:tab pos="76200" algn="l"/>
                  </a:tabLst>
                  <a:defRPr i="1">
                    <a:solidFill>
                      <a:schemeClr val="bg2"/>
                    </a:solidFill>
                    <a:latin typeface="Arial" charset="0"/>
                  </a:defRPr>
                </a:lvl4pPr>
                <a:lvl5pPr marL="2057400" indent="-228600">
                  <a:tabLst>
                    <a:tab pos="76200" algn="l"/>
                  </a:tabLst>
                  <a:defRPr i="1">
                    <a:solidFill>
                      <a:schemeClr val="bg2"/>
                    </a:solidFill>
                    <a:latin typeface="Arial" charset="0"/>
                  </a:defRPr>
                </a:lvl5pPr>
                <a:lvl6pPr marL="2514600" indent="-228600" algn="ctr" eaLnBrk="0" fontAlgn="base" hangingPunct="0">
                  <a:spcBef>
                    <a:spcPct val="0"/>
                  </a:spcBef>
                  <a:spcAft>
                    <a:spcPct val="0"/>
                  </a:spcAft>
                  <a:tabLst>
                    <a:tab pos="76200" algn="l"/>
                  </a:tabLst>
                  <a:defRPr i="1">
                    <a:solidFill>
                      <a:schemeClr val="bg2"/>
                    </a:solidFill>
                    <a:latin typeface="Arial" charset="0"/>
                  </a:defRPr>
                </a:lvl6pPr>
                <a:lvl7pPr marL="2971800" indent="-228600" algn="ctr" eaLnBrk="0" fontAlgn="base" hangingPunct="0">
                  <a:spcBef>
                    <a:spcPct val="0"/>
                  </a:spcBef>
                  <a:spcAft>
                    <a:spcPct val="0"/>
                  </a:spcAft>
                  <a:tabLst>
                    <a:tab pos="76200" algn="l"/>
                  </a:tabLst>
                  <a:defRPr i="1">
                    <a:solidFill>
                      <a:schemeClr val="bg2"/>
                    </a:solidFill>
                    <a:latin typeface="Arial" charset="0"/>
                  </a:defRPr>
                </a:lvl7pPr>
                <a:lvl8pPr marL="3429000" indent="-228600" algn="ctr" eaLnBrk="0" fontAlgn="base" hangingPunct="0">
                  <a:spcBef>
                    <a:spcPct val="0"/>
                  </a:spcBef>
                  <a:spcAft>
                    <a:spcPct val="0"/>
                  </a:spcAft>
                  <a:tabLst>
                    <a:tab pos="76200" algn="l"/>
                  </a:tabLst>
                  <a:defRPr i="1">
                    <a:solidFill>
                      <a:schemeClr val="bg2"/>
                    </a:solidFill>
                    <a:latin typeface="Arial" charset="0"/>
                  </a:defRPr>
                </a:lvl8pPr>
                <a:lvl9pPr marL="3886200" indent="-228600" algn="ctr" eaLnBrk="0" fontAlgn="base" hangingPunct="0">
                  <a:spcBef>
                    <a:spcPct val="0"/>
                  </a:spcBef>
                  <a:spcAft>
                    <a:spcPct val="0"/>
                  </a:spcAft>
                  <a:tabLst>
                    <a:tab pos="76200" algn="l"/>
                  </a:tabLst>
                  <a:defRPr i="1">
                    <a:solidFill>
                      <a:schemeClr val="bg2"/>
                    </a:solidFill>
                    <a:latin typeface="Arial" charset="0"/>
                  </a:defRPr>
                </a:lvl9pPr>
              </a:lstStyle>
              <a:p>
                <a:pPr fontAlgn="auto">
                  <a:lnSpc>
                    <a:spcPts val="2494"/>
                  </a:lnSpc>
                  <a:spcBef>
                    <a:spcPts val="0"/>
                  </a:spcBef>
                  <a:spcAft>
                    <a:spcPts val="0"/>
                  </a:spcAft>
                  <a:defRPr/>
                </a:pPr>
                <a:r>
                  <a:rPr lang="pt-BR" i="0" kern="0" dirty="0">
                    <a:solidFill>
                      <a:srgbClr val="000000"/>
                    </a:solidFill>
                    <a:cs typeface="Arial"/>
                  </a:rPr>
                  <a:t>Projeto K - $ 10 </a:t>
                </a:r>
                <a:br>
                  <a:rPr lang="pt-BR" i="0" kern="0" dirty="0">
                    <a:solidFill>
                      <a:srgbClr val="000000"/>
                    </a:solidFill>
                    <a:cs typeface="Arial"/>
                  </a:rPr>
                </a:br>
                <a:r>
                  <a:rPr lang="pt-BR" i="0" kern="0" dirty="0">
                    <a:solidFill>
                      <a:srgbClr val="000000"/>
                    </a:solidFill>
                    <a:cs typeface="Arial"/>
                  </a:rPr>
                  <a:t>Projeto L - $ 5 </a:t>
                </a:r>
                <a:br>
                  <a:rPr lang="pt-BR" i="0" kern="0" dirty="0">
                    <a:solidFill>
                      <a:srgbClr val="000000"/>
                    </a:solidFill>
                    <a:cs typeface="Arial"/>
                  </a:rPr>
                </a:br>
                <a:r>
                  <a:rPr lang="pt-BR" i="0" kern="0" dirty="0">
                    <a:solidFill>
                      <a:srgbClr val="000000"/>
                    </a:solidFill>
                    <a:cs typeface="Arial"/>
                  </a:rPr>
                  <a:t>Projeto F - $ 50 </a:t>
                </a:r>
                <a:br>
                  <a:rPr lang="pt-BR" i="0" kern="0" dirty="0">
                    <a:solidFill>
                      <a:srgbClr val="000000"/>
                    </a:solidFill>
                    <a:cs typeface="Arial"/>
                  </a:rPr>
                </a:br>
                <a:r>
                  <a:rPr lang="pt-BR" i="0" kern="0" dirty="0">
                    <a:solidFill>
                      <a:srgbClr val="000000"/>
                    </a:solidFill>
                    <a:cs typeface="Arial"/>
                  </a:rPr>
                  <a:t>Projeto N - $ 10 </a:t>
                </a:r>
                <a:br>
                  <a:rPr lang="pt-BR" i="0" kern="0" dirty="0">
                    <a:solidFill>
                      <a:srgbClr val="000000"/>
                    </a:solidFill>
                    <a:cs typeface="Arial"/>
                  </a:rPr>
                </a:br>
                <a:r>
                  <a:rPr lang="pt-BR" i="0" kern="0" dirty="0">
                    <a:solidFill>
                      <a:srgbClr val="000000"/>
                    </a:solidFill>
                    <a:cs typeface="Arial"/>
                  </a:rPr>
                  <a:t>Projeto D - $ 10 </a:t>
                </a:r>
                <a:br>
                  <a:rPr lang="pt-BR" i="0" kern="0" dirty="0">
                    <a:solidFill>
                      <a:srgbClr val="000000"/>
                    </a:solidFill>
                    <a:cs typeface="Arial"/>
                  </a:rPr>
                </a:br>
                <a:r>
                  <a:rPr lang="pt-BR" i="0" kern="0" dirty="0">
                    <a:solidFill>
                      <a:srgbClr val="000000"/>
                    </a:solidFill>
                    <a:cs typeface="Arial"/>
                  </a:rPr>
                  <a:t>Projeto M - $ 5 </a:t>
                </a:r>
                <a:br>
                  <a:rPr lang="pt-BR" i="0" kern="0" dirty="0">
                    <a:solidFill>
                      <a:srgbClr val="000000"/>
                    </a:solidFill>
                    <a:cs typeface="Arial"/>
                  </a:rPr>
                </a:br>
                <a:r>
                  <a:rPr lang="pt-BR" i="0" kern="0" dirty="0">
                    <a:solidFill>
                      <a:srgbClr val="000000"/>
                    </a:solidFill>
                    <a:cs typeface="Arial"/>
                  </a:rPr>
                  <a:t>Projeto B - $ 10 </a:t>
                </a:r>
              </a:p>
              <a:p>
                <a:pPr fontAlgn="auto">
                  <a:lnSpc>
                    <a:spcPts val="2494"/>
                  </a:lnSpc>
                  <a:spcBef>
                    <a:spcPts val="0"/>
                  </a:spcBef>
                  <a:spcAft>
                    <a:spcPts val="0"/>
                  </a:spcAft>
                  <a:defRPr/>
                </a:pPr>
                <a:endParaRPr lang="pt-BR" i="0" kern="0" dirty="0">
                  <a:solidFill>
                    <a:srgbClr val="000000"/>
                  </a:solidFill>
                  <a:cs typeface="Arial"/>
                </a:endParaRPr>
              </a:p>
            </p:txBody>
          </p:sp>
          <p:sp>
            <p:nvSpPr>
              <p:cNvPr id="23" name="Text Box 5"/>
              <p:cNvSpPr txBox="1">
                <a:spLocks noChangeArrowheads="1"/>
              </p:cNvSpPr>
              <p:nvPr/>
            </p:nvSpPr>
            <p:spPr bwMode="auto">
              <a:xfrm>
                <a:off x="847101" y="5076356"/>
                <a:ext cx="7631103" cy="1412930"/>
              </a:xfrm>
              <a:prstGeom prst="rect">
                <a:avLst/>
              </a:prstGeom>
              <a:noFill/>
              <a:ln>
                <a:noFill/>
              </a:ln>
            </p:spPr>
            <p:txBody>
              <a:bodyPr lIns="0" tIns="0" rIns="0" bIns="0">
                <a:spAutoFit/>
              </a:bodyPr>
              <a:lstStyle>
                <a:lvl1pPr>
                  <a:defRPr i="1">
                    <a:solidFill>
                      <a:schemeClr val="bg2"/>
                    </a:solidFill>
                    <a:latin typeface="Arial" charset="0"/>
                  </a:defRPr>
                </a:lvl1pPr>
                <a:lvl2pPr marL="742950" indent="-285750">
                  <a:defRPr i="1">
                    <a:solidFill>
                      <a:schemeClr val="bg2"/>
                    </a:solidFill>
                    <a:latin typeface="Arial" charset="0"/>
                  </a:defRPr>
                </a:lvl2pPr>
                <a:lvl3pPr marL="1143000" indent="-228600">
                  <a:defRPr i="1">
                    <a:solidFill>
                      <a:schemeClr val="bg2"/>
                    </a:solidFill>
                    <a:latin typeface="Arial" charset="0"/>
                  </a:defRPr>
                </a:lvl3pPr>
                <a:lvl4pPr marL="1600200" indent="-228600">
                  <a:defRPr i="1">
                    <a:solidFill>
                      <a:schemeClr val="bg2"/>
                    </a:solidFill>
                    <a:latin typeface="Arial" charset="0"/>
                  </a:defRPr>
                </a:lvl4pPr>
                <a:lvl5pPr marL="2057400" indent="-228600">
                  <a:defRPr i="1">
                    <a:solidFill>
                      <a:schemeClr val="bg2"/>
                    </a:solidFill>
                    <a:latin typeface="Arial" charset="0"/>
                  </a:defRPr>
                </a:lvl5pPr>
                <a:lvl6pPr marL="2514600" indent="-228600" algn="ctr" eaLnBrk="0" fontAlgn="base" hangingPunct="0">
                  <a:spcBef>
                    <a:spcPct val="0"/>
                  </a:spcBef>
                  <a:spcAft>
                    <a:spcPct val="0"/>
                  </a:spcAft>
                  <a:defRPr i="1">
                    <a:solidFill>
                      <a:schemeClr val="bg2"/>
                    </a:solidFill>
                    <a:latin typeface="Arial" charset="0"/>
                  </a:defRPr>
                </a:lvl6pPr>
                <a:lvl7pPr marL="2971800" indent="-228600" algn="ctr" eaLnBrk="0" fontAlgn="base" hangingPunct="0">
                  <a:spcBef>
                    <a:spcPct val="0"/>
                  </a:spcBef>
                  <a:spcAft>
                    <a:spcPct val="0"/>
                  </a:spcAft>
                  <a:defRPr i="1">
                    <a:solidFill>
                      <a:schemeClr val="bg2"/>
                    </a:solidFill>
                    <a:latin typeface="Arial" charset="0"/>
                  </a:defRPr>
                </a:lvl7pPr>
                <a:lvl8pPr marL="3429000" indent="-228600" algn="ctr" eaLnBrk="0" fontAlgn="base" hangingPunct="0">
                  <a:spcBef>
                    <a:spcPct val="0"/>
                  </a:spcBef>
                  <a:spcAft>
                    <a:spcPct val="0"/>
                  </a:spcAft>
                  <a:defRPr i="1">
                    <a:solidFill>
                      <a:schemeClr val="bg2"/>
                    </a:solidFill>
                    <a:latin typeface="Arial" charset="0"/>
                  </a:defRPr>
                </a:lvl8pPr>
                <a:lvl9pPr marL="3886200" indent="-228600" algn="ctr" eaLnBrk="0" fontAlgn="base" hangingPunct="0">
                  <a:spcBef>
                    <a:spcPct val="0"/>
                  </a:spcBef>
                  <a:spcAft>
                    <a:spcPct val="0"/>
                  </a:spcAft>
                  <a:defRPr i="1">
                    <a:solidFill>
                      <a:schemeClr val="bg2"/>
                    </a:solidFill>
                    <a:latin typeface="Arial" charset="0"/>
                  </a:defRPr>
                </a:lvl9pPr>
              </a:lstStyle>
              <a:p>
                <a:pPr fontAlgn="auto">
                  <a:lnSpc>
                    <a:spcPts val="3020"/>
                  </a:lnSpc>
                  <a:spcBef>
                    <a:spcPts val="0"/>
                  </a:spcBef>
                  <a:spcAft>
                    <a:spcPts val="0"/>
                  </a:spcAft>
                  <a:defRPr/>
                </a:pPr>
                <a:r>
                  <a:rPr lang="pt-BR" sz="2400" b="1" i="0" kern="0" dirty="0">
                    <a:solidFill>
                      <a:srgbClr val="000000"/>
                    </a:solidFill>
                    <a:latin typeface="Calibri" panose="020F0502020204030204" pitchFamily="34" charset="0"/>
                    <a:cs typeface="Arial"/>
                  </a:rPr>
                  <a:t>Definir critérios para priorização de Projetos: Ex.: </a:t>
                </a:r>
                <a:r>
                  <a:rPr lang="pt-BR" sz="2400" kern="0" dirty="0">
                    <a:solidFill>
                      <a:srgbClr val="FF0000"/>
                    </a:solidFill>
                    <a:latin typeface="Calibri" panose="020F0502020204030204" pitchFamily="34" charset="0"/>
                    <a:cs typeface="Arial"/>
                  </a:rPr>
                  <a:t>Urgência por demanda de mercado, Resolução de problemas (MUST DO), Custo x Benefício, dependência de outros projetos, </a:t>
                </a:r>
                <a:r>
                  <a:rPr lang="pt-BR" sz="2400" i="0" kern="0" dirty="0">
                    <a:solidFill>
                      <a:srgbClr val="000000"/>
                    </a:solidFill>
                    <a:latin typeface="Calibri" panose="020F0502020204030204" pitchFamily="34" charset="0"/>
                    <a:cs typeface="Arial"/>
                  </a:rPr>
                  <a:t>podem ser levados em conta para a </a:t>
                </a:r>
                <a:r>
                  <a:rPr lang="pt-BR" sz="2400" i="0" kern="0" dirty="0">
                    <a:solidFill>
                      <a:srgbClr val="FF0000"/>
                    </a:solidFill>
                    <a:latin typeface="Calibri" panose="020F0502020204030204" pitchFamily="34" charset="0"/>
                    <a:cs typeface="Arial"/>
                  </a:rPr>
                  <a:t>definição da prioridade </a:t>
                </a:r>
                <a:r>
                  <a:rPr lang="pt-BR" sz="2400" i="0" kern="0" dirty="0">
                    <a:solidFill>
                      <a:srgbClr val="000000"/>
                    </a:solidFill>
                    <a:latin typeface="Calibri" panose="020F0502020204030204" pitchFamily="34" charset="0"/>
                    <a:cs typeface="Arial"/>
                  </a:rPr>
                  <a:t>dos projetos. </a:t>
                </a:r>
                <a:r>
                  <a:rPr lang="pt-BR" sz="2400" b="1" i="0" kern="0" dirty="0">
                    <a:solidFill>
                      <a:srgbClr val="000000"/>
                    </a:solidFill>
                    <a:latin typeface="Calibri" panose="020F0502020204030204" pitchFamily="34" charset="0"/>
                    <a:cs typeface="Arial"/>
                  </a:rPr>
                  <a:t>Objetivo: </a:t>
                </a:r>
                <a:r>
                  <a:rPr lang="pt-BR" sz="2400" i="0" kern="0" dirty="0">
                    <a:solidFill>
                      <a:srgbClr val="000000"/>
                    </a:solidFill>
                    <a:latin typeface="Calibri" panose="020F0502020204030204" pitchFamily="34" charset="0"/>
                    <a:cs typeface="Arial"/>
                  </a:rPr>
                  <a:t>definir a melhor sequência dos projetos.</a:t>
                </a:r>
              </a:p>
              <a:p>
                <a:pPr fontAlgn="auto">
                  <a:lnSpc>
                    <a:spcPts val="3020"/>
                  </a:lnSpc>
                  <a:spcBef>
                    <a:spcPts val="0"/>
                  </a:spcBef>
                  <a:spcAft>
                    <a:spcPts val="0"/>
                  </a:spcAft>
                  <a:defRPr/>
                </a:pPr>
                <a:r>
                  <a:rPr lang="pt-BR" sz="2400" b="1" i="0" kern="0" dirty="0">
                    <a:solidFill>
                      <a:srgbClr val="000000"/>
                    </a:solidFill>
                    <a:latin typeface="Calibri" panose="020F0502020204030204" pitchFamily="34" charset="0"/>
                    <a:cs typeface="Arial"/>
                  </a:rPr>
                  <a:t>Respeitando possíveis restrições. </a:t>
                </a:r>
              </a:p>
              <a:p>
                <a:pPr fontAlgn="auto">
                  <a:lnSpc>
                    <a:spcPts val="3020"/>
                  </a:lnSpc>
                  <a:spcBef>
                    <a:spcPts val="0"/>
                  </a:spcBef>
                  <a:spcAft>
                    <a:spcPts val="0"/>
                  </a:spcAft>
                  <a:defRPr/>
                </a:pPr>
                <a:endParaRPr lang="pt-BR" i="0" kern="0" dirty="0">
                  <a:solidFill>
                    <a:srgbClr val="000000"/>
                  </a:solidFill>
                  <a:cs typeface="Arial"/>
                </a:endParaRPr>
              </a:p>
            </p:txBody>
          </p:sp>
          <p:sp>
            <p:nvSpPr>
              <p:cNvPr id="24" name="Retângulo 23"/>
              <p:cNvSpPr/>
              <p:nvPr/>
            </p:nvSpPr>
            <p:spPr>
              <a:xfrm>
                <a:off x="1369978" y="945190"/>
                <a:ext cx="6819976" cy="1079182"/>
              </a:xfrm>
              <a:prstGeom prst="rect">
                <a:avLst/>
              </a:prstGeom>
              <a:solidFill>
                <a:srgbClr val="FFFFFF"/>
              </a:solidFill>
              <a:ln w="25400" cap="flat" cmpd="sng" algn="ctr">
                <a:noFill/>
                <a:prstDash val="solid"/>
              </a:ln>
              <a:effectLst/>
            </p:spPr>
            <p:txBody>
              <a:bodyPr anchor="ctr"/>
              <a:lstStyle/>
              <a:p>
                <a:pPr algn="ctr" fontAlgn="auto">
                  <a:spcBef>
                    <a:spcPts val="0"/>
                  </a:spcBef>
                  <a:spcAft>
                    <a:spcPts val="0"/>
                  </a:spcAft>
                  <a:defRPr/>
                </a:pPr>
                <a:endParaRPr lang="pt-BR" i="1" kern="0">
                  <a:solidFill>
                    <a:srgbClr val="FFFFFF"/>
                  </a:solidFill>
                  <a:latin typeface="Arial"/>
                  <a:cs typeface="Arial"/>
                </a:endParaRPr>
              </a:p>
            </p:txBody>
          </p:sp>
        </p:grpSp>
        <p:pic>
          <p:nvPicPr>
            <p:cNvPr id="111621" name="Picture 12" descr="http://t1.gstatic.com/images?q=tbn:ANd9GcQFYb2jGTywLtbQZV6fm88vXUHd3io2DJ84hTmU5X2ZbsdBjHeOu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4050" y="1593850"/>
              <a:ext cx="198120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622" name="Retângulo 2"/>
            <p:cNvSpPr>
              <a:spLocks noChangeArrowheads="1"/>
            </p:cNvSpPr>
            <p:nvPr/>
          </p:nvSpPr>
          <p:spPr bwMode="auto">
            <a:xfrm>
              <a:off x="755576" y="1325563"/>
              <a:ext cx="504056" cy="807293"/>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Helvetica" panose="020B0500000000000000" pitchFamily="34" charset="0"/>
              </a:endParaRPr>
            </a:p>
          </p:txBody>
        </p:sp>
      </p:grpSp>
    </p:spTree>
    <p:custDataLst>
      <p:tags r:id="rId1"/>
    </p:custDataLst>
    <p:extLst>
      <p:ext uri="{BB962C8B-B14F-4D97-AF65-F5344CB8AC3E}">
        <p14:creationId xmlns:p14="http://schemas.microsoft.com/office/powerpoint/2010/main" val="3663295513"/>
      </p:ext>
    </p:extLst>
  </p:cSld>
  <p:clrMapOvr>
    <a:masterClrMapping/>
  </p:clrMapOvr>
  <p:transition spd="slow">
    <p:strips dir="rd"/>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tângulo 2"/>
          <p:cNvSpPr>
            <a:spLocks noChangeArrowheads="1"/>
          </p:cNvSpPr>
          <p:nvPr/>
        </p:nvSpPr>
        <p:spPr bwMode="auto">
          <a:xfrm>
            <a:off x="921545" y="233363"/>
            <a:ext cx="82125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3600" b="1" dirty="0">
                <a:solidFill>
                  <a:schemeClr val="tx1"/>
                </a:solidFill>
                <a:latin typeface="Myriad Pro" pitchFamily="34" charset="0"/>
                <a:ea typeface="Verdana" panose="020B0604030504040204" pitchFamily="34" charset="0"/>
                <a:cs typeface="Verdana" panose="020B0604030504040204" pitchFamily="34" charset="0"/>
              </a:rPr>
              <a:t>Priorizando os Projetos do Portfólio </a:t>
            </a:r>
          </a:p>
        </p:txBody>
      </p:sp>
      <p:grpSp>
        <p:nvGrpSpPr>
          <p:cNvPr id="112643" name="Grupo 111679"/>
          <p:cNvGrpSpPr>
            <a:grpSpLocks/>
          </p:cNvGrpSpPr>
          <p:nvPr/>
        </p:nvGrpSpPr>
        <p:grpSpPr bwMode="auto">
          <a:xfrm>
            <a:off x="161256" y="1471092"/>
            <a:ext cx="13155214" cy="7550943"/>
            <a:chOff x="190501" y="992188"/>
            <a:chExt cx="9033377" cy="5033474"/>
          </a:xfrm>
        </p:grpSpPr>
        <p:sp>
          <p:nvSpPr>
            <p:cNvPr id="10243" name="Rectangle 3"/>
            <p:cNvSpPr>
              <a:spLocks noChangeArrowheads="1"/>
            </p:cNvSpPr>
            <p:nvPr/>
          </p:nvSpPr>
          <p:spPr bwMode="auto">
            <a:xfrm>
              <a:off x="3233513" y="3325587"/>
              <a:ext cx="4310252" cy="87304"/>
            </a:xfrm>
            <a:prstGeom prst="rect">
              <a:avLst/>
            </a:prstGeom>
            <a:noFill/>
            <a:ln>
              <a:noFill/>
            </a:ln>
            <a:effectLst>
              <a:outerShdw blurRad="50800" dist="38100" dir="2700000" algn="tl" rotWithShape="0">
                <a:prstClr val="black">
                  <a:alpha val="40000"/>
                </a:prstClr>
              </a:outerShdw>
            </a:effectLst>
          </p:spPr>
          <p:txBody>
            <a:bodyPr wrap="none" anchor="ctr"/>
            <a:lstStyle/>
            <a:p>
              <a:pPr>
                <a:defRPr/>
              </a:pPr>
              <a:endParaRPr lang="pt-BR">
                <a:latin typeface="Calibri" panose="020F0502020204030204" pitchFamily="34" charset="0"/>
                <a:cs typeface="Calibri" panose="020F0502020204030204" pitchFamily="34" charset="0"/>
              </a:endParaRPr>
            </a:p>
          </p:txBody>
        </p:sp>
        <p:sp>
          <p:nvSpPr>
            <p:cNvPr id="10244" name="Line 4"/>
            <p:cNvSpPr>
              <a:spLocks noChangeShapeType="1"/>
            </p:cNvSpPr>
            <p:nvPr/>
          </p:nvSpPr>
          <p:spPr bwMode="auto">
            <a:xfrm>
              <a:off x="8181473" y="2649377"/>
              <a:ext cx="9811" cy="3212789"/>
            </a:xfrm>
            <a:prstGeom prst="line">
              <a:avLst/>
            </a:prstGeom>
            <a:noFill/>
            <a:ln w="38100">
              <a:solidFill>
                <a:schemeClr val="tx1"/>
              </a:solidFill>
              <a:prstDash val="sysDot"/>
              <a:round/>
              <a:headEnd type="none" w="sm" len="sm"/>
              <a:tailEnd type="stealth"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45" name="AutoShape 5"/>
            <p:cNvSpPr>
              <a:spLocks noChangeArrowheads="1"/>
            </p:cNvSpPr>
            <p:nvPr/>
          </p:nvSpPr>
          <p:spPr bwMode="auto">
            <a:xfrm>
              <a:off x="5601208" y="3435113"/>
              <a:ext cx="1028508" cy="292072"/>
            </a:xfrm>
            <a:prstGeom prst="rightArrow">
              <a:avLst>
                <a:gd name="adj1" fmla="val 50000"/>
                <a:gd name="adj2" fmla="val 81006"/>
              </a:avLst>
            </a:prstGeom>
            <a:solidFill>
              <a:schemeClr val="tx2"/>
            </a:solid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46" name="AutoShape 6" descr="50%"/>
            <p:cNvSpPr>
              <a:spLocks noChangeArrowheads="1"/>
            </p:cNvSpPr>
            <p:nvPr/>
          </p:nvSpPr>
          <p:spPr bwMode="auto">
            <a:xfrm>
              <a:off x="1980989" y="4466888"/>
              <a:ext cx="609910" cy="761926"/>
            </a:xfrm>
            <a:prstGeom prst="downArrow">
              <a:avLst>
                <a:gd name="adj1" fmla="val 50000"/>
                <a:gd name="adj2" fmla="val 33854"/>
              </a:avLst>
            </a:prstGeom>
            <a:pattFill prst="pct50">
              <a:fgClr>
                <a:schemeClr val="tx2"/>
              </a:fgClr>
              <a:bgClr>
                <a:srgbClr val="FFFFFF"/>
              </a:bgClr>
            </a:patt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51207" name="Rectangle 8"/>
            <p:cNvSpPr>
              <a:spLocks noChangeArrowheads="1"/>
            </p:cNvSpPr>
            <p:nvPr/>
          </p:nvSpPr>
          <p:spPr bwMode="auto">
            <a:xfrm>
              <a:off x="1915583" y="2543025"/>
              <a:ext cx="147163" cy="2403242"/>
            </a:xfrm>
            <a:prstGeom prst="rect">
              <a:avLst/>
            </a:prstGeom>
            <a:solidFill>
              <a:srgbClr val="3366FF"/>
            </a:solidFill>
            <a:ln w="9525">
              <a:miter lim="800000"/>
              <a:headEnd/>
              <a:tailEnd/>
            </a:ln>
            <a:scene3d>
              <a:camera prst="legacyObliqueTopRight"/>
              <a:lightRig rig="legacyFlat3" dir="b"/>
            </a:scene3d>
            <a:sp3d extrusionH="1801800" prstMaterial="legacyMatte">
              <a:bevelT w="13500" h="13500" prst="angle"/>
              <a:bevelB w="13500" h="13500" prst="angle"/>
              <a:extrusionClr>
                <a:srgbClr val="3366FF"/>
              </a:extrusionClr>
            </a:sp3d>
          </p:spPr>
          <p:txBody>
            <a:bodyPr wrap="none" lIns="125291" tIns="61547" rIns="125291" bIns="61547" anchor="ctr">
              <a:flatTx/>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80000"/>
                </a:spcBef>
                <a:buFontTx/>
                <a:buNone/>
                <a:defRPr/>
              </a:pPr>
              <a:endParaRPr lang="pt-BR" altLang="pt-BR" sz="2493">
                <a:latin typeface="Calibri" panose="020F0502020204030204" pitchFamily="34" charset="0"/>
                <a:cs typeface="Calibri" panose="020F0502020204030204" pitchFamily="34" charset="0"/>
              </a:endParaRPr>
            </a:p>
          </p:txBody>
        </p:sp>
        <p:sp>
          <p:nvSpPr>
            <p:cNvPr id="112649" name="Freeform 9" descr="Small grid"/>
            <p:cNvSpPr>
              <a:spLocks/>
            </p:cNvSpPr>
            <p:nvPr/>
          </p:nvSpPr>
          <p:spPr bwMode="auto">
            <a:xfrm>
              <a:off x="2044700" y="2005013"/>
              <a:ext cx="622300" cy="2919412"/>
            </a:xfrm>
            <a:custGeom>
              <a:avLst/>
              <a:gdLst>
                <a:gd name="T0" fmla="*/ 2147483646 w 408"/>
                <a:gd name="T1" fmla="*/ 2147483646 h 2040"/>
                <a:gd name="T2" fmla="*/ 2147483646 w 408"/>
                <a:gd name="T3" fmla="*/ 0 h 2040"/>
                <a:gd name="T4" fmla="*/ 2147483646 w 408"/>
                <a:gd name="T5" fmla="*/ 2147483646 h 2040"/>
                <a:gd name="T6" fmla="*/ 0 w 408"/>
                <a:gd name="T7" fmla="*/ 2147483646 h 2040"/>
                <a:gd name="T8" fmla="*/ 2147483646 w 408"/>
                <a:gd name="T9" fmla="*/ 2147483646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round/>
                  <a:headEnd type="none" w="sm" len="sm"/>
                  <a:tailEnd type="none" w="sm" len="sm"/>
                </a14:hiddenLine>
              </a:ext>
            </a:extLst>
          </p:spPr>
          <p:txBody>
            <a:bodyPr wrap="none" lIns="125291" tIns="61547" rIns="125291" bIns="61547" anchor="ctr"/>
            <a:lstStyle/>
            <a:p>
              <a:endParaRPr lang="pt-BR"/>
            </a:p>
          </p:txBody>
        </p:sp>
        <p:sp>
          <p:nvSpPr>
            <p:cNvPr id="10248" name="AutoShape 10"/>
            <p:cNvSpPr>
              <a:spLocks noChangeArrowheads="1"/>
            </p:cNvSpPr>
            <p:nvPr/>
          </p:nvSpPr>
          <p:spPr bwMode="auto">
            <a:xfrm>
              <a:off x="2388141" y="3457336"/>
              <a:ext cx="773426" cy="293660"/>
            </a:xfrm>
            <a:prstGeom prst="rightArrow">
              <a:avLst>
                <a:gd name="adj1" fmla="val 50000"/>
                <a:gd name="adj2" fmla="val 61043"/>
              </a:avLst>
            </a:prstGeom>
            <a:solidFill>
              <a:schemeClr val="tx2"/>
            </a:solidFill>
            <a:ln>
              <a:noFill/>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49" name="AutoShape 11"/>
            <p:cNvSpPr>
              <a:spLocks noChangeArrowheads="1"/>
            </p:cNvSpPr>
            <p:nvPr/>
          </p:nvSpPr>
          <p:spPr bwMode="auto">
            <a:xfrm>
              <a:off x="3238418" y="3446225"/>
              <a:ext cx="1028509" cy="293659"/>
            </a:xfrm>
            <a:prstGeom prst="rightArrow">
              <a:avLst>
                <a:gd name="adj1" fmla="val 50000"/>
                <a:gd name="adj2" fmla="val 81006"/>
              </a:avLst>
            </a:prstGeom>
            <a:solidFill>
              <a:schemeClr val="tx2"/>
            </a:solid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0" name="AutoShape 12" descr="50%"/>
            <p:cNvSpPr>
              <a:spLocks noChangeArrowheads="1"/>
            </p:cNvSpPr>
            <p:nvPr/>
          </p:nvSpPr>
          <p:spPr bwMode="auto">
            <a:xfrm>
              <a:off x="4216237" y="4560542"/>
              <a:ext cx="609911" cy="761926"/>
            </a:xfrm>
            <a:prstGeom prst="downArrow">
              <a:avLst>
                <a:gd name="adj1" fmla="val 50000"/>
                <a:gd name="adj2" fmla="val 33854"/>
              </a:avLst>
            </a:prstGeom>
            <a:pattFill prst="pct50">
              <a:fgClr>
                <a:schemeClr val="tx2"/>
              </a:fgClr>
              <a:bgClr>
                <a:srgbClr val="FFFFFF"/>
              </a:bgClr>
            </a:patt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1" name="AutoShape 13"/>
            <p:cNvSpPr>
              <a:spLocks noChangeArrowheads="1"/>
            </p:cNvSpPr>
            <p:nvPr/>
          </p:nvSpPr>
          <p:spPr bwMode="auto">
            <a:xfrm>
              <a:off x="939399" y="3470035"/>
              <a:ext cx="1028509" cy="292072"/>
            </a:xfrm>
            <a:prstGeom prst="rightArrow">
              <a:avLst>
                <a:gd name="adj1" fmla="val 50000"/>
                <a:gd name="adj2" fmla="val 81006"/>
              </a:avLst>
            </a:prstGeom>
            <a:solidFill>
              <a:schemeClr val="tx2"/>
            </a:solid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50189" name="Text Box 14"/>
            <p:cNvSpPr txBox="1">
              <a:spLocks noChangeArrowheads="1"/>
            </p:cNvSpPr>
            <p:nvPr/>
          </p:nvSpPr>
          <p:spPr bwMode="auto">
            <a:xfrm>
              <a:off x="1115995" y="2165236"/>
              <a:ext cx="912413" cy="281652"/>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Idéias</a:t>
              </a:r>
            </a:p>
          </p:txBody>
        </p:sp>
        <p:sp>
          <p:nvSpPr>
            <p:cNvPr id="10253" name="Oval 15"/>
            <p:cNvSpPr>
              <a:spLocks noChangeArrowheads="1"/>
            </p:cNvSpPr>
            <p:nvPr/>
          </p:nvSpPr>
          <p:spPr bwMode="auto">
            <a:xfrm>
              <a:off x="8084998" y="3300189"/>
              <a:ext cx="214205" cy="198418"/>
            </a:xfrm>
            <a:prstGeom prst="ellipse">
              <a:avLst/>
            </a:prstGeom>
            <a:solidFill>
              <a:srgbClr val="66CCFF"/>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4" name="Oval 16"/>
            <p:cNvSpPr>
              <a:spLocks noChangeArrowheads="1"/>
            </p:cNvSpPr>
            <p:nvPr/>
          </p:nvSpPr>
          <p:spPr bwMode="auto">
            <a:xfrm>
              <a:off x="8024498" y="2628741"/>
              <a:ext cx="322124" cy="257150"/>
            </a:xfrm>
            <a:prstGeom prst="ellipse">
              <a:avLst/>
            </a:prstGeom>
            <a:solidFill>
              <a:schemeClr val="accent1"/>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5" name="Oval 17"/>
            <p:cNvSpPr>
              <a:spLocks noChangeArrowheads="1"/>
            </p:cNvSpPr>
            <p:nvPr/>
          </p:nvSpPr>
          <p:spPr bwMode="auto">
            <a:xfrm>
              <a:off x="8050661" y="3049389"/>
              <a:ext cx="277975" cy="246038"/>
            </a:xfrm>
            <a:prstGeom prst="ellipse">
              <a:avLst/>
            </a:prstGeom>
            <a:solidFill>
              <a:srgbClr val="B2B2B2"/>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6" name="Oval 18"/>
            <p:cNvSpPr>
              <a:spLocks noChangeArrowheads="1"/>
            </p:cNvSpPr>
            <p:nvPr/>
          </p:nvSpPr>
          <p:spPr bwMode="auto">
            <a:xfrm>
              <a:off x="8104620" y="2890654"/>
              <a:ext cx="168421" cy="152385"/>
            </a:xfrm>
            <a:prstGeom prst="ellipse">
              <a:avLst/>
            </a:prstGeom>
            <a:solidFill>
              <a:srgbClr val="0000CC"/>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7" name="Oval 19"/>
            <p:cNvSpPr>
              <a:spLocks noChangeArrowheads="1"/>
            </p:cNvSpPr>
            <p:nvPr/>
          </p:nvSpPr>
          <p:spPr bwMode="auto">
            <a:xfrm>
              <a:off x="8037580" y="4444665"/>
              <a:ext cx="322124" cy="257150"/>
            </a:xfrm>
            <a:prstGeom prst="ellipse">
              <a:avLst/>
            </a:prstGeom>
            <a:solidFill>
              <a:schemeClr val="accent1"/>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8" name="Oval 20"/>
            <p:cNvSpPr>
              <a:spLocks noChangeArrowheads="1"/>
            </p:cNvSpPr>
            <p:nvPr/>
          </p:nvSpPr>
          <p:spPr bwMode="auto">
            <a:xfrm>
              <a:off x="8107890" y="4276407"/>
              <a:ext cx="170055" cy="152385"/>
            </a:xfrm>
            <a:prstGeom prst="ellipse">
              <a:avLst/>
            </a:prstGeom>
            <a:solidFill>
              <a:srgbClr val="0000CC"/>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59" name="Oval 21"/>
            <p:cNvSpPr>
              <a:spLocks noChangeArrowheads="1"/>
            </p:cNvSpPr>
            <p:nvPr/>
          </p:nvSpPr>
          <p:spPr bwMode="auto">
            <a:xfrm>
              <a:off x="8032674" y="3503370"/>
              <a:ext cx="322125" cy="258737"/>
            </a:xfrm>
            <a:prstGeom prst="ellipse">
              <a:avLst/>
            </a:prstGeom>
            <a:solidFill>
              <a:schemeClr val="accent1"/>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60" name="Oval 22"/>
            <p:cNvSpPr>
              <a:spLocks noChangeArrowheads="1"/>
            </p:cNvSpPr>
            <p:nvPr/>
          </p:nvSpPr>
          <p:spPr bwMode="auto">
            <a:xfrm>
              <a:off x="8050661" y="4031955"/>
              <a:ext cx="277975" cy="246039"/>
            </a:xfrm>
            <a:prstGeom prst="ellipse">
              <a:avLst/>
            </a:prstGeom>
            <a:solidFill>
              <a:srgbClr val="B2B2B2"/>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61" name="Oval 23"/>
            <p:cNvSpPr>
              <a:spLocks noChangeArrowheads="1"/>
            </p:cNvSpPr>
            <p:nvPr/>
          </p:nvSpPr>
          <p:spPr bwMode="auto">
            <a:xfrm>
              <a:off x="8049025" y="3768456"/>
              <a:ext cx="297597" cy="258738"/>
            </a:xfrm>
            <a:prstGeom prst="ellipse">
              <a:avLst/>
            </a:prstGeom>
            <a:solidFill>
              <a:schemeClr val="accent1"/>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51223" name="Text Box 24"/>
            <p:cNvSpPr txBox="1">
              <a:spLocks noChangeArrowheads="1"/>
            </p:cNvSpPr>
            <p:nvPr/>
          </p:nvSpPr>
          <p:spPr bwMode="auto">
            <a:xfrm>
              <a:off x="2594169" y="4927218"/>
              <a:ext cx="1944192" cy="281652"/>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Idéias rejeitadas</a:t>
              </a:r>
            </a:p>
          </p:txBody>
        </p:sp>
        <p:grpSp>
          <p:nvGrpSpPr>
            <p:cNvPr id="2" name="Group 25"/>
            <p:cNvGrpSpPr>
              <a:grpSpLocks/>
            </p:cNvGrpSpPr>
            <p:nvPr/>
          </p:nvGrpSpPr>
          <p:grpSpPr bwMode="auto">
            <a:xfrm>
              <a:off x="190501" y="2110154"/>
              <a:ext cx="1458058" cy="1664677"/>
              <a:chOff x="104" y="920"/>
              <a:chExt cx="919" cy="1136"/>
            </a:xfrm>
            <a:effectLst>
              <a:outerShdw blurRad="50800" dist="38100" dir="2700000" algn="tl" rotWithShape="0">
                <a:prstClr val="black">
                  <a:alpha val="40000"/>
                </a:prstClr>
              </a:outerShdw>
            </a:effectLst>
          </p:grpSpPr>
          <p:grpSp>
            <p:nvGrpSpPr>
              <p:cNvPr id="3" name="Group 26"/>
              <p:cNvGrpSpPr>
                <a:grpSpLocks/>
              </p:cNvGrpSpPr>
              <p:nvPr/>
            </p:nvGrpSpPr>
            <p:grpSpPr bwMode="auto">
              <a:xfrm>
                <a:off x="414" y="1568"/>
                <a:ext cx="319" cy="296"/>
                <a:chOff x="560" y="1368"/>
                <a:chExt cx="264" cy="296"/>
              </a:xfrm>
            </p:grpSpPr>
            <p:sp>
              <p:nvSpPr>
                <p:cNvPr id="10761" name="Oval 2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62" name="Oval 2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63" name="Oval 2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64" name="Oval 3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4" name="Group 31"/>
              <p:cNvGrpSpPr>
                <a:grpSpLocks/>
              </p:cNvGrpSpPr>
              <p:nvPr/>
            </p:nvGrpSpPr>
            <p:grpSpPr bwMode="auto">
              <a:xfrm>
                <a:off x="317" y="1688"/>
                <a:ext cx="319" cy="296"/>
                <a:chOff x="560" y="1368"/>
                <a:chExt cx="264" cy="296"/>
              </a:xfrm>
            </p:grpSpPr>
            <p:sp>
              <p:nvSpPr>
                <p:cNvPr id="10757" name="Oval 3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8" name="Oval 3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9" name="Oval 3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60" name="Oval 3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 name="Group 36"/>
              <p:cNvGrpSpPr>
                <a:grpSpLocks/>
              </p:cNvGrpSpPr>
              <p:nvPr/>
            </p:nvGrpSpPr>
            <p:grpSpPr bwMode="auto">
              <a:xfrm>
                <a:off x="665" y="1616"/>
                <a:ext cx="319" cy="296"/>
                <a:chOff x="560" y="1368"/>
                <a:chExt cx="264" cy="296"/>
              </a:xfrm>
            </p:grpSpPr>
            <p:sp>
              <p:nvSpPr>
                <p:cNvPr id="10753" name="Oval 3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4" name="Oval 3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5" name="Oval 3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6" name="Oval 4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6" name="Group 41"/>
              <p:cNvGrpSpPr>
                <a:grpSpLocks/>
              </p:cNvGrpSpPr>
              <p:nvPr/>
            </p:nvGrpSpPr>
            <p:grpSpPr bwMode="auto">
              <a:xfrm>
                <a:off x="644" y="1536"/>
                <a:ext cx="319" cy="296"/>
                <a:chOff x="560" y="1368"/>
                <a:chExt cx="264" cy="296"/>
              </a:xfrm>
            </p:grpSpPr>
            <p:sp>
              <p:nvSpPr>
                <p:cNvPr id="10749" name="Oval 4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0" name="Oval 4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1" name="Oval 4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52" name="Oval 4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7" name="Group 46"/>
              <p:cNvGrpSpPr>
                <a:grpSpLocks/>
              </p:cNvGrpSpPr>
              <p:nvPr/>
            </p:nvGrpSpPr>
            <p:grpSpPr bwMode="auto">
              <a:xfrm>
                <a:off x="584" y="1560"/>
                <a:ext cx="319" cy="296"/>
                <a:chOff x="560" y="1368"/>
                <a:chExt cx="264" cy="296"/>
              </a:xfrm>
            </p:grpSpPr>
            <p:sp>
              <p:nvSpPr>
                <p:cNvPr id="10745" name="Oval 4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6" name="Oval 4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7" name="Oval 4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8" name="Oval 5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8" name="Group 51"/>
              <p:cNvGrpSpPr>
                <a:grpSpLocks/>
              </p:cNvGrpSpPr>
              <p:nvPr/>
            </p:nvGrpSpPr>
            <p:grpSpPr bwMode="auto">
              <a:xfrm>
                <a:off x="456" y="1232"/>
                <a:ext cx="319" cy="296"/>
                <a:chOff x="560" y="1368"/>
                <a:chExt cx="264" cy="296"/>
              </a:xfrm>
            </p:grpSpPr>
            <p:sp>
              <p:nvSpPr>
                <p:cNvPr id="10741" name="Oval 5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2" name="Oval 5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3" name="Oval 5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4" name="Oval 5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9" name="Group 56"/>
              <p:cNvGrpSpPr>
                <a:grpSpLocks/>
              </p:cNvGrpSpPr>
              <p:nvPr/>
            </p:nvGrpSpPr>
            <p:grpSpPr bwMode="auto">
              <a:xfrm>
                <a:off x="144" y="1376"/>
                <a:ext cx="319" cy="296"/>
                <a:chOff x="560" y="1368"/>
                <a:chExt cx="264" cy="296"/>
              </a:xfrm>
            </p:grpSpPr>
            <p:sp>
              <p:nvSpPr>
                <p:cNvPr id="10737" name="Oval 5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8" name="Oval 5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9" name="Oval 5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40" name="Oval 6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 name="Group 61"/>
              <p:cNvGrpSpPr>
                <a:grpSpLocks/>
              </p:cNvGrpSpPr>
              <p:nvPr/>
            </p:nvGrpSpPr>
            <p:grpSpPr bwMode="auto">
              <a:xfrm>
                <a:off x="256" y="1592"/>
                <a:ext cx="319" cy="296"/>
                <a:chOff x="560" y="1368"/>
                <a:chExt cx="264" cy="296"/>
              </a:xfrm>
            </p:grpSpPr>
            <p:sp>
              <p:nvSpPr>
                <p:cNvPr id="10733" name="Oval 6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4" name="Oval 6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5" name="Oval 6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6" name="Oval 6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1" name="Group 66"/>
              <p:cNvGrpSpPr>
                <a:grpSpLocks/>
              </p:cNvGrpSpPr>
              <p:nvPr/>
            </p:nvGrpSpPr>
            <p:grpSpPr bwMode="auto">
              <a:xfrm>
                <a:off x="296" y="1448"/>
                <a:ext cx="319" cy="296"/>
                <a:chOff x="560" y="1368"/>
                <a:chExt cx="264" cy="296"/>
              </a:xfrm>
            </p:grpSpPr>
            <p:sp>
              <p:nvSpPr>
                <p:cNvPr id="10729" name="Oval 6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0" name="Oval 6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1" name="Oval 6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32" name="Oval 7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2" name="Group 71"/>
              <p:cNvGrpSpPr>
                <a:grpSpLocks/>
              </p:cNvGrpSpPr>
              <p:nvPr/>
            </p:nvGrpSpPr>
            <p:grpSpPr bwMode="auto">
              <a:xfrm>
                <a:off x="552" y="1760"/>
                <a:ext cx="319" cy="296"/>
                <a:chOff x="560" y="1368"/>
                <a:chExt cx="264" cy="296"/>
              </a:xfrm>
            </p:grpSpPr>
            <p:sp>
              <p:nvSpPr>
                <p:cNvPr id="10725" name="Oval 7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6" name="Oval 7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7" name="Oval 7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8" name="Oval 7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3" name="Group 76"/>
              <p:cNvGrpSpPr>
                <a:grpSpLocks/>
              </p:cNvGrpSpPr>
              <p:nvPr/>
            </p:nvGrpSpPr>
            <p:grpSpPr bwMode="auto">
              <a:xfrm flipH="1">
                <a:off x="112" y="1680"/>
                <a:ext cx="319" cy="296"/>
                <a:chOff x="560" y="1368"/>
                <a:chExt cx="264" cy="296"/>
              </a:xfrm>
            </p:grpSpPr>
            <p:sp>
              <p:nvSpPr>
                <p:cNvPr id="10721" name="Oval 7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2" name="Oval 7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3" name="Oval 7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4" name="Oval 8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4" name="Group 81"/>
              <p:cNvGrpSpPr>
                <a:grpSpLocks/>
              </p:cNvGrpSpPr>
              <p:nvPr/>
            </p:nvGrpSpPr>
            <p:grpSpPr bwMode="auto">
              <a:xfrm>
                <a:off x="160" y="1656"/>
                <a:ext cx="319" cy="296"/>
                <a:chOff x="560" y="1368"/>
                <a:chExt cx="264" cy="296"/>
              </a:xfrm>
            </p:grpSpPr>
            <p:sp>
              <p:nvSpPr>
                <p:cNvPr id="10717" name="Oval 8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8" name="Oval 8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9" name="Oval 8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20" name="Oval 8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5" name="Group 86"/>
              <p:cNvGrpSpPr>
                <a:grpSpLocks/>
              </p:cNvGrpSpPr>
              <p:nvPr/>
            </p:nvGrpSpPr>
            <p:grpSpPr bwMode="auto">
              <a:xfrm>
                <a:off x="424" y="1368"/>
                <a:ext cx="319" cy="296"/>
                <a:chOff x="560" y="1368"/>
                <a:chExt cx="264" cy="296"/>
              </a:xfrm>
            </p:grpSpPr>
            <p:sp>
              <p:nvSpPr>
                <p:cNvPr id="10713" name="Oval 8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4" name="Oval 8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5" name="Oval 8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6" name="Oval 9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6" name="Group 91"/>
              <p:cNvGrpSpPr>
                <a:grpSpLocks/>
              </p:cNvGrpSpPr>
              <p:nvPr/>
            </p:nvGrpSpPr>
            <p:grpSpPr bwMode="auto">
              <a:xfrm flipH="1">
                <a:off x="600" y="1336"/>
                <a:ext cx="319" cy="296"/>
                <a:chOff x="560" y="1368"/>
                <a:chExt cx="264" cy="296"/>
              </a:xfrm>
            </p:grpSpPr>
            <p:sp>
              <p:nvSpPr>
                <p:cNvPr id="10709" name="Oval 9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0" name="Oval 9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1" name="Oval 9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12" name="Oval 9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7" name="Group 96"/>
              <p:cNvGrpSpPr>
                <a:grpSpLocks/>
              </p:cNvGrpSpPr>
              <p:nvPr/>
            </p:nvGrpSpPr>
            <p:grpSpPr bwMode="auto">
              <a:xfrm flipH="1">
                <a:off x="280" y="1104"/>
                <a:ext cx="319" cy="296"/>
                <a:chOff x="560" y="1368"/>
                <a:chExt cx="264" cy="296"/>
              </a:xfrm>
            </p:grpSpPr>
            <p:sp>
              <p:nvSpPr>
                <p:cNvPr id="10705" name="Oval 9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6" name="Oval 9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7" name="Oval 9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8" name="Oval 10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8" name="Group 101"/>
              <p:cNvGrpSpPr>
                <a:grpSpLocks/>
              </p:cNvGrpSpPr>
              <p:nvPr/>
            </p:nvGrpSpPr>
            <p:grpSpPr bwMode="auto">
              <a:xfrm flipH="1">
                <a:off x="448" y="1216"/>
                <a:ext cx="319" cy="296"/>
                <a:chOff x="560" y="1368"/>
                <a:chExt cx="264" cy="296"/>
              </a:xfrm>
            </p:grpSpPr>
            <p:sp>
              <p:nvSpPr>
                <p:cNvPr id="10701" name="Oval 10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2" name="Oval 10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3" name="Oval 10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4" name="Oval 10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9" name="Group 106"/>
              <p:cNvGrpSpPr>
                <a:grpSpLocks/>
              </p:cNvGrpSpPr>
              <p:nvPr/>
            </p:nvGrpSpPr>
            <p:grpSpPr bwMode="auto">
              <a:xfrm flipH="1">
                <a:off x="208" y="1208"/>
                <a:ext cx="319" cy="296"/>
                <a:chOff x="560" y="1368"/>
                <a:chExt cx="264" cy="296"/>
              </a:xfrm>
            </p:grpSpPr>
            <p:sp>
              <p:nvSpPr>
                <p:cNvPr id="10697" name="Oval 10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8" name="Oval 10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9" name="Oval 10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700" name="Oval 11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0" name="Group 111"/>
              <p:cNvGrpSpPr>
                <a:grpSpLocks/>
              </p:cNvGrpSpPr>
              <p:nvPr/>
            </p:nvGrpSpPr>
            <p:grpSpPr bwMode="auto">
              <a:xfrm flipH="1">
                <a:off x="128" y="920"/>
                <a:ext cx="319" cy="296"/>
                <a:chOff x="560" y="1368"/>
                <a:chExt cx="264" cy="296"/>
              </a:xfrm>
            </p:grpSpPr>
            <p:sp>
              <p:nvSpPr>
                <p:cNvPr id="10693" name="Oval 11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4" name="Oval 11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5" name="Oval 11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6" name="Oval 11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1" name="Group 116"/>
              <p:cNvGrpSpPr>
                <a:grpSpLocks/>
              </p:cNvGrpSpPr>
              <p:nvPr/>
            </p:nvGrpSpPr>
            <p:grpSpPr bwMode="auto">
              <a:xfrm flipH="1">
                <a:off x="104" y="1088"/>
                <a:ext cx="319" cy="296"/>
                <a:chOff x="560" y="1368"/>
                <a:chExt cx="264" cy="296"/>
              </a:xfrm>
            </p:grpSpPr>
            <p:sp>
              <p:nvSpPr>
                <p:cNvPr id="10689" name="Oval 11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0" name="Oval 11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1" name="Oval 11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92" name="Oval 12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2" name="Group 121"/>
              <p:cNvGrpSpPr>
                <a:grpSpLocks/>
              </p:cNvGrpSpPr>
              <p:nvPr/>
            </p:nvGrpSpPr>
            <p:grpSpPr bwMode="auto">
              <a:xfrm flipH="1">
                <a:off x="200" y="1040"/>
                <a:ext cx="319" cy="296"/>
                <a:chOff x="560" y="1368"/>
                <a:chExt cx="264" cy="296"/>
              </a:xfrm>
            </p:grpSpPr>
            <p:sp>
              <p:nvSpPr>
                <p:cNvPr id="10685" name="Oval 12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6" name="Oval 12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7" name="Oval 12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8" name="Oval 12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3" name="Group 126"/>
              <p:cNvGrpSpPr>
                <a:grpSpLocks/>
              </p:cNvGrpSpPr>
              <p:nvPr/>
            </p:nvGrpSpPr>
            <p:grpSpPr bwMode="auto">
              <a:xfrm rot="16200000" flipH="1">
                <a:off x="472" y="1168"/>
                <a:ext cx="319" cy="296"/>
                <a:chOff x="560" y="1368"/>
                <a:chExt cx="264" cy="296"/>
              </a:xfrm>
            </p:grpSpPr>
            <p:sp>
              <p:nvSpPr>
                <p:cNvPr id="10681" name="Oval 12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2" name="Oval 12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3" name="Oval 12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4" name="Oval 13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4" name="Group 131"/>
              <p:cNvGrpSpPr>
                <a:grpSpLocks/>
              </p:cNvGrpSpPr>
              <p:nvPr/>
            </p:nvGrpSpPr>
            <p:grpSpPr bwMode="auto">
              <a:xfrm rot="16200000" flipH="1">
                <a:off x="400" y="1216"/>
                <a:ext cx="319" cy="296"/>
                <a:chOff x="560" y="1368"/>
                <a:chExt cx="264" cy="296"/>
              </a:xfrm>
            </p:grpSpPr>
            <p:sp>
              <p:nvSpPr>
                <p:cNvPr id="10677" name="Oval 13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8" name="Oval 13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9" name="Oval 13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80" name="Oval 13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5" name="Group 136"/>
              <p:cNvGrpSpPr>
                <a:grpSpLocks/>
              </p:cNvGrpSpPr>
              <p:nvPr/>
            </p:nvGrpSpPr>
            <p:grpSpPr bwMode="auto">
              <a:xfrm rot="16200000" flipH="1">
                <a:off x="312" y="1368"/>
                <a:ext cx="319" cy="296"/>
                <a:chOff x="560" y="1368"/>
                <a:chExt cx="264" cy="296"/>
              </a:xfrm>
            </p:grpSpPr>
            <p:sp>
              <p:nvSpPr>
                <p:cNvPr id="10673" name="Oval 13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4" name="Oval 13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5" name="Oval 13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6" name="Oval 14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6" name="Group 141"/>
              <p:cNvGrpSpPr>
                <a:grpSpLocks/>
              </p:cNvGrpSpPr>
              <p:nvPr/>
            </p:nvGrpSpPr>
            <p:grpSpPr bwMode="auto">
              <a:xfrm flipH="1">
                <a:off x="704" y="1552"/>
                <a:ext cx="319" cy="296"/>
                <a:chOff x="560" y="1368"/>
                <a:chExt cx="264" cy="296"/>
              </a:xfrm>
            </p:grpSpPr>
            <p:sp>
              <p:nvSpPr>
                <p:cNvPr id="10669" name="Oval 14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0" name="Oval 14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1" name="Oval 14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72" name="Oval 14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7" name="Group 146"/>
              <p:cNvGrpSpPr>
                <a:grpSpLocks/>
              </p:cNvGrpSpPr>
              <p:nvPr/>
            </p:nvGrpSpPr>
            <p:grpSpPr bwMode="auto">
              <a:xfrm flipH="1">
                <a:off x="112" y="1304"/>
                <a:ext cx="319" cy="296"/>
                <a:chOff x="560" y="1368"/>
                <a:chExt cx="264" cy="296"/>
              </a:xfrm>
            </p:grpSpPr>
            <p:sp>
              <p:nvSpPr>
                <p:cNvPr id="10665" name="Oval 14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6" name="Oval 14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7" name="Oval 14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8" name="Oval 15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8" name="Group 151"/>
              <p:cNvGrpSpPr>
                <a:grpSpLocks/>
              </p:cNvGrpSpPr>
              <p:nvPr/>
            </p:nvGrpSpPr>
            <p:grpSpPr bwMode="auto">
              <a:xfrm rot="16200000" flipH="1">
                <a:off x="112" y="1560"/>
                <a:ext cx="319" cy="296"/>
                <a:chOff x="560" y="1368"/>
                <a:chExt cx="264" cy="296"/>
              </a:xfrm>
            </p:grpSpPr>
            <p:sp>
              <p:nvSpPr>
                <p:cNvPr id="10661" name="Oval 15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2" name="Oval 15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3" name="Oval 15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4" name="Oval 15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29" name="Group 156"/>
              <p:cNvGrpSpPr>
                <a:grpSpLocks/>
              </p:cNvGrpSpPr>
              <p:nvPr/>
            </p:nvGrpSpPr>
            <p:grpSpPr bwMode="auto">
              <a:xfrm rot="16200000" flipH="1">
                <a:off x="128" y="1192"/>
                <a:ext cx="319" cy="296"/>
                <a:chOff x="560" y="1368"/>
                <a:chExt cx="264" cy="296"/>
              </a:xfrm>
            </p:grpSpPr>
            <p:sp>
              <p:nvSpPr>
                <p:cNvPr id="10657" name="Oval 157"/>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58" name="Oval 158"/>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59" name="Oval 159"/>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60" name="Oval 160"/>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grpSp>
          <p:nvGrpSpPr>
            <p:cNvPr id="30" name="Group 161"/>
            <p:cNvGrpSpPr>
              <a:grpSpLocks/>
            </p:cNvGrpSpPr>
            <p:nvPr/>
          </p:nvGrpSpPr>
          <p:grpSpPr bwMode="auto">
            <a:xfrm flipV="1">
              <a:off x="215412" y="3458308"/>
              <a:ext cx="1459523" cy="1664677"/>
              <a:chOff x="104" y="920"/>
              <a:chExt cx="919" cy="1136"/>
            </a:xfrm>
            <a:effectLst>
              <a:outerShdw blurRad="50800" dist="38100" dir="2700000" algn="tl" rotWithShape="0">
                <a:prstClr val="black">
                  <a:alpha val="40000"/>
                </a:prstClr>
              </a:outerShdw>
            </a:effectLst>
          </p:grpSpPr>
          <p:grpSp>
            <p:nvGrpSpPr>
              <p:cNvPr id="31" name="Group 162"/>
              <p:cNvGrpSpPr>
                <a:grpSpLocks/>
              </p:cNvGrpSpPr>
              <p:nvPr/>
            </p:nvGrpSpPr>
            <p:grpSpPr bwMode="auto">
              <a:xfrm>
                <a:off x="414" y="1568"/>
                <a:ext cx="319" cy="296"/>
                <a:chOff x="560" y="1368"/>
                <a:chExt cx="264" cy="296"/>
              </a:xfrm>
            </p:grpSpPr>
            <p:sp>
              <p:nvSpPr>
                <p:cNvPr id="10626" name="Oval 16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7" name="Oval 16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8" name="Oval 16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9" name="Oval 16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04" name="Group 167"/>
              <p:cNvGrpSpPr>
                <a:grpSpLocks/>
              </p:cNvGrpSpPr>
              <p:nvPr/>
            </p:nvGrpSpPr>
            <p:grpSpPr bwMode="auto">
              <a:xfrm>
                <a:off x="317" y="1688"/>
                <a:ext cx="319" cy="296"/>
                <a:chOff x="560" y="1368"/>
                <a:chExt cx="264" cy="296"/>
              </a:xfrm>
            </p:grpSpPr>
            <p:sp>
              <p:nvSpPr>
                <p:cNvPr id="10622" name="Oval 16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3" name="Oval 16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4" name="Oval 17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5" name="Oval 17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05" name="Group 172"/>
              <p:cNvGrpSpPr>
                <a:grpSpLocks/>
              </p:cNvGrpSpPr>
              <p:nvPr/>
            </p:nvGrpSpPr>
            <p:grpSpPr bwMode="auto">
              <a:xfrm>
                <a:off x="665" y="1616"/>
                <a:ext cx="319" cy="296"/>
                <a:chOff x="560" y="1368"/>
                <a:chExt cx="264" cy="296"/>
              </a:xfrm>
            </p:grpSpPr>
            <p:sp>
              <p:nvSpPr>
                <p:cNvPr id="10618" name="Oval 17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9" name="Oval 17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0" name="Oval 17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21" name="Oval 17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06" name="Group 177"/>
              <p:cNvGrpSpPr>
                <a:grpSpLocks/>
              </p:cNvGrpSpPr>
              <p:nvPr/>
            </p:nvGrpSpPr>
            <p:grpSpPr bwMode="auto">
              <a:xfrm>
                <a:off x="644" y="1536"/>
                <a:ext cx="319" cy="296"/>
                <a:chOff x="560" y="1368"/>
                <a:chExt cx="264" cy="296"/>
              </a:xfrm>
            </p:grpSpPr>
            <p:sp>
              <p:nvSpPr>
                <p:cNvPr id="10614" name="Oval 17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5" name="Oval 17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6" name="Oval 18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7" name="Oval 18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07" name="Group 182"/>
              <p:cNvGrpSpPr>
                <a:grpSpLocks/>
              </p:cNvGrpSpPr>
              <p:nvPr/>
            </p:nvGrpSpPr>
            <p:grpSpPr bwMode="auto">
              <a:xfrm>
                <a:off x="584" y="1560"/>
                <a:ext cx="319" cy="296"/>
                <a:chOff x="560" y="1368"/>
                <a:chExt cx="264" cy="296"/>
              </a:xfrm>
            </p:grpSpPr>
            <p:sp>
              <p:nvSpPr>
                <p:cNvPr id="10610" name="Oval 18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1" name="Oval 18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2" name="Oval 18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13" name="Oval 18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08" name="Group 187"/>
              <p:cNvGrpSpPr>
                <a:grpSpLocks/>
              </p:cNvGrpSpPr>
              <p:nvPr/>
            </p:nvGrpSpPr>
            <p:grpSpPr bwMode="auto">
              <a:xfrm>
                <a:off x="456" y="1232"/>
                <a:ext cx="319" cy="296"/>
                <a:chOff x="560" y="1368"/>
                <a:chExt cx="264" cy="296"/>
              </a:xfrm>
            </p:grpSpPr>
            <p:sp>
              <p:nvSpPr>
                <p:cNvPr id="10606" name="Oval 18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7" name="Oval 18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8" name="Oval 19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9" name="Oval 19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89" name="Group 192"/>
              <p:cNvGrpSpPr>
                <a:grpSpLocks/>
              </p:cNvGrpSpPr>
              <p:nvPr/>
            </p:nvGrpSpPr>
            <p:grpSpPr bwMode="auto">
              <a:xfrm>
                <a:off x="144" y="1376"/>
                <a:ext cx="319" cy="296"/>
                <a:chOff x="560" y="1368"/>
                <a:chExt cx="264" cy="296"/>
              </a:xfrm>
            </p:grpSpPr>
            <p:sp>
              <p:nvSpPr>
                <p:cNvPr id="10602" name="Oval 19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3" name="Oval 19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4" name="Oval 19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5" name="Oval 19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2" name="Group 197"/>
              <p:cNvGrpSpPr>
                <a:grpSpLocks/>
              </p:cNvGrpSpPr>
              <p:nvPr/>
            </p:nvGrpSpPr>
            <p:grpSpPr bwMode="auto">
              <a:xfrm>
                <a:off x="256" y="1592"/>
                <a:ext cx="319" cy="296"/>
                <a:chOff x="560" y="1368"/>
                <a:chExt cx="264" cy="296"/>
              </a:xfrm>
            </p:grpSpPr>
            <p:sp>
              <p:nvSpPr>
                <p:cNvPr id="10598" name="Oval 19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9" name="Oval 19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0" name="Oval 20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601" name="Oval 20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3" name="Group 202"/>
              <p:cNvGrpSpPr>
                <a:grpSpLocks/>
              </p:cNvGrpSpPr>
              <p:nvPr/>
            </p:nvGrpSpPr>
            <p:grpSpPr bwMode="auto">
              <a:xfrm>
                <a:off x="296" y="1448"/>
                <a:ext cx="319" cy="296"/>
                <a:chOff x="560" y="1368"/>
                <a:chExt cx="264" cy="296"/>
              </a:xfrm>
            </p:grpSpPr>
            <p:sp>
              <p:nvSpPr>
                <p:cNvPr id="10594" name="Oval 20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5" name="Oval 20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6" name="Oval 20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7" name="Oval 20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4" name="Group 207"/>
              <p:cNvGrpSpPr>
                <a:grpSpLocks/>
              </p:cNvGrpSpPr>
              <p:nvPr/>
            </p:nvGrpSpPr>
            <p:grpSpPr bwMode="auto">
              <a:xfrm>
                <a:off x="552" y="1760"/>
                <a:ext cx="319" cy="296"/>
                <a:chOff x="560" y="1368"/>
                <a:chExt cx="264" cy="296"/>
              </a:xfrm>
            </p:grpSpPr>
            <p:sp>
              <p:nvSpPr>
                <p:cNvPr id="10590" name="Oval 20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1" name="Oval 20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2" name="Oval 21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93" name="Oval 21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5" name="Group 212"/>
              <p:cNvGrpSpPr>
                <a:grpSpLocks/>
              </p:cNvGrpSpPr>
              <p:nvPr/>
            </p:nvGrpSpPr>
            <p:grpSpPr bwMode="auto">
              <a:xfrm flipH="1">
                <a:off x="112" y="1680"/>
                <a:ext cx="319" cy="296"/>
                <a:chOff x="560" y="1368"/>
                <a:chExt cx="264" cy="296"/>
              </a:xfrm>
            </p:grpSpPr>
            <p:sp>
              <p:nvSpPr>
                <p:cNvPr id="10586" name="Oval 21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7" name="Oval 21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8" name="Oval 21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9" name="Oval 21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6" name="Group 217"/>
              <p:cNvGrpSpPr>
                <a:grpSpLocks/>
              </p:cNvGrpSpPr>
              <p:nvPr/>
            </p:nvGrpSpPr>
            <p:grpSpPr bwMode="auto">
              <a:xfrm>
                <a:off x="160" y="1656"/>
                <a:ext cx="319" cy="296"/>
                <a:chOff x="560" y="1368"/>
                <a:chExt cx="264" cy="296"/>
              </a:xfrm>
            </p:grpSpPr>
            <p:sp>
              <p:nvSpPr>
                <p:cNvPr id="10582" name="Oval 21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3" name="Oval 21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4" name="Oval 22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5" name="Oval 22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7" name="Group 222"/>
              <p:cNvGrpSpPr>
                <a:grpSpLocks/>
              </p:cNvGrpSpPr>
              <p:nvPr/>
            </p:nvGrpSpPr>
            <p:grpSpPr bwMode="auto">
              <a:xfrm>
                <a:off x="424" y="1368"/>
                <a:ext cx="319" cy="296"/>
                <a:chOff x="560" y="1368"/>
                <a:chExt cx="264" cy="296"/>
              </a:xfrm>
            </p:grpSpPr>
            <p:sp>
              <p:nvSpPr>
                <p:cNvPr id="10578" name="Oval 22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9" name="Oval 22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0" name="Oval 22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81" name="Oval 22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8" name="Group 227"/>
              <p:cNvGrpSpPr>
                <a:grpSpLocks/>
              </p:cNvGrpSpPr>
              <p:nvPr/>
            </p:nvGrpSpPr>
            <p:grpSpPr bwMode="auto">
              <a:xfrm flipH="1">
                <a:off x="600" y="1336"/>
                <a:ext cx="319" cy="296"/>
                <a:chOff x="560" y="1368"/>
                <a:chExt cx="264" cy="296"/>
              </a:xfrm>
            </p:grpSpPr>
            <p:sp>
              <p:nvSpPr>
                <p:cNvPr id="10574" name="Oval 22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5" name="Oval 22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6" name="Oval 23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7" name="Oval 23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399" name="Group 232"/>
              <p:cNvGrpSpPr>
                <a:grpSpLocks/>
              </p:cNvGrpSpPr>
              <p:nvPr/>
            </p:nvGrpSpPr>
            <p:grpSpPr bwMode="auto">
              <a:xfrm flipH="1">
                <a:off x="280" y="1104"/>
                <a:ext cx="319" cy="296"/>
                <a:chOff x="560" y="1368"/>
                <a:chExt cx="264" cy="296"/>
              </a:xfrm>
            </p:grpSpPr>
            <p:sp>
              <p:nvSpPr>
                <p:cNvPr id="10570" name="Oval 23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1" name="Oval 23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2" name="Oval 23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73" name="Oval 23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0" name="Group 237"/>
              <p:cNvGrpSpPr>
                <a:grpSpLocks/>
              </p:cNvGrpSpPr>
              <p:nvPr/>
            </p:nvGrpSpPr>
            <p:grpSpPr bwMode="auto">
              <a:xfrm flipH="1">
                <a:off x="448" y="1216"/>
                <a:ext cx="319" cy="296"/>
                <a:chOff x="560" y="1368"/>
                <a:chExt cx="264" cy="296"/>
              </a:xfrm>
            </p:grpSpPr>
            <p:sp>
              <p:nvSpPr>
                <p:cNvPr id="10566" name="Oval 23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7" name="Oval 23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8" name="Oval 24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9" name="Oval 24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1" name="Group 242"/>
              <p:cNvGrpSpPr>
                <a:grpSpLocks/>
              </p:cNvGrpSpPr>
              <p:nvPr/>
            </p:nvGrpSpPr>
            <p:grpSpPr bwMode="auto">
              <a:xfrm flipH="1">
                <a:off x="208" y="1208"/>
                <a:ext cx="319" cy="296"/>
                <a:chOff x="560" y="1368"/>
                <a:chExt cx="264" cy="296"/>
              </a:xfrm>
            </p:grpSpPr>
            <p:sp>
              <p:nvSpPr>
                <p:cNvPr id="10562" name="Oval 24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3" name="Oval 24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4" name="Oval 24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5" name="Oval 24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2" name="Group 247"/>
              <p:cNvGrpSpPr>
                <a:grpSpLocks/>
              </p:cNvGrpSpPr>
              <p:nvPr/>
            </p:nvGrpSpPr>
            <p:grpSpPr bwMode="auto">
              <a:xfrm flipH="1">
                <a:off x="128" y="920"/>
                <a:ext cx="319" cy="296"/>
                <a:chOff x="560" y="1368"/>
                <a:chExt cx="264" cy="296"/>
              </a:xfrm>
            </p:grpSpPr>
            <p:sp>
              <p:nvSpPr>
                <p:cNvPr id="10558" name="Oval 24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9" name="Oval 24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0" name="Oval 25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61" name="Oval 25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3" name="Group 252"/>
              <p:cNvGrpSpPr>
                <a:grpSpLocks/>
              </p:cNvGrpSpPr>
              <p:nvPr/>
            </p:nvGrpSpPr>
            <p:grpSpPr bwMode="auto">
              <a:xfrm flipH="1">
                <a:off x="104" y="1088"/>
                <a:ext cx="319" cy="296"/>
                <a:chOff x="560" y="1368"/>
                <a:chExt cx="264" cy="296"/>
              </a:xfrm>
            </p:grpSpPr>
            <p:sp>
              <p:nvSpPr>
                <p:cNvPr id="10554" name="Oval 25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5" name="Oval 25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6" name="Oval 25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7" name="Oval 25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4" name="Group 257"/>
              <p:cNvGrpSpPr>
                <a:grpSpLocks/>
              </p:cNvGrpSpPr>
              <p:nvPr/>
            </p:nvGrpSpPr>
            <p:grpSpPr bwMode="auto">
              <a:xfrm flipH="1">
                <a:off x="200" y="1040"/>
                <a:ext cx="319" cy="296"/>
                <a:chOff x="560" y="1368"/>
                <a:chExt cx="264" cy="296"/>
              </a:xfrm>
            </p:grpSpPr>
            <p:sp>
              <p:nvSpPr>
                <p:cNvPr id="10550" name="Oval 25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1" name="Oval 25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2" name="Oval 26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53" name="Oval 26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5" name="Group 262"/>
              <p:cNvGrpSpPr>
                <a:grpSpLocks/>
              </p:cNvGrpSpPr>
              <p:nvPr/>
            </p:nvGrpSpPr>
            <p:grpSpPr bwMode="auto">
              <a:xfrm rot="16200000" flipH="1">
                <a:off x="472" y="1168"/>
                <a:ext cx="319" cy="296"/>
                <a:chOff x="560" y="1368"/>
                <a:chExt cx="264" cy="296"/>
              </a:xfrm>
            </p:grpSpPr>
            <p:sp>
              <p:nvSpPr>
                <p:cNvPr id="10546" name="Oval 26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7" name="Oval 26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8" name="Oval 26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9" name="Oval 26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06" name="Group 267"/>
              <p:cNvGrpSpPr>
                <a:grpSpLocks/>
              </p:cNvGrpSpPr>
              <p:nvPr/>
            </p:nvGrpSpPr>
            <p:grpSpPr bwMode="auto">
              <a:xfrm rot="16200000" flipH="1">
                <a:off x="400" y="1216"/>
                <a:ext cx="319" cy="296"/>
                <a:chOff x="560" y="1368"/>
                <a:chExt cx="264" cy="296"/>
              </a:xfrm>
            </p:grpSpPr>
            <p:sp>
              <p:nvSpPr>
                <p:cNvPr id="10542" name="Oval 26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3" name="Oval 26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4" name="Oval 27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5" name="Oval 27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76" name="Group 272"/>
              <p:cNvGrpSpPr>
                <a:grpSpLocks/>
              </p:cNvGrpSpPr>
              <p:nvPr/>
            </p:nvGrpSpPr>
            <p:grpSpPr bwMode="auto">
              <a:xfrm rot="16200000" flipH="1">
                <a:off x="312" y="1368"/>
                <a:ext cx="319" cy="296"/>
                <a:chOff x="560" y="1368"/>
                <a:chExt cx="264" cy="296"/>
              </a:xfrm>
            </p:grpSpPr>
            <p:sp>
              <p:nvSpPr>
                <p:cNvPr id="10538" name="Oval 27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9" name="Oval 27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0" name="Oval 27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41" name="Oval 27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77" name="Group 277"/>
              <p:cNvGrpSpPr>
                <a:grpSpLocks/>
              </p:cNvGrpSpPr>
              <p:nvPr/>
            </p:nvGrpSpPr>
            <p:grpSpPr bwMode="auto">
              <a:xfrm flipH="1">
                <a:off x="704" y="1552"/>
                <a:ext cx="319" cy="296"/>
                <a:chOff x="560" y="1368"/>
                <a:chExt cx="264" cy="296"/>
              </a:xfrm>
            </p:grpSpPr>
            <p:sp>
              <p:nvSpPr>
                <p:cNvPr id="10534" name="Oval 27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5" name="Oval 27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6" name="Oval 28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7" name="Oval 28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78" name="Group 282"/>
              <p:cNvGrpSpPr>
                <a:grpSpLocks/>
              </p:cNvGrpSpPr>
              <p:nvPr/>
            </p:nvGrpSpPr>
            <p:grpSpPr bwMode="auto">
              <a:xfrm flipH="1">
                <a:off x="112" y="1304"/>
                <a:ext cx="319" cy="296"/>
                <a:chOff x="560" y="1368"/>
                <a:chExt cx="264" cy="296"/>
              </a:xfrm>
            </p:grpSpPr>
            <p:sp>
              <p:nvSpPr>
                <p:cNvPr id="10530" name="Oval 28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1" name="Oval 28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2" name="Oval 28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33" name="Oval 28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79" name="Group 287"/>
              <p:cNvGrpSpPr>
                <a:grpSpLocks/>
              </p:cNvGrpSpPr>
              <p:nvPr/>
            </p:nvGrpSpPr>
            <p:grpSpPr bwMode="auto">
              <a:xfrm rot="16200000" flipH="1">
                <a:off x="112" y="1560"/>
                <a:ext cx="319" cy="296"/>
                <a:chOff x="560" y="1368"/>
                <a:chExt cx="264" cy="296"/>
              </a:xfrm>
            </p:grpSpPr>
            <p:sp>
              <p:nvSpPr>
                <p:cNvPr id="10526" name="Oval 28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7" name="Oval 28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8" name="Oval 29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9" name="Oval 29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0" name="Group 292"/>
              <p:cNvGrpSpPr>
                <a:grpSpLocks/>
              </p:cNvGrpSpPr>
              <p:nvPr/>
            </p:nvGrpSpPr>
            <p:grpSpPr bwMode="auto">
              <a:xfrm rot="16200000" flipH="1">
                <a:off x="128" y="1192"/>
                <a:ext cx="319" cy="296"/>
                <a:chOff x="560" y="1368"/>
                <a:chExt cx="264" cy="296"/>
              </a:xfrm>
            </p:grpSpPr>
            <p:sp>
              <p:nvSpPr>
                <p:cNvPr id="10522" name="Oval 29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3" name="Oval 29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4" name="Oval 29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525" name="Oval 29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grpSp>
          <p:nvGrpSpPr>
            <p:cNvPr id="50181" name="Group 297"/>
            <p:cNvGrpSpPr>
              <a:grpSpLocks/>
            </p:cNvGrpSpPr>
            <p:nvPr/>
          </p:nvGrpSpPr>
          <p:grpSpPr bwMode="auto">
            <a:xfrm>
              <a:off x="2743200" y="2930769"/>
              <a:ext cx="505558" cy="433754"/>
              <a:chOff x="560" y="1368"/>
              <a:chExt cx="264" cy="296"/>
            </a:xfrm>
            <a:effectLst>
              <a:outerShdw blurRad="50800" dist="38100" dir="2700000" algn="tl" rotWithShape="0">
                <a:prstClr val="black">
                  <a:alpha val="40000"/>
                </a:prstClr>
              </a:outerShdw>
            </a:effectLst>
          </p:grpSpPr>
          <p:sp>
            <p:nvSpPr>
              <p:cNvPr id="10491" name="Oval 29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92" name="Oval 29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93" name="Oval 30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94" name="Oval 30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2" name="Group 302"/>
            <p:cNvGrpSpPr>
              <a:grpSpLocks/>
            </p:cNvGrpSpPr>
            <p:nvPr/>
          </p:nvGrpSpPr>
          <p:grpSpPr bwMode="auto">
            <a:xfrm>
              <a:off x="2768113" y="3341077"/>
              <a:ext cx="507023" cy="433754"/>
              <a:chOff x="560" y="1368"/>
              <a:chExt cx="264" cy="296"/>
            </a:xfrm>
            <a:effectLst>
              <a:outerShdw blurRad="50800" dist="38100" dir="2700000" algn="tl" rotWithShape="0">
                <a:prstClr val="black">
                  <a:alpha val="40000"/>
                </a:prstClr>
              </a:outerShdw>
            </a:effectLst>
          </p:grpSpPr>
          <p:sp>
            <p:nvSpPr>
              <p:cNvPr id="10487" name="Oval 30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8" name="Oval 30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9" name="Oval 30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90" name="Oval 30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3" name="Group 307"/>
            <p:cNvGrpSpPr>
              <a:grpSpLocks/>
            </p:cNvGrpSpPr>
            <p:nvPr/>
          </p:nvGrpSpPr>
          <p:grpSpPr bwMode="auto">
            <a:xfrm flipV="1">
              <a:off x="2754924" y="3810000"/>
              <a:ext cx="507023" cy="433754"/>
              <a:chOff x="560" y="1368"/>
              <a:chExt cx="264" cy="296"/>
            </a:xfrm>
            <a:effectLst>
              <a:outerShdw blurRad="50800" dist="38100" dir="2700000" algn="tl" rotWithShape="0">
                <a:prstClr val="black">
                  <a:alpha val="40000"/>
                </a:prstClr>
              </a:outerShdw>
            </a:effectLst>
          </p:grpSpPr>
          <p:sp>
            <p:nvSpPr>
              <p:cNvPr id="10483" name="Oval 30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4" name="Oval 30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5" name="Oval 31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6" name="Oval 31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4" name="Group 312"/>
            <p:cNvGrpSpPr>
              <a:grpSpLocks/>
            </p:cNvGrpSpPr>
            <p:nvPr/>
          </p:nvGrpSpPr>
          <p:grpSpPr bwMode="auto">
            <a:xfrm flipV="1">
              <a:off x="2781300" y="3399692"/>
              <a:ext cx="505558" cy="433754"/>
              <a:chOff x="560" y="1368"/>
              <a:chExt cx="264" cy="296"/>
            </a:xfrm>
            <a:effectLst>
              <a:outerShdw blurRad="50800" dist="38100" dir="2700000" algn="tl" rotWithShape="0">
                <a:prstClr val="black">
                  <a:alpha val="40000"/>
                </a:prstClr>
              </a:outerShdw>
            </a:effectLst>
          </p:grpSpPr>
          <p:sp>
            <p:nvSpPr>
              <p:cNvPr id="10479" name="Oval 313"/>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0" name="Oval 314"/>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1" name="Oval 315"/>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82" name="Oval 316"/>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5" name="Group 317"/>
            <p:cNvGrpSpPr>
              <a:grpSpLocks/>
            </p:cNvGrpSpPr>
            <p:nvPr/>
          </p:nvGrpSpPr>
          <p:grpSpPr bwMode="auto">
            <a:xfrm>
              <a:off x="2074985" y="5503985"/>
              <a:ext cx="467458" cy="467458"/>
              <a:chOff x="963" y="3236"/>
              <a:chExt cx="296" cy="319"/>
            </a:xfrm>
            <a:effectLst>
              <a:outerShdw blurRad="50800" dist="38100" dir="2700000" algn="tl" rotWithShape="0">
                <a:prstClr val="black">
                  <a:alpha val="40000"/>
                </a:prstClr>
              </a:outerShdw>
            </a:effectLst>
          </p:grpSpPr>
          <p:sp>
            <p:nvSpPr>
              <p:cNvPr id="10475" name="Oval 31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6" name="Oval 31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7" name="Oval 32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8" name="Oval 32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6" name="Group 322"/>
            <p:cNvGrpSpPr>
              <a:grpSpLocks/>
            </p:cNvGrpSpPr>
            <p:nvPr/>
          </p:nvGrpSpPr>
          <p:grpSpPr bwMode="auto">
            <a:xfrm flipH="1" flipV="1">
              <a:off x="2480897" y="5433647"/>
              <a:ext cx="470388" cy="467458"/>
              <a:chOff x="963" y="3236"/>
              <a:chExt cx="296" cy="319"/>
            </a:xfrm>
            <a:effectLst>
              <a:outerShdw blurRad="50800" dist="38100" dir="2700000" algn="tl" rotWithShape="0">
                <a:prstClr val="black">
                  <a:alpha val="40000"/>
                </a:prstClr>
              </a:outerShdw>
            </a:effectLst>
          </p:grpSpPr>
          <p:sp>
            <p:nvSpPr>
              <p:cNvPr id="10471" name="Oval 32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2" name="Oval 32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3" name="Oval 32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4" name="Oval 32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87" name="Group 327"/>
            <p:cNvGrpSpPr>
              <a:grpSpLocks/>
            </p:cNvGrpSpPr>
            <p:nvPr/>
          </p:nvGrpSpPr>
          <p:grpSpPr bwMode="auto">
            <a:xfrm>
              <a:off x="2844313" y="2684585"/>
              <a:ext cx="1116623" cy="1805354"/>
              <a:chOff x="1824" y="1568"/>
              <a:chExt cx="703" cy="1232"/>
            </a:xfrm>
            <a:effectLst>
              <a:outerShdw blurRad="50800" dist="38100" dir="2700000" algn="tl" rotWithShape="0">
                <a:prstClr val="black">
                  <a:alpha val="40000"/>
                </a:prstClr>
              </a:outerShdw>
            </a:effectLst>
          </p:grpSpPr>
          <p:grpSp>
            <p:nvGrpSpPr>
              <p:cNvPr id="50188" name="Group 328"/>
              <p:cNvGrpSpPr>
                <a:grpSpLocks/>
              </p:cNvGrpSpPr>
              <p:nvPr/>
            </p:nvGrpSpPr>
            <p:grpSpPr bwMode="auto">
              <a:xfrm flipH="1">
                <a:off x="2160" y="2008"/>
                <a:ext cx="319" cy="296"/>
                <a:chOff x="560" y="1368"/>
                <a:chExt cx="264" cy="296"/>
              </a:xfrm>
            </p:grpSpPr>
            <p:sp>
              <p:nvSpPr>
                <p:cNvPr id="10467" name="Oval 3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8" name="Oval 3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9" name="Oval 3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70" name="Oval 3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sp>
            <p:nvSpPr>
              <p:cNvPr id="10390" name="Oval 333"/>
              <p:cNvSpPr>
                <a:spLocks noChangeArrowheads="1"/>
              </p:cNvSpPr>
              <p:nvPr/>
            </p:nvSpPr>
            <p:spPr bwMode="auto">
              <a:xfrm>
                <a:off x="1966" y="1616"/>
                <a:ext cx="17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91" name="Oval 334"/>
              <p:cNvSpPr>
                <a:spLocks noChangeArrowheads="1"/>
              </p:cNvSpPr>
              <p:nvPr/>
            </p:nvSpPr>
            <p:spPr bwMode="auto">
              <a:xfrm>
                <a:off x="2001" y="1568"/>
                <a:ext cx="106"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nvGrpSpPr>
              <p:cNvPr id="50190" name="Group 335"/>
              <p:cNvGrpSpPr>
                <a:grpSpLocks/>
              </p:cNvGrpSpPr>
              <p:nvPr/>
            </p:nvGrpSpPr>
            <p:grpSpPr bwMode="auto">
              <a:xfrm>
                <a:off x="2030" y="1928"/>
                <a:ext cx="319" cy="296"/>
                <a:chOff x="560" y="1368"/>
                <a:chExt cx="264" cy="296"/>
              </a:xfrm>
            </p:grpSpPr>
            <p:sp>
              <p:nvSpPr>
                <p:cNvPr id="10463" name="Oval 33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4" name="Oval 33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5" name="Oval 33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6" name="Oval 33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1" name="Group 340"/>
              <p:cNvGrpSpPr>
                <a:grpSpLocks/>
              </p:cNvGrpSpPr>
              <p:nvPr/>
            </p:nvGrpSpPr>
            <p:grpSpPr bwMode="auto">
              <a:xfrm>
                <a:off x="1933" y="2048"/>
                <a:ext cx="319" cy="296"/>
                <a:chOff x="560" y="1368"/>
                <a:chExt cx="264" cy="296"/>
              </a:xfrm>
            </p:grpSpPr>
            <p:sp>
              <p:nvSpPr>
                <p:cNvPr id="10459" name="Oval 34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0" name="Oval 34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1" name="Oval 34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62" name="Oval 34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2" name="Group 345"/>
              <p:cNvGrpSpPr>
                <a:grpSpLocks/>
              </p:cNvGrpSpPr>
              <p:nvPr/>
            </p:nvGrpSpPr>
            <p:grpSpPr bwMode="auto">
              <a:xfrm>
                <a:off x="2204" y="1864"/>
                <a:ext cx="319" cy="296"/>
                <a:chOff x="560" y="1368"/>
                <a:chExt cx="264" cy="296"/>
              </a:xfrm>
            </p:grpSpPr>
            <p:sp>
              <p:nvSpPr>
                <p:cNvPr id="10455" name="Oval 34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6" name="Oval 34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7" name="Oval 34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8" name="Oval 34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3" name="Group 350"/>
              <p:cNvGrpSpPr>
                <a:grpSpLocks/>
              </p:cNvGrpSpPr>
              <p:nvPr/>
            </p:nvGrpSpPr>
            <p:grpSpPr bwMode="auto">
              <a:xfrm>
                <a:off x="1872" y="1952"/>
                <a:ext cx="319" cy="296"/>
                <a:chOff x="560" y="1368"/>
                <a:chExt cx="264" cy="296"/>
              </a:xfrm>
            </p:grpSpPr>
            <p:sp>
              <p:nvSpPr>
                <p:cNvPr id="10451" name="Oval 35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2" name="Oval 35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3" name="Oval 35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4" name="Oval 35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4" name="Group 355"/>
              <p:cNvGrpSpPr>
                <a:grpSpLocks/>
              </p:cNvGrpSpPr>
              <p:nvPr/>
            </p:nvGrpSpPr>
            <p:grpSpPr bwMode="auto">
              <a:xfrm>
                <a:off x="1912" y="1808"/>
                <a:ext cx="319" cy="296"/>
                <a:chOff x="560" y="1368"/>
                <a:chExt cx="264" cy="296"/>
              </a:xfrm>
            </p:grpSpPr>
            <p:sp>
              <p:nvSpPr>
                <p:cNvPr id="10447" name="Oval 35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8" name="Oval 35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9" name="Oval 35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50" name="Oval 35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5" name="Group 360"/>
              <p:cNvGrpSpPr>
                <a:grpSpLocks/>
              </p:cNvGrpSpPr>
              <p:nvPr/>
            </p:nvGrpSpPr>
            <p:grpSpPr bwMode="auto">
              <a:xfrm>
                <a:off x="2168" y="2120"/>
                <a:ext cx="319" cy="296"/>
                <a:chOff x="560" y="1368"/>
                <a:chExt cx="264" cy="296"/>
              </a:xfrm>
            </p:grpSpPr>
            <p:sp>
              <p:nvSpPr>
                <p:cNvPr id="10443" name="Oval 36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4" name="Oval 36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5" name="Oval 36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6" name="Oval 36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6" name="Group 365"/>
              <p:cNvGrpSpPr>
                <a:grpSpLocks/>
              </p:cNvGrpSpPr>
              <p:nvPr/>
            </p:nvGrpSpPr>
            <p:grpSpPr bwMode="auto">
              <a:xfrm>
                <a:off x="2040" y="1728"/>
                <a:ext cx="319" cy="296"/>
                <a:chOff x="560" y="1368"/>
                <a:chExt cx="264" cy="296"/>
              </a:xfrm>
            </p:grpSpPr>
            <p:sp>
              <p:nvSpPr>
                <p:cNvPr id="10439" name="Oval 36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0" name="Oval 36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1" name="Oval 36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42" name="Oval 36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7" name="Group 370"/>
              <p:cNvGrpSpPr>
                <a:grpSpLocks/>
              </p:cNvGrpSpPr>
              <p:nvPr/>
            </p:nvGrpSpPr>
            <p:grpSpPr bwMode="auto">
              <a:xfrm flipH="1">
                <a:off x="1824" y="1568"/>
                <a:ext cx="319" cy="296"/>
                <a:chOff x="560" y="1368"/>
                <a:chExt cx="264" cy="296"/>
              </a:xfrm>
            </p:grpSpPr>
            <p:sp>
              <p:nvSpPr>
                <p:cNvPr id="10435" name="Oval 37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6" name="Oval 37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7" name="Oval 37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8" name="Oval 37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8" name="Group 375"/>
              <p:cNvGrpSpPr>
                <a:grpSpLocks/>
              </p:cNvGrpSpPr>
              <p:nvPr/>
            </p:nvGrpSpPr>
            <p:grpSpPr bwMode="auto">
              <a:xfrm flipV="1">
                <a:off x="2038" y="2144"/>
                <a:ext cx="319" cy="296"/>
                <a:chOff x="560" y="1368"/>
                <a:chExt cx="264" cy="296"/>
              </a:xfrm>
            </p:grpSpPr>
            <p:sp>
              <p:nvSpPr>
                <p:cNvPr id="10431" name="Oval 37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2" name="Oval 37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3" name="Oval 37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4" name="Oval 37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199" name="Group 380"/>
              <p:cNvGrpSpPr>
                <a:grpSpLocks/>
              </p:cNvGrpSpPr>
              <p:nvPr/>
            </p:nvGrpSpPr>
            <p:grpSpPr bwMode="auto">
              <a:xfrm flipV="1">
                <a:off x="1941" y="2024"/>
                <a:ext cx="319" cy="296"/>
                <a:chOff x="560" y="1368"/>
                <a:chExt cx="264" cy="296"/>
              </a:xfrm>
            </p:grpSpPr>
            <p:sp>
              <p:nvSpPr>
                <p:cNvPr id="10427" name="Oval 38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8" name="Oval 38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9" name="Oval 38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30" name="Oval 38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0" name="Group 385"/>
              <p:cNvGrpSpPr>
                <a:grpSpLocks/>
              </p:cNvGrpSpPr>
              <p:nvPr/>
            </p:nvGrpSpPr>
            <p:grpSpPr bwMode="auto">
              <a:xfrm flipV="1">
                <a:off x="2208" y="2152"/>
                <a:ext cx="319" cy="296"/>
                <a:chOff x="560" y="1368"/>
                <a:chExt cx="264" cy="296"/>
              </a:xfrm>
            </p:grpSpPr>
            <p:sp>
              <p:nvSpPr>
                <p:cNvPr id="10423" name="Oval 38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4" name="Oval 38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5" name="Oval 38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6" name="Oval 38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1" name="Group 390"/>
              <p:cNvGrpSpPr>
                <a:grpSpLocks/>
              </p:cNvGrpSpPr>
              <p:nvPr/>
            </p:nvGrpSpPr>
            <p:grpSpPr bwMode="auto">
              <a:xfrm flipV="1">
                <a:off x="1880" y="2120"/>
                <a:ext cx="319" cy="296"/>
                <a:chOff x="560" y="1368"/>
                <a:chExt cx="264" cy="296"/>
              </a:xfrm>
            </p:grpSpPr>
            <p:sp>
              <p:nvSpPr>
                <p:cNvPr id="10419" name="Oval 39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0" name="Oval 39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1" name="Oval 39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22" name="Oval 39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2" name="Group 395"/>
              <p:cNvGrpSpPr>
                <a:grpSpLocks/>
              </p:cNvGrpSpPr>
              <p:nvPr/>
            </p:nvGrpSpPr>
            <p:grpSpPr bwMode="auto">
              <a:xfrm flipV="1">
                <a:off x="1920" y="2264"/>
                <a:ext cx="319" cy="296"/>
                <a:chOff x="560" y="1368"/>
                <a:chExt cx="264" cy="296"/>
              </a:xfrm>
            </p:grpSpPr>
            <p:sp>
              <p:nvSpPr>
                <p:cNvPr id="10415" name="Oval 39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6" name="Oval 39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7" name="Oval 39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8" name="Oval 39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3" name="Group 400"/>
              <p:cNvGrpSpPr>
                <a:grpSpLocks/>
              </p:cNvGrpSpPr>
              <p:nvPr/>
            </p:nvGrpSpPr>
            <p:grpSpPr bwMode="auto">
              <a:xfrm flipV="1">
                <a:off x="2048" y="2344"/>
                <a:ext cx="319" cy="296"/>
                <a:chOff x="560" y="1368"/>
                <a:chExt cx="264" cy="296"/>
              </a:xfrm>
            </p:grpSpPr>
            <p:sp>
              <p:nvSpPr>
                <p:cNvPr id="10411" name="Oval 401"/>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2" name="Oval 402"/>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3" name="Oval 403"/>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4" name="Oval 404"/>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4" name="Group 405"/>
              <p:cNvGrpSpPr>
                <a:grpSpLocks/>
              </p:cNvGrpSpPr>
              <p:nvPr/>
            </p:nvGrpSpPr>
            <p:grpSpPr bwMode="auto">
              <a:xfrm flipH="1" flipV="1">
                <a:off x="1832" y="2504"/>
                <a:ext cx="319" cy="296"/>
                <a:chOff x="560" y="1368"/>
                <a:chExt cx="264" cy="296"/>
              </a:xfrm>
            </p:grpSpPr>
            <p:sp>
              <p:nvSpPr>
                <p:cNvPr id="10407" name="Oval 406"/>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08" name="Oval 407"/>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09" name="Oval 408"/>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410" name="Oval 409"/>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grpSp>
          <p:nvGrpSpPr>
            <p:cNvPr id="50205" name="Group 410"/>
            <p:cNvGrpSpPr>
              <a:grpSpLocks/>
            </p:cNvGrpSpPr>
            <p:nvPr/>
          </p:nvGrpSpPr>
          <p:grpSpPr bwMode="auto">
            <a:xfrm>
              <a:off x="2466243" y="5351585"/>
              <a:ext cx="471854" cy="467458"/>
              <a:chOff x="963" y="3236"/>
              <a:chExt cx="296" cy="319"/>
            </a:xfrm>
            <a:effectLst>
              <a:outerShdw blurRad="50800" dist="38100" dir="2700000" algn="tl" rotWithShape="0">
                <a:prstClr val="black">
                  <a:alpha val="40000"/>
                </a:prstClr>
              </a:outerShdw>
            </a:effectLst>
          </p:grpSpPr>
          <p:sp>
            <p:nvSpPr>
              <p:cNvPr id="10385" name="Oval 41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6" name="Oval 41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7" name="Oval 41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8" name="Oval 41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6" name="Group 415"/>
            <p:cNvGrpSpPr>
              <a:grpSpLocks/>
            </p:cNvGrpSpPr>
            <p:nvPr/>
          </p:nvGrpSpPr>
          <p:grpSpPr bwMode="auto">
            <a:xfrm flipV="1">
              <a:off x="1513743" y="5281247"/>
              <a:ext cx="471854" cy="467458"/>
              <a:chOff x="963" y="3236"/>
              <a:chExt cx="296" cy="319"/>
            </a:xfrm>
            <a:effectLst>
              <a:outerShdw blurRad="50800" dist="38100" dir="2700000" algn="tl" rotWithShape="0">
                <a:prstClr val="black">
                  <a:alpha val="40000"/>
                </a:prstClr>
              </a:outerShdw>
            </a:effectLst>
          </p:grpSpPr>
          <p:sp>
            <p:nvSpPr>
              <p:cNvPr id="10381" name="Oval 41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2" name="Oval 41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3" name="Oval 41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4" name="Oval 41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50207" name="Group 420"/>
            <p:cNvGrpSpPr>
              <a:grpSpLocks/>
            </p:cNvGrpSpPr>
            <p:nvPr/>
          </p:nvGrpSpPr>
          <p:grpSpPr bwMode="auto">
            <a:xfrm flipH="1">
              <a:off x="1818543" y="5480539"/>
              <a:ext cx="471854" cy="467458"/>
              <a:chOff x="963" y="3236"/>
              <a:chExt cx="296" cy="319"/>
            </a:xfrm>
            <a:effectLst>
              <a:outerShdw blurRad="50800" dist="38100" dir="2700000" algn="tl" rotWithShape="0">
                <a:prstClr val="black">
                  <a:alpha val="40000"/>
                </a:prstClr>
              </a:outerShdw>
            </a:effectLst>
          </p:grpSpPr>
          <p:sp>
            <p:nvSpPr>
              <p:cNvPr id="10377" name="Oval 42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8" name="Oval 42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9" name="Oval 42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80" name="Oval 42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95" name="Group 425"/>
            <p:cNvGrpSpPr>
              <a:grpSpLocks/>
            </p:cNvGrpSpPr>
            <p:nvPr/>
          </p:nvGrpSpPr>
          <p:grpSpPr bwMode="auto">
            <a:xfrm flipV="1">
              <a:off x="1808285" y="5328139"/>
              <a:ext cx="467458" cy="467458"/>
              <a:chOff x="963" y="3236"/>
              <a:chExt cx="296" cy="319"/>
            </a:xfrm>
            <a:effectLst>
              <a:outerShdw blurRad="50800" dist="38100" dir="2700000" algn="tl" rotWithShape="0">
                <a:prstClr val="black">
                  <a:alpha val="40000"/>
                </a:prstClr>
              </a:outerShdw>
            </a:effectLst>
          </p:grpSpPr>
          <p:sp>
            <p:nvSpPr>
              <p:cNvPr id="10373" name="Oval 42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4" name="Oval 42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5" name="Oval 42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6" name="Oval 42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96" name="Group 430"/>
            <p:cNvGrpSpPr>
              <a:grpSpLocks/>
            </p:cNvGrpSpPr>
            <p:nvPr/>
          </p:nvGrpSpPr>
          <p:grpSpPr bwMode="auto">
            <a:xfrm flipV="1">
              <a:off x="1437543" y="5468816"/>
              <a:ext cx="471854" cy="467458"/>
              <a:chOff x="963" y="3236"/>
              <a:chExt cx="296" cy="319"/>
            </a:xfrm>
            <a:effectLst>
              <a:outerShdw blurRad="50800" dist="38100" dir="2700000" algn="tl" rotWithShape="0">
                <a:prstClr val="black">
                  <a:alpha val="40000"/>
                </a:prstClr>
              </a:outerShdw>
            </a:effectLst>
          </p:grpSpPr>
          <p:sp>
            <p:nvSpPr>
              <p:cNvPr id="10369" name="Oval 431"/>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0" name="Oval 432"/>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1" name="Oval 433"/>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72" name="Oval 434"/>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97" name="Group 435"/>
            <p:cNvGrpSpPr>
              <a:grpSpLocks/>
            </p:cNvGrpSpPr>
            <p:nvPr/>
          </p:nvGrpSpPr>
          <p:grpSpPr bwMode="auto">
            <a:xfrm flipV="1">
              <a:off x="2123343" y="5316416"/>
              <a:ext cx="471854" cy="467458"/>
              <a:chOff x="963" y="3236"/>
              <a:chExt cx="296" cy="319"/>
            </a:xfrm>
            <a:effectLst>
              <a:outerShdw blurRad="50800" dist="38100" dir="2700000" algn="tl" rotWithShape="0">
                <a:prstClr val="black">
                  <a:alpha val="40000"/>
                </a:prstClr>
              </a:outerShdw>
            </a:effectLst>
          </p:grpSpPr>
          <p:sp>
            <p:nvSpPr>
              <p:cNvPr id="10365" name="Oval 436"/>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6" name="Oval 437"/>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7" name="Oval 438"/>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8" name="Oval 439"/>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sp>
          <p:nvSpPr>
            <p:cNvPr id="10278" name="Rectangle 440"/>
            <p:cNvSpPr>
              <a:spLocks noChangeArrowheads="1"/>
            </p:cNvSpPr>
            <p:nvPr/>
          </p:nvSpPr>
          <p:spPr bwMode="auto">
            <a:xfrm>
              <a:off x="4271832" y="2579534"/>
              <a:ext cx="143893" cy="2401654"/>
            </a:xfrm>
            <a:prstGeom prst="rect">
              <a:avLst/>
            </a:prstGeom>
            <a:solidFill>
              <a:schemeClr val="accent2"/>
            </a:solidFill>
            <a:ln w="9525">
              <a:miter lim="800000"/>
              <a:headEnd/>
              <a:tailEnd/>
            </a:ln>
            <a:effectLst>
              <a:outerShdw blurRad="50800" dist="38100" dir="2700000" algn="tl" rotWithShape="0">
                <a:prstClr val="black">
                  <a:alpha val="40000"/>
                </a:prstClr>
              </a:outerShdw>
            </a:effectLst>
            <a:scene3d>
              <a:camera prst="legacyObliqueTopRight"/>
              <a:lightRig rig="legacyFlat3" dir="b"/>
            </a:scene3d>
            <a:sp3d extrusionH="1801800" prstMaterial="legacyMatte">
              <a:bevelT w="13500" h="13500" prst="angle"/>
              <a:bevelB w="13500" h="13500" prst="angle"/>
              <a:extrusionClr>
                <a:schemeClr val="accent2"/>
              </a:extrusionClr>
            </a:sp3d>
          </p:spPr>
          <p:txBody>
            <a:bodyPr wrap="none" lIns="125291" tIns="61547" rIns="125291" bIns="61547" anchor="ctr">
              <a:flatTx/>
            </a:bodyPr>
            <a:lstStyle/>
            <a:p>
              <a:pPr>
                <a:defRPr/>
              </a:pPr>
              <a:endParaRPr lang="pt-BR">
                <a:latin typeface="Calibri" panose="020F0502020204030204" pitchFamily="34" charset="0"/>
                <a:cs typeface="Calibri" panose="020F0502020204030204" pitchFamily="34" charset="0"/>
              </a:endParaRPr>
            </a:p>
          </p:txBody>
        </p:sp>
        <p:sp>
          <p:nvSpPr>
            <p:cNvPr id="10279" name="Freeform 441" descr="Small grid"/>
            <p:cNvSpPr>
              <a:spLocks/>
            </p:cNvSpPr>
            <p:nvPr/>
          </p:nvSpPr>
          <p:spPr bwMode="auto">
            <a:xfrm>
              <a:off x="4381387" y="2039836"/>
              <a:ext cx="622991" cy="2919129"/>
            </a:xfrm>
            <a:custGeom>
              <a:avLst/>
              <a:gdLst>
                <a:gd name="T0" fmla="*/ 2147483647 w 408"/>
                <a:gd name="T1" fmla="*/ 2147483647 h 2040"/>
                <a:gd name="T2" fmla="*/ 2147483647 w 408"/>
                <a:gd name="T3" fmla="*/ 0 h 2040"/>
                <a:gd name="T4" fmla="*/ 2147483647 w 408"/>
                <a:gd name="T5" fmla="*/ 2147483647 h 2040"/>
                <a:gd name="T6" fmla="*/ 0 w 408"/>
                <a:gd name="T7" fmla="*/ 2147483647 h 2040"/>
                <a:gd name="T8" fmla="*/ 2147483647 w 408"/>
                <a:gd name="T9" fmla="*/ 2147483647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pattFill prst="smGrid">
              <a:fgClr>
                <a:srgbClr val="FFFF00"/>
              </a:fgClr>
              <a:bgClr>
                <a:srgbClr val="FFFFFF"/>
              </a:bgClr>
            </a:pattFill>
            <a:ln>
              <a:noFill/>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nvGrpSpPr>
            <p:cNvPr id="10498" name="Group 442"/>
            <p:cNvGrpSpPr>
              <a:grpSpLocks/>
            </p:cNvGrpSpPr>
            <p:nvPr/>
          </p:nvGrpSpPr>
          <p:grpSpPr bwMode="auto">
            <a:xfrm flipV="1">
              <a:off x="2580543" y="5468816"/>
              <a:ext cx="471854" cy="467458"/>
              <a:chOff x="963" y="3236"/>
              <a:chExt cx="296" cy="319"/>
            </a:xfrm>
            <a:effectLst>
              <a:outerShdw blurRad="50800" dist="38100" dir="2700000" algn="tl" rotWithShape="0">
                <a:prstClr val="black">
                  <a:alpha val="40000"/>
                </a:prstClr>
              </a:outerShdw>
            </a:effectLst>
          </p:grpSpPr>
          <p:sp>
            <p:nvSpPr>
              <p:cNvPr id="10361" name="Oval 443"/>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2" name="Oval 444"/>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3" name="Oval 445"/>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4" name="Oval 446"/>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499" name="Group 447"/>
            <p:cNvGrpSpPr>
              <a:grpSpLocks/>
            </p:cNvGrpSpPr>
            <p:nvPr/>
          </p:nvGrpSpPr>
          <p:grpSpPr bwMode="auto">
            <a:xfrm flipH="1">
              <a:off x="1261697" y="5492262"/>
              <a:ext cx="470388" cy="467458"/>
              <a:chOff x="963" y="3236"/>
              <a:chExt cx="296" cy="319"/>
            </a:xfrm>
            <a:effectLst>
              <a:outerShdw blurRad="50800" dist="38100" dir="2700000" algn="tl" rotWithShape="0">
                <a:prstClr val="black">
                  <a:alpha val="40000"/>
                </a:prstClr>
              </a:outerShdw>
            </a:effectLst>
          </p:grpSpPr>
          <p:sp>
            <p:nvSpPr>
              <p:cNvPr id="10357" name="Oval 448"/>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8" name="Oval 449"/>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9" name="Oval 450"/>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60" name="Oval 451"/>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sp>
          <p:nvSpPr>
            <p:cNvPr id="51243" name="Text Box 452"/>
            <p:cNvSpPr txBox="1">
              <a:spLocks noChangeArrowheads="1"/>
            </p:cNvSpPr>
            <p:nvPr/>
          </p:nvSpPr>
          <p:spPr bwMode="auto">
            <a:xfrm>
              <a:off x="2842712" y="1912849"/>
              <a:ext cx="1530499" cy="679244"/>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Projetos e programas</a:t>
              </a:r>
            </a:p>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candidatos</a:t>
              </a:r>
            </a:p>
          </p:txBody>
        </p:sp>
        <p:grpSp>
          <p:nvGrpSpPr>
            <p:cNvPr id="10500" name="Group 453"/>
            <p:cNvGrpSpPr>
              <a:grpSpLocks/>
            </p:cNvGrpSpPr>
            <p:nvPr/>
          </p:nvGrpSpPr>
          <p:grpSpPr bwMode="auto">
            <a:xfrm>
              <a:off x="4652597" y="5339862"/>
              <a:ext cx="470388" cy="467458"/>
              <a:chOff x="963" y="3236"/>
              <a:chExt cx="296" cy="319"/>
            </a:xfrm>
            <a:effectLst>
              <a:outerShdw blurRad="50800" dist="38100" dir="2700000" algn="tl" rotWithShape="0">
                <a:prstClr val="black">
                  <a:alpha val="40000"/>
                </a:prstClr>
              </a:outerShdw>
            </a:effectLst>
          </p:grpSpPr>
          <p:sp>
            <p:nvSpPr>
              <p:cNvPr id="10353" name="Oval 45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4" name="Oval 45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5" name="Oval 45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6" name="Oval 45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1" name="Group 458"/>
            <p:cNvGrpSpPr>
              <a:grpSpLocks/>
            </p:cNvGrpSpPr>
            <p:nvPr/>
          </p:nvGrpSpPr>
          <p:grpSpPr bwMode="auto">
            <a:xfrm flipV="1">
              <a:off x="4271597" y="5363308"/>
              <a:ext cx="470388" cy="467458"/>
              <a:chOff x="963" y="3236"/>
              <a:chExt cx="296" cy="319"/>
            </a:xfrm>
            <a:effectLst>
              <a:outerShdw blurRad="50800" dist="38100" dir="2700000" algn="tl" rotWithShape="0">
                <a:prstClr val="black">
                  <a:alpha val="40000"/>
                </a:prstClr>
              </a:outerShdw>
            </a:effectLst>
          </p:grpSpPr>
          <p:sp>
            <p:nvSpPr>
              <p:cNvPr id="10349" name="Oval 45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0" name="Oval 46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1" name="Oval 46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52" name="Oval 46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2" name="Group 463"/>
            <p:cNvGrpSpPr>
              <a:grpSpLocks/>
            </p:cNvGrpSpPr>
            <p:nvPr/>
          </p:nvGrpSpPr>
          <p:grpSpPr bwMode="auto">
            <a:xfrm flipH="1">
              <a:off x="3990243" y="5410201"/>
              <a:ext cx="471854" cy="467458"/>
              <a:chOff x="963" y="3236"/>
              <a:chExt cx="296" cy="319"/>
            </a:xfrm>
            <a:effectLst>
              <a:outerShdw blurRad="50800" dist="38100" dir="2700000" algn="tl" rotWithShape="0">
                <a:prstClr val="black">
                  <a:alpha val="40000"/>
                </a:prstClr>
              </a:outerShdw>
            </a:effectLst>
          </p:grpSpPr>
          <p:sp>
            <p:nvSpPr>
              <p:cNvPr id="10345" name="Oval 46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6" name="Oval 46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7" name="Oval 46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8" name="Oval 46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3" name="Group 468"/>
            <p:cNvGrpSpPr>
              <a:grpSpLocks/>
            </p:cNvGrpSpPr>
            <p:nvPr/>
          </p:nvGrpSpPr>
          <p:grpSpPr bwMode="auto">
            <a:xfrm flipH="1">
              <a:off x="4676043" y="5515708"/>
              <a:ext cx="471854" cy="467458"/>
              <a:chOff x="963" y="3236"/>
              <a:chExt cx="296" cy="319"/>
            </a:xfrm>
            <a:effectLst>
              <a:outerShdw blurRad="50800" dist="38100" dir="2700000" algn="tl" rotWithShape="0">
                <a:prstClr val="black">
                  <a:alpha val="40000"/>
                </a:prstClr>
              </a:outerShdw>
            </a:effectLst>
          </p:grpSpPr>
          <p:sp>
            <p:nvSpPr>
              <p:cNvPr id="10341" name="Oval 46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2" name="Oval 47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3" name="Oval 47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4" name="Oval 47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4" name="Group 473"/>
            <p:cNvGrpSpPr>
              <a:grpSpLocks/>
            </p:cNvGrpSpPr>
            <p:nvPr/>
          </p:nvGrpSpPr>
          <p:grpSpPr bwMode="auto">
            <a:xfrm flipH="1">
              <a:off x="4309697" y="5550877"/>
              <a:ext cx="470388" cy="467458"/>
              <a:chOff x="963" y="3236"/>
              <a:chExt cx="296" cy="319"/>
            </a:xfrm>
            <a:effectLst>
              <a:outerShdw blurRad="50800" dist="38100" dir="2700000" algn="tl" rotWithShape="0">
                <a:prstClr val="black">
                  <a:alpha val="40000"/>
                </a:prstClr>
              </a:outerShdw>
            </a:effectLst>
          </p:grpSpPr>
          <p:sp>
            <p:nvSpPr>
              <p:cNvPr id="10337" name="Oval 47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8" name="Oval 47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9" name="Oval 47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40" name="Oval 47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5" name="Group 478"/>
            <p:cNvGrpSpPr>
              <a:grpSpLocks/>
            </p:cNvGrpSpPr>
            <p:nvPr/>
          </p:nvGrpSpPr>
          <p:grpSpPr bwMode="auto">
            <a:xfrm rot="16200000" flipH="1">
              <a:off x="3870081" y="5555273"/>
              <a:ext cx="433754" cy="507023"/>
              <a:chOff x="963" y="3236"/>
              <a:chExt cx="296" cy="319"/>
            </a:xfrm>
            <a:effectLst>
              <a:outerShdw blurRad="50800" dist="38100" dir="2700000" algn="tl" rotWithShape="0">
                <a:prstClr val="black">
                  <a:alpha val="40000"/>
                </a:prstClr>
              </a:outerShdw>
            </a:effectLst>
          </p:grpSpPr>
          <p:sp>
            <p:nvSpPr>
              <p:cNvPr id="10333" name="Oval 47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4" name="Oval 48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5" name="Oval 48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6" name="Oval 48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sp>
          <p:nvSpPr>
            <p:cNvPr id="10289" name="Rectangle 483"/>
            <p:cNvSpPr>
              <a:spLocks noChangeArrowheads="1"/>
            </p:cNvSpPr>
            <p:nvPr/>
          </p:nvSpPr>
          <p:spPr bwMode="auto">
            <a:xfrm>
              <a:off x="6601919" y="2566835"/>
              <a:ext cx="145528" cy="2403242"/>
            </a:xfrm>
            <a:prstGeom prst="rect">
              <a:avLst/>
            </a:prstGeom>
            <a:solidFill>
              <a:srgbClr val="003399"/>
            </a:solidFill>
            <a:ln w="9525">
              <a:miter lim="800000"/>
              <a:headEnd/>
              <a:tailEnd/>
            </a:ln>
            <a:effectLst>
              <a:outerShdw blurRad="50800" dist="38100" dir="2700000" algn="tl" rotWithShape="0">
                <a:prstClr val="black">
                  <a:alpha val="40000"/>
                </a:prstClr>
              </a:outerShdw>
            </a:effectLst>
            <a:scene3d>
              <a:camera prst="legacyObliqueTopRight"/>
              <a:lightRig rig="legacyFlat3" dir="b"/>
            </a:scene3d>
            <a:sp3d extrusionH="1801800" prstMaterial="legacyMatte">
              <a:bevelT w="13500" h="13500" prst="angle"/>
              <a:bevelB w="13500" h="13500" prst="angle"/>
              <a:extrusionClr>
                <a:srgbClr val="003399"/>
              </a:extrusionClr>
            </a:sp3d>
          </p:spPr>
          <p:txBody>
            <a:bodyPr wrap="none" lIns="125291" tIns="61547" rIns="125291" bIns="61547" anchor="ctr">
              <a:flatTx/>
            </a:bodyPr>
            <a:lstStyle/>
            <a:p>
              <a:pPr>
                <a:defRPr/>
              </a:pPr>
              <a:endParaRPr lang="pt-BR">
                <a:latin typeface="Calibri" panose="020F0502020204030204" pitchFamily="34" charset="0"/>
                <a:cs typeface="Calibri" panose="020F0502020204030204" pitchFamily="34" charset="0"/>
              </a:endParaRPr>
            </a:p>
          </p:txBody>
        </p:sp>
        <p:sp>
          <p:nvSpPr>
            <p:cNvPr id="10290" name="Freeform 484" descr="Small grid"/>
            <p:cNvSpPr>
              <a:spLocks/>
            </p:cNvSpPr>
            <p:nvPr/>
          </p:nvSpPr>
          <p:spPr bwMode="auto">
            <a:xfrm>
              <a:off x="6732731" y="2031899"/>
              <a:ext cx="622991" cy="2919130"/>
            </a:xfrm>
            <a:custGeom>
              <a:avLst/>
              <a:gdLst>
                <a:gd name="T0" fmla="*/ 2147483647 w 408"/>
                <a:gd name="T1" fmla="*/ 2147483647 h 2040"/>
                <a:gd name="T2" fmla="*/ 2147483647 w 408"/>
                <a:gd name="T3" fmla="*/ 0 h 2040"/>
                <a:gd name="T4" fmla="*/ 2147483647 w 408"/>
                <a:gd name="T5" fmla="*/ 2147483647 h 2040"/>
                <a:gd name="T6" fmla="*/ 0 w 408"/>
                <a:gd name="T7" fmla="*/ 2147483647 h 2040"/>
                <a:gd name="T8" fmla="*/ 2147483647 w 408"/>
                <a:gd name="T9" fmla="*/ 2147483647 h 2040"/>
                <a:gd name="T10" fmla="*/ 0 60000 65536"/>
                <a:gd name="T11" fmla="*/ 0 60000 65536"/>
                <a:gd name="T12" fmla="*/ 0 60000 65536"/>
                <a:gd name="T13" fmla="*/ 0 60000 65536"/>
                <a:gd name="T14" fmla="*/ 0 60000 65536"/>
                <a:gd name="T15" fmla="*/ 0 w 408"/>
                <a:gd name="T16" fmla="*/ 0 h 2040"/>
                <a:gd name="T17" fmla="*/ 408 w 408"/>
                <a:gd name="T18" fmla="*/ 2040 h 2040"/>
              </a:gdLst>
              <a:ahLst/>
              <a:cxnLst>
                <a:cxn ang="T10">
                  <a:pos x="T0" y="T1"/>
                </a:cxn>
                <a:cxn ang="T11">
                  <a:pos x="T2" y="T3"/>
                </a:cxn>
                <a:cxn ang="T12">
                  <a:pos x="T4" y="T5"/>
                </a:cxn>
                <a:cxn ang="T13">
                  <a:pos x="T6" y="T7"/>
                </a:cxn>
                <a:cxn ang="T14">
                  <a:pos x="T8" y="T9"/>
                </a:cxn>
              </a:cxnLst>
              <a:rect l="T15" t="T16" r="T17" b="T18"/>
              <a:pathLst>
                <a:path w="408" h="2040">
                  <a:moveTo>
                    <a:pt x="16" y="392"/>
                  </a:moveTo>
                  <a:lnTo>
                    <a:pt x="408" y="0"/>
                  </a:lnTo>
                  <a:lnTo>
                    <a:pt x="408" y="1624"/>
                  </a:lnTo>
                  <a:lnTo>
                    <a:pt x="0" y="2040"/>
                  </a:lnTo>
                  <a:lnTo>
                    <a:pt x="16" y="392"/>
                  </a:lnTo>
                  <a:close/>
                </a:path>
              </a:pathLst>
            </a:custGeom>
            <a:pattFill prst="smGrid">
              <a:fgClr>
                <a:srgbClr val="66FF33"/>
              </a:fgClr>
              <a:bgClr>
                <a:srgbClr val="FFFFFF"/>
              </a:bgClr>
            </a:pattFill>
            <a:ln>
              <a:noFill/>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51252" name="Text Box 485"/>
            <p:cNvSpPr txBox="1">
              <a:spLocks noChangeArrowheads="1"/>
            </p:cNvSpPr>
            <p:nvPr/>
          </p:nvSpPr>
          <p:spPr bwMode="auto">
            <a:xfrm>
              <a:off x="5076325" y="2044598"/>
              <a:ext cx="1798663" cy="679244"/>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Projetos e programas sem </a:t>
              </a:r>
            </a:p>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priorização</a:t>
              </a:r>
            </a:p>
          </p:txBody>
        </p:sp>
        <p:sp>
          <p:nvSpPr>
            <p:cNvPr id="51253" name="Text Box 486"/>
            <p:cNvSpPr txBox="1">
              <a:spLocks noChangeArrowheads="1"/>
            </p:cNvSpPr>
            <p:nvPr/>
          </p:nvSpPr>
          <p:spPr bwMode="auto">
            <a:xfrm>
              <a:off x="7460372" y="1701731"/>
              <a:ext cx="1599175" cy="878040"/>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Projetos</a:t>
              </a:r>
              <a:r>
                <a:rPr lang="en-US" altLang="pt-BR" sz="1938" dirty="0">
                  <a:solidFill>
                    <a:srgbClr val="000066"/>
                  </a:solidFill>
                  <a:latin typeface="Calibri" panose="020F0502020204030204" pitchFamily="34" charset="0"/>
                  <a:cs typeface="Calibri" panose="020F0502020204030204" pitchFamily="34" charset="0"/>
                </a:rPr>
                <a:t> e </a:t>
              </a:r>
              <a:r>
                <a:rPr lang="en-US" altLang="pt-BR" sz="1938" dirty="0" err="1">
                  <a:solidFill>
                    <a:srgbClr val="000066"/>
                  </a:solidFill>
                  <a:latin typeface="Calibri" panose="020F0502020204030204" pitchFamily="34" charset="0"/>
                  <a:cs typeface="Calibri" panose="020F0502020204030204" pitchFamily="34" charset="0"/>
                </a:rPr>
                <a:t>programas</a:t>
              </a:r>
              <a:r>
                <a:rPr lang="en-US" altLang="pt-BR" sz="1938" dirty="0">
                  <a:solidFill>
                    <a:srgbClr val="000066"/>
                  </a:solidFill>
                  <a:latin typeface="Calibri" panose="020F0502020204030204" pitchFamily="34" charset="0"/>
                  <a:cs typeface="Calibri" panose="020F0502020204030204" pitchFamily="34" charset="0"/>
                </a:rPr>
                <a:t> </a:t>
              </a:r>
              <a:r>
                <a:rPr lang="en-US" altLang="pt-BR" sz="1938" dirty="0" err="1">
                  <a:solidFill>
                    <a:srgbClr val="000066"/>
                  </a:solidFill>
                  <a:latin typeface="Calibri" panose="020F0502020204030204" pitchFamily="34" charset="0"/>
                  <a:cs typeface="Calibri" panose="020F0502020204030204" pitchFamily="34" charset="0"/>
                </a:rPr>
                <a:t>selecionados</a:t>
              </a:r>
              <a:r>
                <a:rPr lang="en-US" altLang="pt-BR" sz="1938" dirty="0">
                  <a:solidFill>
                    <a:srgbClr val="000066"/>
                  </a:solidFill>
                  <a:latin typeface="Calibri" panose="020F0502020204030204" pitchFamily="34" charset="0"/>
                  <a:cs typeface="Calibri" panose="020F0502020204030204" pitchFamily="34" charset="0"/>
                </a:rPr>
                <a:t> e  </a:t>
              </a:r>
            </a:p>
            <a:p>
              <a:pP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priorizados</a:t>
              </a:r>
              <a:endParaRPr lang="en-US" altLang="pt-BR" sz="1938" dirty="0">
                <a:solidFill>
                  <a:srgbClr val="000066"/>
                </a:solidFill>
                <a:latin typeface="Calibri" panose="020F0502020204030204" pitchFamily="34" charset="0"/>
                <a:cs typeface="Calibri" panose="020F0502020204030204" pitchFamily="34" charset="0"/>
              </a:endParaRPr>
            </a:p>
          </p:txBody>
        </p:sp>
        <p:sp>
          <p:nvSpPr>
            <p:cNvPr id="10293" name="AutoShape 487"/>
            <p:cNvSpPr>
              <a:spLocks noChangeArrowheads="1"/>
            </p:cNvSpPr>
            <p:nvPr/>
          </p:nvSpPr>
          <p:spPr bwMode="auto">
            <a:xfrm>
              <a:off x="4716592" y="3411303"/>
              <a:ext cx="1138063" cy="293659"/>
            </a:xfrm>
            <a:prstGeom prst="rightArrow">
              <a:avLst>
                <a:gd name="adj1" fmla="val 50000"/>
                <a:gd name="adj2" fmla="val 89545"/>
              </a:avLst>
            </a:prstGeom>
            <a:solidFill>
              <a:schemeClr val="tx2"/>
            </a:solidFill>
            <a:ln>
              <a:noFill/>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nvGrpSpPr>
            <p:cNvPr id="10506" name="Group 488"/>
            <p:cNvGrpSpPr>
              <a:grpSpLocks/>
            </p:cNvGrpSpPr>
            <p:nvPr/>
          </p:nvGrpSpPr>
          <p:grpSpPr bwMode="auto">
            <a:xfrm>
              <a:off x="5344258" y="3077308"/>
              <a:ext cx="978877" cy="1060938"/>
              <a:chOff x="3550" y="2708"/>
              <a:chExt cx="617" cy="724"/>
            </a:xfrm>
            <a:effectLst>
              <a:outerShdw blurRad="50800" dist="38100" dir="2700000" algn="tl" rotWithShape="0">
                <a:prstClr val="black">
                  <a:alpha val="40000"/>
                </a:prstClr>
              </a:outerShdw>
            </a:effectLst>
          </p:grpSpPr>
          <p:grpSp>
            <p:nvGrpSpPr>
              <p:cNvPr id="10507" name="Group 489"/>
              <p:cNvGrpSpPr>
                <a:grpSpLocks/>
              </p:cNvGrpSpPr>
              <p:nvPr/>
            </p:nvGrpSpPr>
            <p:grpSpPr bwMode="auto">
              <a:xfrm>
                <a:off x="3550" y="2912"/>
                <a:ext cx="319" cy="296"/>
                <a:chOff x="560" y="1368"/>
                <a:chExt cx="264" cy="296"/>
              </a:xfrm>
            </p:grpSpPr>
            <p:sp>
              <p:nvSpPr>
                <p:cNvPr id="10329" name="Oval 49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0" name="Oval 49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1" name="Oval 49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32" name="Oval 49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8" name="Group 494"/>
              <p:cNvGrpSpPr>
                <a:grpSpLocks/>
              </p:cNvGrpSpPr>
              <p:nvPr/>
            </p:nvGrpSpPr>
            <p:grpSpPr bwMode="auto">
              <a:xfrm>
                <a:off x="3581" y="3136"/>
                <a:ext cx="319" cy="296"/>
                <a:chOff x="560" y="1368"/>
                <a:chExt cx="264" cy="296"/>
              </a:xfrm>
            </p:grpSpPr>
            <p:sp>
              <p:nvSpPr>
                <p:cNvPr id="10325" name="Oval 49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6" name="Oval 49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7" name="Oval 49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8" name="Oval 49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09" name="Group 499"/>
              <p:cNvGrpSpPr>
                <a:grpSpLocks/>
              </p:cNvGrpSpPr>
              <p:nvPr/>
            </p:nvGrpSpPr>
            <p:grpSpPr bwMode="auto">
              <a:xfrm>
                <a:off x="3756" y="2824"/>
                <a:ext cx="319" cy="296"/>
                <a:chOff x="560" y="1368"/>
                <a:chExt cx="264" cy="296"/>
              </a:xfrm>
            </p:grpSpPr>
            <p:sp>
              <p:nvSpPr>
                <p:cNvPr id="10321" name="Oval 50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2" name="Oval 50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3" name="Oval 50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4" name="Oval 50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10" name="Group 504"/>
              <p:cNvGrpSpPr>
                <a:grpSpLocks/>
              </p:cNvGrpSpPr>
              <p:nvPr/>
            </p:nvGrpSpPr>
            <p:grpSpPr bwMode="auto">
              <a:xfrm>
                <a:off x="3752" y="3024"/>
                <a:ext cx="319" cy="296"/>
                <a:chOff x="560" y="1368"/>
                <a:chExt cx="264" cy="296"/>
              </a:xfrm>
            </p:grpSpPr>
            <p:sp>
              <p:nvSpPr>
                <p:cNvPr id="10317" name="Oval 50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8" name="Oval 50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9" name="Oval 50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20" name="Oval 50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11" name="Group 509"/>
              <p:cNvGrpSpPr>
                <a:grpSpLocks/>
              </p:cNvGrpSpPr>
              <p:nvPr/>
            </p:nvGrpSpPr>
            <p:grpSpPr bwMode="auto">
              <a:xfrm rot="16200000" flipH="1">
                <a:off x="3560" y="2720"/>
                <a:ext cx="319" cy="296"/>
                <a:chOff x="560" y="1368"/>
                <a:chExt cx="264" cy="296"/>
              </a:xfrm>
            </p:grpSpPr>
            <p:sp>
              <p:nvSpPr>
                <p:cNvPr id="10313" name="Oval 51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4" name="Oval 51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5" name="Oval 51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6" name="Oval 51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nvGrpSpPr>
              <p:cNvPr id="10512" name="Group 514"/>
              <p:cNvGrpSpPr>
                <a:grpSpLocks/>
              </p:cNvGrpSpPr>
              <p:nvPr/>
            </p:nvGrpSpPr>
            <p:grpSpPr bwMode="auto">
              <a:xfrm flipH="1">
                <a:off x="3848" y="2904"/>
                <a:ext cx="319" cy="296"/>
                <a:chOff x="560" y="1368"/>
                <a:chExt cx="264" cy="296"/>
              </a:xfrm>
            </p:grpSpPr>
            <p:sp>
              <p:nvSpPr>
                <p:cNvPr id="10309" name="Oval 51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0" name="Oval 51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1" name="Oval 51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312" name="Oval 51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grpSp>
        </p:grpSp>
        <p:sp>
          <p:nvSpPr>
            <p:cNvPr id="10295" name="AutoShape 519"/>
            <p:cNvSpPr>
              <a:spLocks noChangeArrowheads="1"/>
            </p:cNvSpPr>
            <p:nvPr/>
          </p:nvSpPr>
          <p:spPr bwMode="auto">
            <a:xfrm>
              <a:off x="6997625" y="3411303"/>
              <a:ext cx="761979" cy="293659"/>
            </a:xfrm>
            <a:prstGeom prst="rightArrow">
              <a:avLst>
                <a:gd name="adj1" fmla="val 50000"/>
                <a:gd name="adj2" fmla="val 60005"/>
              </a:avLst>
            </a:prstGeom>
            <a:solidFill>
              <a:schemeClr val="tx2"/>
            </a:solidFill>
            <a:ln w="9525">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96" name="Oval 520"/>
            <p:cNvSpPr>
              <a:spLocks noChangeArrowheads="1"/>
            </p:cNvSpPr>
            <p:nvPr/>
          </p:nvSpPr>
          <p:spPr bwMode="auto">
            <a:xfrm>
              <a:off x="8084998" y="4706578"/>
              <a:ext cx="214205" cy="198418"/>
            </a:xfrm>
            <a:prstGeom prst="ellipse">
              <a:avLst/>
            </a:prstGeom>
            <a:solidFill>
              <a:srgbClr val="66CCFF"/>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10297" name="Oval 521"/>
            <p:cNvSpPr>
              <a:spLocks noChangeArrowheads="1"/>
            </p:cNvSpPr>
            <p:nvPr/>
          </p:nvSpPr>
          <p:spPr bwMode="auto">
            <a:xfrm>
              <a:off x="8045755" y="4916108"/>
              <a:ext cx="295962" cy="257150"/>
            </a:xfrm>
            <a:prstGeom prst="ellipse">
              <a:avLst/>
            </a:prstGeom>
            <a:solidFill>
              <a:schemeClr val="accent1"/>
            </a:solidFill>
            <a:ln w="9525">
              <a:solidFill>
                <a:schemeClr val="tx1"/>
              </a:solidFill>
              <a:round/>
              <a:headEnd type="none" w="sm" len="sm"/>
              <a:tailEnd type="none" w="sm" len="sm"/>
            </a:ln>
            <a:effectLst>
              <a:outerShdw blurRad="50800" dist="38100" dir="2700000" algn="tl" rotWithShape="0">
                <a:prstClr val="black">
                  <a:alpha val="40000"/>
                </a:prstClr>
              </a:outerShdw>
            </a:effectLst>
          </p:spPr>
          <p:txBody>
            <a:bodyPr wrap="none" lIns="125291" tIns="61547" rIns="125291" bIns="61547" anchor="ctr"/>
            <a:lstStyle/>
            <a:p>
              <a:pPr>
                <a:defRPr/>
              </a:pPr>
              <a:endParaRPr lang="pt-BR">
                <a:latin typeface="Calibri" panose="020F0502020204030204" pitchFamily="34" charset="0"/>
                <a:cs typeface="Calibri" panose="020F0502020204030204" pitchFamily="34" charset="0"/>
              </a:endParaRPr>
            </a:p>
          </p:txBody>
        </p:sp>
        <p:sp>
          <p:nvSpPr>
            <p:cNvPr id="51259" name="Rectangle 522"/>
            <p:cNvSpPr>
              <a:spLocks noChangeArrowheads="1"/>
            </p:cNvSpPr>
            <p:nvPr/>
          </p:nvSpPr>
          <p:spPr bwMode="auto">
            <a:xfrm>
              <a:off x="4194980" y="992188"/>
              <a:ext cx="1898407" cy="613015"/>
            </a:xfrm>
            <a:prstGeom prst="rect">
              <a:avLst/>
            </a:prstGeom>
            <a:noFill/>
            <a:ln>
              <a:noFill/>
            </a:ln>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Alinhamento</a:t>
              </a:r>
              <a:r>
                <a:rPr lang="en-US" altLang="pt-BR" sz="1938" dirty="0">
                  <a:solidFill>
                    <a:srgbClr val="000066"/>
                  </a:solidFill>
                  <a:latin typeface="Calibri" panose="020F0502020204030204" pitchFamily="34" charset="0"/>
                  <a:cs typeface="Calibri" panose="020F0502020204030204" pitchFamily="34" charset="0"/>
                </a:rPr>
                <a:t> </a:t>
              </a:r>
            </a:p>
            <a:p>
              <a:pPr algn="ct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Estratégico</a:t>
              </a:r>
              <a:r>
                <a:rPr lang="en-US" altLang="pt-BR" sz="1938" dirty="0">
                  <a:solidFill>
                    <a:srgbClr val="000066"/>
                  </a:solidFill>
                  <a:latin typeface="Calibri" panose="020F0502020204030204" pitchFamily="34" charset="0"/>
                  <a:cs typeface="Calibri" panose="020F0502020204030204" pitchFamily="34" charset="0"/>
                </a:rPr>
                <a:t> </a:t>
              </a:r>
              <a:r>
                <a:rPr lang="en-US" altLang="pt-BR" sz="1500" dirty="0">
                  <a:solidFill>
                    <a:srgbClr val="000066"/>
                  </a:solidFill>
                  <a:latin typeface="Calibri" panose="020F0502020204030204" pitchFamily="34" charset="0"/>
                  <a:cs typeface="Calibri" panose="020F0502020204030204" pitchFamily="34" charset="0"/>
                </a:rPr>
                <a:t>(AVALIAÇÃO E SELEÇÃO)</a:t>
              </a:r>
            </a:p>
          </p:txBody>
        </p:sp>
        <p:sp>
          <p:nvSpPr>
            <p:cNvPr id="10299" name="AutoShape 523"/>
            <p:cNvSpPr>
              <a:spLocks noChangeArrowheads="1"/>
            </p:cNvSpPr>
            <p:nvPr/>
          </p:nvSpPr>
          <p:spPr bwMode="auto">
            <a:xfrm>
              <a:off x="4860485" y="1688159"/>
              <a:ext cx="251983" cy="274769"/>
            </a:xfrm>
            <a:prstGeom prst="downArrow">
              <a:avLst>
                <a:gd name="adj1" fmla="val 50000"/>
                <a:gd name="adj2" fmla="val 25049"/>
              </a:avLst>
            </a:prstGeom>
            <a:solidFill>
              <a:srgbClr val="000066"/>
            </a:solidFill>
            <a:ln>
              <a:noFill/>
            </a:ln>
            <a:effectLst>
              <a:outerShdw blurRad="50800" dist="38100" dir="2700000" algn="tl" rotWithShape="0">
                <a:prstClr val="black">
                  <a:alpha val="40000"/>
                </a:prstClr>
              </a:outerShdw>
            </a:effectLst>
          </p:spPr>
          <p:txBody>
            <a:bodyPr wrap="none" anchor="ctr">
              <a:spAutoFit/>
            </a:bodyPr>
            <a:lstStyle/>
            <a:p>
              <a:pPr>
                <a:defRPr/>
              </a:pPr>
              <a:endParaRPr lang="pt-BR">
                <a:latin typeface="Calibri" panose="020F0502020204030204" pitchFamily="34" charset="0"/>
                <a:cs typeface="Calibri" panose="020F0502020204030204" pitchFamily="34" charset="0"/>
              </a:endParaRPr>
            </a:p>
          </p:txBody>
        </p:sp>
        <p:sp>
          <p:nvSpPr>
            <p:cNvPr id="51261" name="Rectangle 524"/>
            <p:cNvSpPr>
              <a:spLocks noChangeArrowheads="1"/>
            </p:cNvSpPr>
            <p:nvPr/>
          </p:nvSpPr>
          <p:spPr bwMode="auto">
            <a:xfrm>
              <a:off x="6652608" y="1066793"/>
              <a:ext cx="1952367" cy="459141"/>
            </a:xfrm>
            <a:prstGeom prst="rect">
              <a:avLst/>
            </a:prstGeom>
            <a:noFill/>
            <a:ln>
              <a:noFill/>
            </a:ln>
          </p:spPr>
          <p:txBody>
            <a:bodyPr>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Critérios</a:t>
              </a:r>
              <a:r>
                <a:rPr lang="en-US" altLang="pt-BR" sz="1938" dirty="0">
                  <a:solidFill>
                    <a:srgbClr val="000066"/>
                  </a:solidFill>
                  <a:latin typeface="Calibri" panose="020F0502020204030204" pitchFamily="34" charset="0"/>
                  <a:cs typeface="Calibri" panose="020F0502020204030204" pitchFamily="34" charset="0"/>
                </a:rPr>
                <a:t> para </a:t>
              </a:r>
            </a:p>
            <a:p>
              <a:pPr algn="ctr">
                <a:spcBef>
                  <a:spcPct val="0"/>
                </a:spcBef>
                <a:buFontTx/>
                <a:buNone/>
                <a:defRPr/>
              </a:pPr>
              <a:r>
                <a:rPr lang="en-US" altLang="pt-BR" sz="1938" dirty="0" err="1">
                  <a:solidFill>
                    <a:srgbClr val="000066"/>
                  </a:solidFill>
                  <a:latin typeface="Calibri" panose="020F0502020204030204" pitchFamily="34" charset="0"/>
                  <a:cs typeface="Calibri" panose="020F0502020204030204" pitchFamily="34" charset="0"/>
                </a:rPr>
                <a:t>Seleção</a:t>
              </a:r>
              <a:r>
                <a:rPr lang="en-US" altLang="pt-BR" sz="1938" dirty="0">
                  <a:solidFill>
                    <a:srgbClr val="000066"/>
                  </a:solidFill>
                  <a:latin typeface="Calibri" panose="020F0502020204030204" pitchFamily="34" charset="0"/>
                  <a:cs typeface="Calibri" panose="020F0502020204030204" pitchFamily="34" charset="0"/>
                </a:rPr>
                <a:t> e </a:t>
              </a:r>
              <a:r>
                <a:rPr lang="en-US" altLang="pt-BR" sz="1938" dirty="0" err="1">
                  <a:solidFill>
                    <a:srgbClr val="000066"/>
                  </a:solidFill>
                  <a:latin typeface="Calibri" panose="020F0502020204030204" pitchFamily="34" charset="0"/>
                  <a:cs typeface="Calibri" panose="020F0502020204030204" pitchFamily="34" charset="0"/>
                </a:rPr>
                <a:t>priorização</a:t>
              </a:r>
              <a:endParaRPr lang="en-US" altLang="pt-BR" sz="1938" dirty="0">
                <a:solidFill>
                  <a:srgbClr val="000066"/>
                </a:solidFill>
                <a:latin typeface="Calibri" panose="020F0502020204030204" pitchFamily="34" charset="0"/>
                <a:cs typeface="Calibri" panose="020F0502020204030204" pitchFamily="34" charset="0"/>
              </a:endParaRPr>
            </a:p>
          </p:txBody>
        </p:sp>
        <p:sp>
          <p:nvSpPr>
            <p:cNvPr id="10301" name="AutoShape 525"/>
            <p:cNvSpPr>
              <a:spLocks noChangeArrowheads="1"/>
            </p:cNvSpPr>
            <p:nvPr/>
          </p:nvSpPr>
          <p:spPr bwMode="auto">
            <a:xfrm>
              <a:off x="7164410" y="1688159"/>
              <a:ext cx="251983" cy="274769"/>
            </a:xfrm>
            <a:prstGeom prst="downArrow">
              <a:avLst>
                <a:gd name="adj1" fmla="val 50000"/>
                <a:gd name="adj2" fmla="val 25049"/>
              </a:avLst>
            </a:prstGeom>
            <a:solidFill>
              <a:srgbClr val="000066"/>
            </a:solidFill>
            <a:ln>
              <a:noFill/>
            </a:ln>
            <a:effectLst>
              <a:outerShdw blurRad="50800" dist="38100" dir="2700000" algn="tl" rotWithShape="0">
                <a:prstClr val="black">
                  <a:alpha val="40000"/>
                </a:prstClr>
              </a:outerShdw>
            </a:effectLst>
          </p:spPr>
          <p:txBody>
            <a:bodyPr wrap="none" anchor="ctr">
              <a:spAutoFit/>
            </a:bodyPr>
            <a:lstStyle/>
            <a:p>
              <a:pPr>
                <a:defRPr/>
              </a:pPr>
              <a:endParaRPr lang="pt-BR">
                <a:latin typeface="Calibri" panose="020F0502020204030204" pitchFamily="34" charset="0"/>
                <a:cs typeface="Calibri" panose="020F0502020204030204" pitchFamily="34" charset="0"/>
              </a:endParaRPr>
            </a:p>
          </p:txBody>
        </p:sp>
        <p:sp>
          <p:nvSpPr>
            <p:cNvPr id="51263" name="Text Box 24"/>
            <p:cNvSpPr txBox="1">
              <a:spLocks noChangeArrowheads="1"/>
            </p:cNvSpPr>
            <p:nvPr/>
          </p:nvSpPr>
          <p:spPr bwMode="auto">
            <a:xfrm>
              <a:off x="4770553" y="4793881"/>
              <a:ext cx="1944191" cy="480447"/>
            </a:xfrm>
            <a:prstGeom prst="rect">
              <a:avLst/>
            </a:prstGeom>
            <a:noFill/>
            <a:ln>
              <a:noFill/>
            </a:ln>
          </p:spPr>
          <p:txBody>
            <a:bodyPr lIns="125291" tIns="61547" rIns="125291" bIns="61547">
              <a:spAutoFit/>
            </a:bodyPr>
            <a:lstStyle>
              <a:lvl1pPr eaLnBrk="0" hangingPunct="0">
                <a:spcBef>
                  <a:spcPct val="20000"/>
                </a:spcBef>
                <a:buChar char="•"/>
                <a:defRPr sz="2400">
                  <a:solidFill>
                    <a:schemeClr val="tx1"/>
                  </a:solidFill>
                  <a:latin typeface="Arial" pitchFamily="34" charset="0"/>
                  <a:cs typeface="Arial" pitchFamily="34" charset="0"/>
                </a:defRPr>
              </a:lvl1pPr>
              <a:lvl2pPr marL="742950" indent="-285750" eaLnBrk="0" hangingPunct="0">
                <a:spcBef>
                  <a:spcPct val="20000"/>
                </a:spcBef>
                <a:buChar char="–"/>
                <a:defRPr sz="2000">
                  <a:solidFill>
                    <a:schemeClr val="tx1"/>
                  </a:solidFill>
                  <a:latin typeface="Arial" pitchFamily="34" charset="0"/>
                  <a:cs typeface="Arial" pitchFamily="34" charset="0"/>
                </a:defRPr>
              </a:lvl2pPr>
              <a:lvl3pPr marL="1143000" indent="-228600" eaLnBrk="0" hangingPunct="0">
                <a:spcBef>
                  <a:spcPct val="20000"/>
                </a:spcBef>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defRPr/>
              </a:pPr>
              <a:r>
                <a:rPr lang="en-US" altLang="pt-BR" sz="1938">
                  <a:solidFill>
                    <a:srgbClr val="000066"/>
                  </a:solidFill>
                  <a:latin typeface="Calibri" panose="020F0502020204030204" pitchFamily="34" charset="0"/>
                  <a:cs typeface="Calibri" panose="020F0502020204030204" pitchFamily="34" charset="0"/>
                </a:rPr>
                <a:t>Projetos e programas  rejeitados</a:t>
              </a:r>
            </a:p>
          </p:txBody>
        </p:sp>
        <p:cxnSp>
          <p:nvCxnSpPr>
            <p:cNvPr id="527" name="Conector reto 526"/>
            <p:cNvCxnSpPr/>
            <p:nvPr/>
          </p:nvCxnSpPr>
          <p:spPr>
            <a:xfrm>
              <a:off x="7543765" y="4049417"/>
              <a:ext cx="1365349" cy="0"/>
            </a:xfrm>
            <a:prstGeom prst="line">
              <a:avLst/>
            </a:prstGeom>
            <a:ln>
              <a:solidFill>
                <a:schemeClr val="tx1"/>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28" name="Text Box 486"/>
            <p:cNvSpPr txBox="1">
              <a:spLocks noChangeArrowheads="1"/>
            </p:cNvSpPr>
            <p:nvPr/>
          </p:nvSpPr>
          <p:spPr bwMode="auto">
            <a:xfrm>
              <a:off x="8855970" y="3926225"/>
              <a:ext cx="367908" cy="281652"/>
            </a:xfrm>
            <a:prstGeom prst="rect">
              <a:avLst/>
            </a:prstGeom>
            <a:noFill/>
            <a:ln>
              <a:noFill/>
            </a:ln>
            <a:effectLst/>
          </p:spPr>
          <p:txBody>
            <a:bodyPr lIns="125291" tIns="61547" rIns="125291" bIns="61547">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20000"/>
                </a:spcBef>
                <a:spcAft>
                  <a:spcPct val="0"/>
                </a:spcAft>
                <a:defRPr sz="2000">
                  <a:solidFill>
                    <a:schemeClr val="tx1"/>
                  </a:solidFill>
                  <a:latin typeface="Arial" pitchFamily="34" charset="0"/>
                </a:defRPr>
              </a:lvl6pPr>
              <a:lvl7pPr marL="2971800" indent="-228600" algn="ctr" eaLnBrk="0" fontAlgn="base" hangingPunct="0">
                <a:spcBef>
                  <a:spcPct val="20000"/>
                </a:spcBef>
                <a:spcAft>
                  <a:spcPct val="0"/>
                </a:spcAft>
                <a:defRPr sz="2000">
                  <a:solidFill>
                    <a:schemeClr val="tx1"/>
                  </a:solidFill>
                  <a:latin typeface="Arial" pitchFamily="34" charset="0"/>
                </a:defRPr>
              </a:lvl7pPr>
              <a:lvl8pPr marL="3429000" indent="-228600" algn="ctr" eaLnBrk="0" fontAlgn="base" hangingPunct="0">
                <a:spcBef>
                  <a:spcPct val="20000"/>
                </a:spcBef>
                <a:spcAft>
                  <a:spcPct val="0"/>
                </a:spcAft>
                <a:defRPr sz="2000">
                  <a:solidFill>
                    <a:schemeClr val="tx1"/>
                  </a:solidFill>
                  <a:latin typeface="Arial" pitchFamily="34" charset="0"/>
                </a:defRPr>
              </a:lvl8pPr>
              <a:lvl9pPr marL="3886200" indent="-228600" algn="ctr" eaLnBrk="0" fontAlgn="base" hangingPunct="0">
                <a:spcBef>
                  <a:spcPct val="20000"/>
                </a:spcBef>
                <a:spcAft>
                  <a:spcPct val="0"/>
                </a:spcAft>
                <a:defRPr sz="2000">
                  <a:solidFill>
                    <a:schemeClr val="tx1"/>
                  </a:solidFill>
                  <a:latin typeface="Arial" pitchFamily="34" charset="0"/>
                </a:defRPr>
              </a:lvl9pPr>
            </a:lstStyle>
            <a:p>
              <a:pPr algn="ctr">
                <a:defRPr/>
              </a:pPr>
              <a:r>
                <a:rPr lang="en-US" sz="1938" dirty="0">
                  <a:solidFill>
                    <a:srgbClr val="000066"/>
                  </a:solidFill>
                  <a:latin typeface="Calibri" panose="020F0502020204030204" pitchFamily="34" charset="0"/>
                  <a:cs typeface="Calibri" panose="020F0502020204030204" pitchFamily="34" charset="0"/>
                </a:rPr>
                <a:t>$</a:t>
              </a:r>
            </a:p>
          </p:txBody>
        </p:sp>
        <p:sp>
          <p:nvSpPr>
            <p:cNvPr id="112707" name="Chave Direita 2"/>
            <p:cNvSpPr>
              <a:spLocks/>
            </p:cNvSpPr>
            <p:nvPr/>
          </p:nvSpPr>
          <p:spPr bwMode="auto">
            <a:xfrm>
              <a:off x="8407400" y="3529013"/>
              <a:ext cx="196850" cy="433387"/>
            </a:xfrm>
            <a:prstGeom prst="rightBrace">
              <a:avLst>
                <a:gd name="adj1" fmla="val 8307"/>
                <a:gd name="adj2" fmla="val 50000"/>
              </a:avLst>
            </a:prstGeom>
            <a:solidFill>
              <a:schemeClr val="bg1"/>
            </a:solidFill>
            <a:ln w="9525" algn="ctr">
              <a:solidFill>
                <a:schemeClr val="tx1"/>
              </a:solidFill>
              <a:round/>
              <a:headEnd/>
              <a:tailEnd/>
            </a:ln>
          </p:spPr>
          <p:txBody>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endParaRPr lang="pt-BR" altLang="pt-BR" sz="1500">
                <a:solidFill>
                  <a:schemeClr val="tx1"/>
                </a:solidFill>
                <a:latin typeface="Calibri" panose="020F0502020204030204" pitchFamily="34" charset="0"/>
              </a:endParaRPr>
            </a:p>
          </p:txBody>
        </p:sp>
        <p:sp>
          <p:nvSpPr>
            <p:cNvPr id="112708" name="CaixaDeTexto 3"/>
            <p:cNvSpPr txBox="1">
              <a:spLocks noChangeArrowheads="1"/>
            </p:cNvSpPr>
            <p:nvPr/>
          </p:nvSpPr>
          <p:spPr bwMode="auto">
            <a:xfrm rot="5400000">
              <a:off x="8512102" y="3559344"/>
              <a:ext cx="614510" cy="22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1500">
                  <a:solidFill>
                    <a:schemeClr val="tx1"/>
                  </a:solidFill>
                  <a:latin typeface="Calibri" panose="020F0502020204030204" pitchFamily="34" charset="0"/>
                </a:rPr>
                <a:t>SINERGIA</a:t>
              </a:r>
            </a:p>
          </p:txBody>
        </p:sp>
        <p:sp>
          <p:nvSpPr>
            <p:cNvPr id="112709" name="CaixaDeTexto 31"/>
            <p:cNvSpPr txBox="1">
              <a:spLocks noChangeArrowheads="1"/>
            </p:cNvSpPr>
            <p:nvPr/>
          </p:nvSpPr>
          <p:spPr bwMode="auto">
            <a:xfrm>
              <a:off x="8434920" y="4099191"/>
              <a:ext cx="540906" cy="276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rgbClr val="404040"/>
                  </a:solidFill>
                  <a:latin typeface="Times New Roman" panose="02020603050405020304" pitchFamily="18" charset="0"/>
                </a:defRPr>
              </a:lvl1pPr>
              <a:lvl2pPr marL="742950" indent="-285750">
                <a:spcBef>
                  <a:spcPct val="20000"/>
                </a:spcBef>
                <a:buChar char="–"/>
                <a:defRPr sz="2800">
                  <a:solidFill>
                    <a:srgbClr val="404040"/>
                  </a:solidFill>
                  <a:latin typeface="Times New Roman" panose="02020603050405020304" pitchFamily="18" charset="0"/>
                </a:defRPr>
              </a:lvl2pPr>
              <a:lvl3pPr marL="1143000" indent="-228600">
                <a:spcBef>
                  <a:spcPct val="20000"/>
                </a:spcBef>
                <a:buChar char="•"/>
                <a:defRPr sz="2400">
                  <a:solidFill>
                    <a:srgbClr val="404040"/>
                  </a:solidFill>
                  <a:latin typeface="Times New Roman" panose="02020603050405020304" pitchFamily="18" charset="0"/>
                </a:defRPr>
              </a:lvl3pPr>
              <a:lvl4pPr marL="1600200" indent="-228600">
                <a:spcBef>
                  <a:spcPct val="20000"/>
                </a:spcBef>
                <a:buChar char="–"/>
                <a:defRPr sz="2000">
                  <a:solidFill>
                    <a:srgbClr val="404040"/>
                  </a:solidFill>
                  <a:latin typeface="Times New Roman" panose="02020603050405020304" pitchFamily="18" charset="0"/>
                </a:defRPr>
              </a:lvl4pPr>
              <a:lvl5pPr marL="2057400" indent="-228600">
                <a:spcBef>
                  <a:spcPct val="20000"/>
                </a:spcBef>
                <a:buChar char="»"/>
                <a:defRPr sz="2000">
                  <a:solidFill>
                    <a:srgbClr val="404040"/>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rgbClr val="404040"/>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rgbClr val="404040"/>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rgbClr val="404040"/>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rgbClr val="404040"/>
                  </a:solidFill>
                  <a:latin typeface="Times New Roman" panose="02020603050405020304" pitchFamily="18" charset="0"/>
                </a:defRPr>
              </a:lvl9pPr>
            </a:lstStyle>
            <a:p>
              <a:pPr>
                <a:spcBef>
                  <a:spcPct val="0"/>
                </a:spcBef>
                <a:buFontTx/>
                <a:buNone/>
              </a:pPr>
              <a:r>
                <a:rPr lang="pt-BR" altLang="pt-BR" sz="2100" dirty="0">
                  <a:solidFill>
                    <a:schemeClr val="tx1"/>
                  </a:solidFill>
                  <a:latin typeface="Calibri" panose="020F0502020204030204" pitchFamily="34" charset="0"/>
                </a:rPr>
                <a:t>Corte</a:t>
              </a:r>
            </a:p>
          </p:txBody>
        </p:sp>
      </p:grpSp>
    </p:spTree>
    <p:extLst>
      <p:ext uri="{BB962C8B-B14F-4D97-AF65-F5344CB8AC3E}">
        <p14:creationId xmlns:p14="http://schemas.microsoft.com/office/powerpoint/2010/main" val="620827523"/>
      </p:ext>
    </p:extLst>
  </p:cSld>
  <p:clrMapOvr>
    <a:masterClrMapping/>
  </p:clrMapOvr>
  <p:transition>
    <p:strips dir="rd"/>
  </p:transition>
</p:sld>
</file>

<file path=ppt/tags/tag1.xml><?xml version="1.0" encoding="utf-8"?>
<p:tagLst xmlns:a="http://schemas.openxmlformats.org/drawingml/2006/main" xmlns:r="http://schemas.openxmlformats.org/officeDocument/2006/relationships" xmlns:p="http://schemas.openxmlformats.org/presentationml/2006/main">
  <p:tag name="POWER3D TRANSITION" val="ShootingStreaks.p3d 5"/>
  <p:tag name="POWER3D OPTIONS" val="Medium "/>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jdtksxUfkWipTUWCuBbs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1hkQTIhmUSeghYPITwGp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YxYZo3fjUezTl5657A6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cBJ3CuNxEmcwWJ2PMUR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7LH1.x1D0WdXeuFSRxe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Jx1Hve2o0qvnQzccj_G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8eo6WmCU0OcCnxnq.rC7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YekFhh0jESu.vItpvGF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An2aKVml0.sKzPFvw9n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N_bex_QXkaL6eq.5aGK1Q"/>
</p:tagLst>
</file>

<file path=ppt/tags/tag11.xml><?xml version="1.0" encoding="utf-8"?>
<p:tagLst xmlns:a="http://schemas.openxmlformats.org/drawingml/2006/main" xmlns:r="http://schemas.openxmlformats.org/officeDocument/2006/relationships" xmlns:p="http://schemas.openxmlformats.org/presentationml/2006/main">
  <p:tag name="POWER3D TRANSITION" val="TwirlingRectangles.p3d 0"/>
  <p:tag name="POWER3D OPTIONS" val="Medium "/>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_ODIp_Cs0SMoZw.5TfC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Mj.Oo8Km0K3idBxKJo1P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eFPgonqwUSmwQsadN_0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q6hJdkDkaqRchpY2aA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CfobRrLD0W..Qe3rfdM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SB8HRpEI9U.FhTAe_Xo6E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STq3F.Ue0.y_XXe5x2O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v1VQZ5PlU.whO0Pc7BR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PY3OeRPOUGydMyG0Dvff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3feyP60vUCmgxyTIJ6paA"/>
</p:tagLst>
</file>

<file path=ppt/tags/tag12.xml><?xml version="1.0" encoding="utf-8"?>
<p:tagLst xmlns:a="http://schemas.openxmlformats.org/drawingml/2006/main" xmlns:r="http://schemas.openxmlformats.org/officeDocument/2006/relationships" xmlns:p="http://schemas.openxmlformats.org/presentationml/2006/main">
  <p:tag name="POWER3D TRANSITION" val="CameraShutter.p3d 0"/>
  <p:tag name="POWER3D OPTIONS" val="Medium "/>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sKsU5ABXEOPIWXdBXuMq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KUgJJNaT0yBL17xZbqH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EuErIQIbUW24F7E0b2OY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FL_KEkWaEOvqdAvBWe4.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v5NPM2n.Uyt7PD7x430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X0AMVCz8keJnnlNLHEo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xBFAqY3AU626Us3o0FA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XJynPbq4UqTUyKaC6Qaz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HNrFIOthEqX9yGPV3yY1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hxdnGHizkWzo6TWU5e.vw"/>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LRnyGMm70Og4RPpddiY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djO5x7Qj4ESeynyavs33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20shwKNko0mTi3sl1a3lP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N_AYFYXP0.bana1a66g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8PMR0GLWkE.UY.s68qAl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eYPk7PFeTk2c2ezYo332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PoVRpSajkGctjyKzPe6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Z9hlRf_1ECxIadA.pKBU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q7i2d9V_kKhqhy.6qGFp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aG16UFn50KbyuDXOfNamw"/>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MbvBbhw00Gvk3x8kLas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1fK9lYrf0eOSkwE5SIbO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giWmCjUzkmyUMBsgbXc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2RSuTebkKYOyXqtvBfa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JF7S9z5mEaIzxCkyrHE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VL83DR06k.eERy9Kdjn_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HAkaRV87UyhRkPg5Zv3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2HQM3SdjE06.ZB7EGxvg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XOQ26FrkGshMdTq7Ob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zModTB7REivMP3JYecFcQ"/>
</p:tagLst>
</file>

<file path=ppt/tags/tag15.xml><?xml version="1.0" encoding="utf-8"?>
<p:tagLst xmlns:a="http://schemas.openxmlformats.org/drawingml/2006/main" xmlns:r="http://schemas.openxmlformats.org/officeDocument/2006/relationships" xmlns:p="http://schemas.openxmlformats.org/presentationml/2006/main">
  <p:tag name="POWER3D TRANSITION" val="BoxinBox.p3d 0"/>
  <p:tag name="POWER3D OPTIONS" val="Medium "/>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2V.edm32Ey5guhIPuayI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0TebkeY1vkW8zV_y3z_Ob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OlFWO00O0eqb76utSMd4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xO_beqimU2tFlcuuJrNR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7gskUJlIeUOdLKe.HW7Fn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eH35MR4UUet83q1uH4Ez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H0qEIozlUWEOBC_hsXf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0LGI2xXkevP3nahe.QI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s16c8KhG0KJxP7rFqVYQ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AEn1ErKlkm3hCVqixGNIQ"/>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qtFq5hseECxCWoQQUzdD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YF1jB23ha0GCKWeYIK5II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ZXfWQdA3kS0Or4ZnKNA_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Cuera0E7kCIVBrw40Bb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jW4zJjnZ0KcpxxtG8ZUo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m0p2NZB50u52SMueZMK0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kCBS7X3DES49szZKsdP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SfVKVeELtUiaKzKrKMlNw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On71DV_qUeUwJ9hfT3X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nupzSjfukaLbxouuWTp_Q"/>
</p:tagLst>
</file>

<file path=ppt/tags/tag17.xml><?xml version="1.0" encoding="utf-8"?>
<p:tagLst xmlns:a="http://schemas.openxmlformats.org/drawingml/2006/main" xmlns:r="http://schemas.openxmlformats.org/officeDocument/2006/relationships" xmlns:p="http://schemas.openxmlformats.org/presentationml/2006/main">
  <p:tag name="POWER3D TRANSITION" val="WalkingDowntheHallway.p3d 0"/>
  <p:tag name="POWER3D OPTIONS" val="Medium "/>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UIoHo1wvEWX9iLau2BSi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mk9lY3Mzkm9yafAiLXB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sWo1P_qfUO7bvnuSQeJ2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7dhu4eIkqeuXiMxdXN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LUIee6RjUCgbAuFPIfdA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MAzDhUykew9hMmyt37D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Q4fjX4TKdkiRKvlU9sQ6s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49hS0KdxLkCJV2t4TBP26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BKYcB89hk.vVQo6ue71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d9zM0iX2u0GVcfycVuNAjQ"/>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Vf5qBDo3k2kJj30sx192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2wBhHPZbEaHieO5xgul.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nmCrcvQ90Of5DwihYYb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5betGBqUEUyWewXe3wpil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39MRTs1LEmp7LakGYJS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iGDahuR.U.ie684hi._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bQ9x7p.xUCgbhALeZAk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nc9JocAOUS0GJ6xnPFG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CbcANlDLEq_WZ1NXqZDv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3T123TDlgkOr7EXnnCWuSw"/>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7q9Xpmt2EeWWrlLnEHx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L_NkrAJckG3h8GS3UuY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tcuVBb9QkypFJxzZe.VZ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1rV01S3HUSRDf7s2axIi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jpff9rxiyUW05afHqgBc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yfmt3EvJ0qt94akrj1o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M3CnBwt3kqdVCgT4wPUT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8b1CqZr40igU.NDsf9n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pvINbbMFE.x20XhfibDv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5oKDFvRLfECemXJRDjEhPg"/>
</p:tagLst>
</file>

<file path=ppt/tags/tag2.xml><?xml version="1.0" encoding="utf-8"?>
<p:tagLst xmlns:a="http://schemas.openxmlformats.org/drawingml/2006/main" xmlns:r="http://schemas.openxmlformats.org/officeDocument/2006/relationships" xmlns:p="http://schemas.openxmlformats.org/presentationml/2006/main">
  <p:tag name="POWER3D TRANSITION" val="TwirlingRectangles.p3d 0"/>
  <p:tag name="POWER3D OPTIONS" val="Medium "/>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KykV5wf0SpC.7xqNEQO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KygYwzCIUuXtq6lgTwK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EjBpAhwukWPx4QOQA4qQ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9xTK6t7306SwH3AQhezh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9gacxLM.5E.R9CTZS6kV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A6xIMdpEU.E_ATwe5bLp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IdQSx4YbUiaynPS7HuF8g"/>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POWER3D TRANSITION" val="HyperSlides.p3d 1"/>
  <p:tag name="POWER3D OPTIONS" val="Medium "/>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POWER3D TRANSITION" val="BouncingSlide.p3d 0"/>
  <p:tag name="POWER3D OPTIONS" val="Medium "/>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POWER3D TRANSITION" val="BoxinBox.p3d 1"/>
  <p:tag name="POWER3D OPTIONS" val="Medium "/>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POWER3D TRANSITION" val="FlyingDiamonds.p3d 3"/>
  <p:tag name="POWER3D OPTIONS" val="Medium "/>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3D TRANSITION" val="BreakingUp.p3d 1"/>
  <p:tag name="POWER3D OPTIONS" val="Medium "/>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POWER3D TRANSITION" val="CubicFormation.p3d 2"/>
  <p:tag name="POWER3D OPTIONS" val="Medium "/>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POWER3D TRANSITION" val="CrushingSlide.p3d 2"/>
  <p:tag name="POWER3D OPTIONS" val="Medium "/>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POWER3D TRANSITION" val="CubicFormation.p3d 3"/>
  <p:tag name="POWER3D OPTIONS" val="Medium "/>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POWER3D TRANSITION" val="DissolvingFlyThru.p3d 7"/>
  <p:tag name="POWER3D OPTIONS" val="Medium "/>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POWER3D TRANSITION" val="FallingWall.p3d 0"/>
  <p:tag name="POWER3D OPTIONS" val="Medium "/>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POWER3D TRANSITION" val="FallingWall.p3d 0"/>
  <p:tag name="POWER3D OPTIONS" val="Medium "/>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POWER3D TRANSITION" val="FallingWall.p3d 0"/>
  <p:tag name="POWER3D OPTIONS" val="Medium "/>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POWER3D TRANSITION" val="FallingWall.p3d 0"/>
  <p:tag name="POWER3D OPTIONS" val="Medium "/>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_9oxiTzUE2dCmGgEaHxtQ"/>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zdHeQz9nECiDhAWsqSk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kVZDE.2dEOoLKhnTeQX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Tj6nLH1KkK.Alj1.Hi7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llHLnplpEmEPIlnnvz62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RYMlRCr9UmG9nMu537K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Z7pGQzR.ESCbKL6Asb1a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q4wqgNo9UW13Z7be60ctw"/>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keFzSb.UUSRGqhZChwm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zBXmJxeFU2epzkMBkE9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hL6xdXq30q_nRGzrebf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d5gXwVBTUqnVBGBDptmB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aMcfFb98kuT_P6F7Jf1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dckqVMQZEel_r3KH4ka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Wxo7uczk.40Bm7tA6n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9opkiqd40eDPXToQdL8R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RE.07j8jUWpm2NDxtT_z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M6jq9nmb0aVlPknc2vtJg"/>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AHN3tqYtUipQIKxrVer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tzJ_4z5h0i13iN8xwHh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IVmF3XM40uxk3LMlyUj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wr.fE3Q3UmvY4dND.m7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1Hk1npFUkekaXWSLtxTT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ZTspgJPqUifyU55ZLZm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w9ALFEHm0SaPHmZdAX2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wqpLaGQ1EaGJrw5pTMI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7lOTBJpqVUiHW.SH2Q1F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4EQaU5FbUWDIQkBbZIdLQ"/>
</p:tagLst>
</file>

<file path=ppt/theme/theme1.xml><?xml version="1.0" encoding="utf-8"?>
<a:theme xmlns:a="http://schemas.openxmlformats.org/drawingml/2006/main" name="2_Tema do Office">
  <a:themeElements>
    <a:clrScheme name="Personalizada 16">
      <a:dk1>
        <a:sysClr val="windowText" lastClr="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79646"/>
      </a:hlink>
      <a:folHlink>
        <a:srgbClr val="9236A4"/>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presentação1" id="{6A472EFC-95C7-42FF-A4E8-7F2002CF188E}" vid="{12288F33-A974-4257-8620-D8481C06E6AB}"/>
    </a:ext>
  </a:extLst>
</a:theme>
</file>

<file path=ppt/theme/theme2.xml><?xml version="1.0" encoding="utf-8"?>
<a:theme xmlns:a="http://schemas.openxmlformats.org/drawingml/2006/main" name="3_Tema do Office">
  <a:themeElements>
    <a:clrScheme name="Personalizada 16">
      <a:dk1>
        <a:sysClr val="windowText" lastClr="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79646"/>
      </a:hlink>
      <a:folHlink>
        <a:srgbClr val="9236A4"/>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elomaterialdidatico_fgv_educacao_executiva</Template>
  <TotalTime>15991</TotalTime>
  <Words>8948</Words>
  <Application>Microsoft Office PowerPoint</Application>
  <PresentationFormat>Personalizar</PresentationFormat>
  <Paragraphs>1517</Paragraphs>
  <Slides>109</Slides>
  <Notes>27</Notes>
  <HiddenSlides>0</HiddenSlides>
  <MMClips>0</MMClips>
  <ScaleCrop>false</ScaleCrop>
  <HeadingPairs>
    <vt:vector size="8" baseType="variant">
      <vt:variant>
        <vt:lpstr>Fontes usadas</vt:lpstr>
      </vt:variant>
      <vt:variant>
        <vt:i4>17</vt:i4>
      </vt:variant>
      <vt:variant>
        <vt:lpstr>Tema</vt:lpstr>
      </vt:variant>
      <vt:variant>
        <vt:i4>2</vt:i4>
      </vt:variant>
      <vt:variant>
        <vt:lpstr>Servidores OLE inseridos</vt:lpstr>
      </vt:variant>
      <vt:variant>
        <vt:i4>3</vt:i4>
      </vt:variant>
      <vt:variant>
        <vt:lpstr>Títulos de slides</vt:lpstr>
      </vt:variant>
      <vt:variant>
        <vt:i4>109</vt:i4>
      </vt:variant>
    </vt:vector>
  </HeadingPairs>
  <TitlesOfParts>
    <vt:vector size="131" baseType="lpstr">
      <vt:lpstr>Arial</vt:lpstr>
      <vt:lpstr>Arial</vt:lpstr>
      <vt:lpstr>Arial Black</vt:lpstr>
      <vt:lpstr>Britannic Bold</vt:lpstr>
      <vt:lpstr>Calibri</vt:lpstr>
      <vt:lpstr>Calibri,Bold</vt:lpstr>
      <vt:lpstr>Calibri,Italic</vt:lpstr>
      <vt:lpstr>Cambria</vt:lpstr>
      <vt:lpstr>Comic Sans MS</vt:lpstr>
      <vt:lpstr>Helvetica</vt:lpstr>
      <vt:lpstr>Monotype Sorts</vt:lpstr>
      <vt:lpstr>Myriad Pro</vt:lpstr>
      <vt:lpstr>Tahoma</vt:lpstr>
      <vt:lpstr>Times</vt:lpstr>
      <vt:lpstr>Times New Roman</vt:lpstr>
      <vt:lpstr>Verdana</vt:lpstr>
      <vt:lpstr>Wingdings</vt:lpstr>
      <vt:lpstr>2_Tema do Office</vt:lpstr>
      <vt:lpstr>3_Tema do Office</vt:lpstr>
      <vt:lpstr>Photo Editor Photo</vt:lpstr>
      <vt:lpstr>Imagem de bitmap</vt:lpstr>
      <vt:lpstr>Foto do Photo Editor</vt:lpstr>
      <vt:lpstr>Apresentação do PowerPoint</vt:lpstr>
      <vt:lpstr>Objetivos da Disciplina</vt:lpstr>
      <vt:lpstr>PMO-Definição</vt:lpstr>
      <vt:lpstr>PMO-Definição</vt:lpstr>
      <vt:lpstr>Apresentação do PowerPoint</vt:lpstr>
      <vt:lpstr>Apresentação do PowerPoint</vt:lpstr>
      <vt:lpstr>Apresentação do PowerPoint</vt:lpstr>
      <vt:lpstr>Tipos de PMO: Escritório de Suporte a Projetos</vt:lpstr>
      <vt:lpstr>Escritório de Suporte a Projetos</vt:lpstr>
      <vt:lpstr>Escritório de Projetos por Unidade de Negócios </vt:lpstr>
      <vt:lpstr>Escritório de Projetos por Unidade de Negócios </vt:lpstr>
      <vt:lpstr> Escritório de Projetos Corporativo</vt:lpstr>
      <vt:lpstr> Escritório de Projetos Corporativo</vt:lpstr>
      <vt:lpstr>Apresentação do PowerPoint</vt:lpstr>
      <vt:lpstr>Amplitude de autonomia de um PMO</vt:lpstr>
      <vt:lpstr>Apresentação do PowerPoint</vt:lpstr>
      <vt:lpstr>AMBIENTE ORGANIZACIONAL - PMO</vt:lpstr>
      <vt:lpstr>Apresentação do PowerPoint</vt:lpstr>
      <vt:lpstr>Pilares de um PMO - Método</vt:lpstr>
      <vt:lpstr>PMO  DESAFIO - Buscar Visão única</vt:lpstr>
      <vt:lpstr>Apresentação do PowerPoint</vt:lpstr>
      <vt:lpstr>Apresentação do PowerPoint</vt:lpstr>
      <vt:lpstr>Apresentação do PowerPoint</vt:lpstr>
      <vt:lpstr>Apresentação do PowerPoint</vt:lpstr>
      <vt:lpstr>Passos para a criação do PMO</vt:lpstr>
      <vt:lpstr>O estabelecimento de um Project Office tem dois  componentes fundamentais: </vt:lpstr>
      <vt:lpstr>Vendendo o Conceito</vt:lpstr>
      <vt:lpstr>Apresentação do PowerPoint</vt:lpstr>
      <vt:lpstr>Apresentação do PowerPoint</vt:lpstr>
      <vt:lpstr>Passos iniciais da Implementação mais detalhes </vt:lpstr>
      <vt:lpstr>PMO - Gestão de carreiras</vt:lpstr>
      <vt:lpstr>Apresentação do PowerPoint</vt:lpstr>
      <vt:lpstr>Métricas: principais atributos</vt:lpstr>
      <vt:lpstr>Algumas métricas específicas dos projetos</vt:lpstr>
      <vt:lpstr>Algumas métricas genéricas para o PMO</vt:lpstr>
      <vt:lpstr>Apresentação do PowerPoint</vt:lpstr>
      <vt:lpstr>Apresentação do PowerPoint</vt:lpstr>
      <vt:lpstr>Apresentação do PowerPoint</vt:lpstr>
      <vt:lpstr>Quantidade de PMO´s na Organização</vt:lpstr>
      <vt:lpstr>O que é um modelo  de maturidade em Gerenciamento de Projetos?</vt:lpstr>
      <vt:lpstr>Maturidade em Projetos na Estrutura organizacional</vt:lpstr>
      <vt:lpstr>           Modelos de Maturidade</vt:lpstr>
      <vt:lpstr>Maturidade - Modelos</vt:lpstr>
      <vt:lpstr>Nível de Maturidade-Evidências</vt:lpstr>
      <vt:lpstr>Apresentação do PowerPoint</vt:lpstr>
      <vt:lpstr>Exemplos (mais conhecidos) de Modelos de Maturidade</vt:lpstr>
      <vt:lpstr>Apresentação do PowerPoint</vt:lpstr>
      <vt:lpstr>Apresentação do PowerPoint</vt:lpstr>
      <vt:lpstr>Apresentação do PowerPoint</vt:lpstr>
      <vt:lpstr>Kerzner’s PMMM</vt:lpstr>
      <vt:lpstr>Kerzner’s PMMM</vt:lpstr>
      <vt:lpstr>Kerzner’s PMMM</vt:lpstr>
      <vt:lpstr>Apresentação do PowerPoint</vt:lpstr>
      <vt:lpstr>Apresentação do PowerPoint</vt:lpstr>
      <vt:lpstr>MMGP - Estrutura do Modelo</vt:lpstr>
      <vt:lpstr>Apresentação do PowerPoint</vt:lpstr>
      <vt:lpstr>Apresentação do PowerPoint</vt:lpstr>
      <vt:lpstr>Apresentação do PowerPoint</vt:lpstr>
      <vt:lpstr>Porque os projetos existem nas empresas</vt:lpstr>
      <vt:lpstr>Apresentação do PowerPoint</vt:lpstr>
      <vt:lpstr>Apresentação do PowerPoint</vt:lpstr>
      <vt:lpstr>O gerenciamento de programa é uma abordagem estratégica para coordenar um conjunto de projetos relacionados e atividades interdependentes com o objetivo de alcançar benefícios e objetivos comuns. Ele se concentra na coordenação, integração e governança de um conjunto de projetos para garantir que eles sejam entregues de forma eficiente e eficaz, alinhados com a estratégia organizacional.</vt:lpstr>
      <vt:lpstr>Apresentação do PowerPoint</vt:lpstr>
      <vt:lpstr>Apresentação do PowerPoint</vt:lpstr>
      <vt:lpstr>Apresentação do PowerPoint</vt:lpstr>
      <vt:lpstr>Exemplos:  Programa de Construção de Hidrelétricas: Descrição: Programa voltado para a construção de hidrelétricas visando a geração de energia elétrica. Desafios:  Complexidade ambiental: A construção de hidrelétricas envolve impactos ambientais significativos, como o desmatamento, a inundação de áreas e o deslocamento de comunidades. É necessário lidar com questões ambientais sensíveis e implementar medidas de mitigação adequadas. Licenciamento e regulação: É fundamental obter as licenças e autorizações necessárias para a construção e operação das hidrelétricas. Isso requer um processo complexo de avaliação de impacto ambiental e cumprimento de regulamentações governamentais, estruturação para diferentes frentes do programa, no local da obra, como vilas residenciais para o desenvolvimento do programa. Gestão de custos e cronogramas dos projetos integrados ao programa: A construção de hidrelétricas envolve investimentos significativos e prazos longos. Gerenciar efetivamente os custos e o cronograma do programa é essencial para garantir sua viabilidade econômica e evitar atrasos. Para isto é importante garantir a melhor performance dos colaboradores, oferecendo as condições necessárias de trabalho.</vt:lpstr>
      <vt:lpstr>Exemplos: Programa de Expansão de Linhas de Metrô: Descrição: Programa destinado a expandir a rede de transporte metropolitano através da construção de novas linhas de metrô.  Desafios:  Financiamento: A expansão das linhas de metrô requer investimentos substanciais. Garantir o financiamento adequado do programa, seja por meio de recursos públicos ou parcerias público-privadas, é um desafio importante.  Planejamento urbano: Integrar a expansão do metrô ao planejamento urbano existente pode ser um desafio, especialmente em áreas densamente povoadas. É necessário considerar questões como aquisição de terras, realocação de infraestruturas existentes e minimização dos impactos nas comunidades locais.  Engenharia de infraestrutura: A construção de linhas de metrô envolve desafios técnicos complexos, como a escavação de túneis, a construção de estações subterrâneas e a integração com a infraestrutura existente. Garantir a qualidade da engenharia e a segurança da construção é fundamenta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Governança Organizacional em empresas de alta Maturidade</vt:lpstr>
      <vt:lpstr>Apresentação do PowerPoint</vt:lpstr>
      <vt:lpstr>Apresentação do PowerPoint</vt:lpstr>
      <vt:lpstr>Apresentação do PowerPoint</vt:lpstr>
      <vt:lpstr>Apresentação do PowerPoint</vt:lpstr>
      <vt:lpstr>Apresentação do PowerPoint</vt:lpstr>
      <vt:lpstr>Apresentação do PowerPoint</vt:lpstr>
      <vt:lpstr>Atividades de Gestão de Portfóli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tividades de Gestão de Portfólio</vt:lpstr>
      <vt:lpstr>Apresentação do PowerPoint</vt:lpstr>
      <vt:lpstr>Apresentação do PowerPoint</vt:lpstr>
      <vt:lpstr>Apresentação do PowerPoint</vt:lpstr>
      <vt:lpstr>Apresentação do PowerPoint</vt:lpstr>
      <vt:lpstr>Apresentação do PowerPoint</vt:lpstr>
      <vt:lpstr>Apresentação do PowerPoint</vt:lpstr>
      <vt:lpstr>Atividades de Gestão de Portfólio</vt:lpstr>
      <vt:lpstr>Apresentação do PowerPoint</vt:lpstr>
      <vt:lpstr>Reportar Performance do Portfólio</vt:lpstr>
      <vt:lpstr>Apresentação do PowerPoint</vt:lpstr>
      <vt:lpstr>Reportar Performance do Portfólio</vt:lpstr>
      <vt:lpstr>Práticas de Gestão de Portfólio Projetos - 2017</vt:lpstr>
      <vt:lpstr>Software de Apoio a Gestão de Portfolio  </vt:lpstr>
      <vt:lpstr>Encerrament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dc:title>
  <dc:creator>Vinicius Maia</dc:creator>
  <cp:keywords>FGV</cp:keywords>
  <cp:lastModifiedBy>ROBP</cp:lastModifiedBy>
  <cp:revision>82</cp:revision>
  <dcterms:created xsi:type="dcterms:W3CDTF">2018-11-22T20:29:57Z</dcterms:created>
  <dcterms:modified xsi:type="dcterms:W3CDTF">2023-06-22T23:05:54Z</dcterms:modified>
</cp:coreProperties>
</file>